
<file path=[Content_Types].xml><?xml version="1.0" encoding="utf-8"?>
<Types xmlns="http://schemas.openxmlformats.org/package/2006/content-types">
  <Default Extension="xml" ContentType="application/xml"/>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gif" ContentType="image/gif"/>
  <Default Extension="rels" ContentType="application/vnd.openxmlformats-package.relationships+xml"/>
  <Override PartName="/customXml/itemProps196.xml" ContentType="application/vnd.openxmlformats-officedocument.customXmlProperties+xml"/>
  <Override PartName="/customXml/itemProps197.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13.svg" ContentType="image/svg+xml"/>
  <Override PartName="/ppt/media/image147.svg" ContentType="image/svg+xml"/>
  <Override PartName="/ppt/media/image15.svg" ContentType="image/svg+xml"/>
  <Override PartName="/ppt/media/image17.svg" ContentType="image/svg+xml"/>
  <Override PartName="/ppt/media/image19.svg" ContentType="image/svg+xml"/>
  <Override PartName="/ppt/media/image22.svg" ContentType="image/svg+xml"/>
  <Override PartName="/ppt/media/image24.svg" ContentType="image/svg+xml"/>
  <Override PartName="/ppt/media/image26.svg" ContentType="image/svg+xml"/>
  <Override PartName="/ppt/media/image28.svg" ContentType="image/svg+xml"/>
  <Override PartName="/ppt/media/image30.svg" ContentType="image/svg+xml"/>
  <Override PartName="/ppt/media/image32.svg" ContentType="image/svg+xml"/>
  <Override PartName="/ppt/media/image34.svg" ContentType="image/svg+xml"/>
  <Override PartName="/ppt/media/image36.svg" ContentType="image/svg+xml"/>
  <Override PartName="/ppt/media/image38.svg" ContentType="image/svg+xml"/>
  <Override PartName="/ppt/media/image40.svg" ContentType="image/svg+xml"/>
  <Override PartName="/ppt/media/image42.svg" ContentType="image/svg+xml"/>
  <Override PartName="/ppt/media/image44.svg" ContentType="image/svg+xml"/>
  <Override PartName="/ppt/media/image46.svg" ContentType="image/svg+xml"/>
  <Override PartName="/ppt/media/image48.svg" ContentType="image/svg+xml"/>
  <Override PartName="/ppt/media/image50.svg" ContentType="image/svg+xml"/>
  <Override PartName="/ppt/media/image52.svg" ContentType="image/svg+xml"/>
  <Override PartName="/ppt/media/image54.svg" ContentType="image/svg+xml"/>
  <Override PartName="/ppt/media/image56.svg" ContentType="image/svg+xml"/>
  <Override PartName="/ppt/media/image58.svg" ContentType="image/svg+xml"/>
  <Override PartName="/ppt/media/image60.svg" ContentType="image/svg+xml"/>
  <Override PartName="/ppt/media/image62.svg" ContentType="image/svg+xml"/>
  <Override PartName="/ppt/media/image64.svg" ContentType="image/svg+xml"/>
  <Override PartName="/ppt/media/image66.svg" ContentType="image/svg+xml"/>
  <Override PartName="/ppt/media/image68.svg" ContentType="image/svg+xml"/>
  <Override PartName="/ppt/media/image7.svg" ContentType="image/svg+xml"/>
  <Override PartName="/ppt/media/image70.svg" ContentType="image/svg+xml"/>
  <Override PartName="/ppt/media/image72.svg" ContentType="image/svg+xml"/>
  <Override PartName="/ppt/media/image74.svg" ContentType="image/svg+xml"/>
  <Override PartName="/ppt/media/image76.svg" ContentType="image/svg+xml"/>
  <Override PartName="/ppt/media/image78.svg" ContentType="image/svg+xml"/>
  <Override PartName="/ppt/media/image80.svg" ContentType="image/svg+xml"/>
  <Override PartName="/ppt/media/image82.svg" ContentType="image/svg+xml"/>
  <Override PartName="/ppt/media/image84.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8.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
  </p:notesMasterIdLst>
  <p:handoutMasterIdLst>
    <p:handoutMasterId r:id="rId21"/>
  </p:handoutMasterIdLst>
  <p:sldIdLst>
    <p:sldId id="16774767" r:id="rId3"/>
    <p:sldId id="16774799" r:id="rId5"/>
    <p:sldId id="16774814" r:id="rId6"/>
    <p:sldId id="16774786" r:id="rId7"/>
    <p:sldId id="16774769" r:id="rId8"/>
    <p:sldId id="16774768" r:id="rId9"/>
    <p:sldId id="16774777" r:id="rId10"/>
    <p:sldId id="16774774" r:id="rId11"/>
    <p:sldId id="16774770" r:id="rId12"/>
    <p:sldId id="16774773" r:id="rId13"/>
    <p:sldId id="16774776" r:id="rId14"/>
    <p:sldId id="16774778" r:id="rId15"/>
    <p:sldId id="16774782" r:id="rId16"/>
    <p:sldId id="16774800" r:id="rId17"/>
    <p:sldId id="16774772" r:id="rId18"/>
    <p:sldId id="16774798" r:id="rId19"/>
    <p:sldId id="16774785" r:id="rId20"/>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E" id="{640D3F0F-95B8-184B-8D49-96220A0DEDEB}">
          <p14:sldIdLst/>
        </p14:section>
        <p14:section name="PRESENTATION" id="{704D60C4-1F58-4045-9824-A751DF7B4B41}">
          <p14:sldIdLst>
            <p14:sldId id="16774767"/>
            <p14:sldId id="16774799"/>
            <p14:sldId id="16774814"/>
            <p14:sldId id="16774786"/>
            <p14:sldId id="16774769"/>
            <p14:sldId id="16774768"/>
            <p14:sldId id="16774777"/>
            <p14:sldId id="16774774"/>
            <p14:sldId id="16774770"/>
            <p14:sldId id="16774773"/>
            <p14:sldId id="16774776"/>
            <p14:sldId id="16774778"/>
            <p14:sldId id="16774782"/>
            <p14:sldId id="16774800"/>
            <p14:sldId id="16774772"/>
            <p14:sldId id="16774798"/>
            <p14:sldId id="16774785"/>
          </p14:sldIdLst>
        </p14:section>
        <p14:section name="SAMPLE SLIDES" id="{25D21BF1-2B3D-DA4F-8F12-7BB8B1D02CC3}">
          <p14:sldIdLst/>
        </p14:section>
        <p14:section name="Default Section" id="{46A426F3-30B4-EB44-9A30-397BB5024B1C}">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CBEE6"/>
    <a:srgbClr val="66BAB4"/>
    <a:srgbClr val="FAAA3C"/>
    <a:srgbClr val="C882BE"/>
    <a:srgbClr val="E67364"/>
    <a:srgbClr val="99D1CD"/>
    <a:srgbClr val="FCCD22"/>
    <a:srgbClr val="CCD4D6"/>
    <a:srgbClr val="CCE8E6"/>
    <a:srgbClr val="E5F3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18" autoAdjust="0"/>
    <p:restoredTop sz="96327"/>
  </p:normalViewPr>
  <p:slideViewPr>
    <p:cSldViewPr snapToGrid="0">
      <p:cViewPr varScale="1">
        <p:scale>
          <a:sx n="117" d="100"/>
          <a:sy n="117" d="100"/>
        </p:scale>
        <p:origin x="174" y="402"/>
      </p:cViewPr>
      <p:guideLst/>
    </p:cSldViewPr>
  </p:slideViewPr>
  <p:notesTextViewPr>
    <p:cViewPr>
      <p:scale>
        <a:sx n="1" d="1"/>
        <a:sy n="1" d="1"/>
      </p:scale>
      <p:origin x="0" y="0"/>
    </p:cViewPr>
  </p:notesTextViewPr>
  <p:notesViewPr>
    <p:cSldViewPr snapToGrid="0">
      <p:cViewPr varScale="1">
        <p:scale>
          <a:sx n="101" d="100"/>
          <a:sy n="101" d="100"/>
        </p:scale>
        <p:origin x="3552" y="108"/>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7" Type="http://schemas.openxmlformats.org/officeDocument/2006/relationships/tags" Target="tags/tag198.xml"/><Relationship Id="rId26" Type="http://schemas.openxmlformats.org/officeDocument/2006/relationships/customXml" Target="../customXml/item2.xml"/><Relationship Id="rId25" Type="http://schemas.openxmlformats.org/officeDocument/2006/relationships/customXml" Target="../customXml/item1.xml"/><Relationship Id="rId24" Type="http://schemas.openxmlformats.org/officeDocument/2006/relationships/tableStyles" Target="tableStyles.xml"/><Relationship Id="rId23" Type="http://schemas.openxmlformats.org/officeDocument/2006/relationships/viewProps" Target="viewProps.xml"/><Relationship Id="rId22" Type="http://schemas.openxmlformats.org/officeDocument/2006/relationships/presProps" Target="presProps.xml"/><Relationship Id="rId21" Type="http://schemas.openxmlformats.org/officeDocument/2006/relationships/handoutMaster" Target="handoutMasters/handoutMaster1.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740714F-CFDF-47A6-B559-1E13E21B456E}" type="datetimeFigureOut">
              <a:rPr lang="en-GB" smtClean="0"/>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B039B7E-B482-487D-9B2F-7AAB49246286}" type="slidenum">
              <a:rPr lang="en-GB" smtClean="0"/>
            </a:fld>
            <a:endParaRPr lang="en-GB"/>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6C3B41-6DB8-7E4D-A19B-569420892F03}" type="datetimeFigureOut">
              <a:rPr lang="en-GB" smtClean="0"/>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040836-D6EB-CC44-8D20-F0A6F776A64F}" type="slidenum">
              <a:rPr lang="en-GB" smtClean="0"/>
            </a:fld>
            <a:endParaRPr lang="en-GB"/>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9" Type="http://schemas.openxmlformats.org/officeDocument/2006/relationships/image" Target="../media/image17.svg"/><Relationship Id="rId8" Type="http://schemas.openxmlformats.org/officeDocument/2006/relationships/image" Target="../media/image16.png"/><Relationship Id="rId7" Type="http://schemas.openxmlformats.org/officeDocument/2006/relationships/image" Target="../media/image15.svg"/><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 Id="rId3" Type="http://schemas.openxmlformats.org/officeDocument/2006/relationships/image" Target="../media/image11.png"/><Relationship Id="rId2" Type="http://schemas.openxmlformats.org/officeDocument/2006/relationships/image" Target="../media/image10.jpeg"/><Relationship Id="rId11" Type="http://schemas.openxmlformats.org/officeDocument/2006/relationships/image" Target="../media/image19.svg"/><Relationship Id="rId10" Type="http://schemas.openxmlformats.org/officeDocument/2006/relationships/image" Target="../media/image1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9" Type="http://schemas.openxmlformats.org/officeDocument/2006/relationships/image" Target="../media/image28.svg"/><Relationship Id="rId8" Type="http://schemas.openxmlformats.org/officeDocument/2006/relationships/image" Target="../media/image27.png"/><Relationship Id="rId7" Type="http://schemas.openxmlformats.org/officeDocument/2006/relationships/image" Target="../media/image26.svg"/><Relationship Id="rId65" Type="http://schemas.openxmlformats.org/officeDocument/2006/relationships/image" Target="../media/image84.svg"/><Relationship Id="rId64" Type="http://schemas.openxmlformats.org/officeDocument/2006/relationships/image" Target="../media/image83.png"/><Relationship Id="rId63" Type="http://schemas.openxmlformats.org/officeDocument/2006/relationships/image" Target="../media/image82.svg"/><Relationship Id="rId62" Type="http://schemas.openxmlformats.org/officeDocument/2006/relationships/image" Target="../media/image81.png"/><Relationship Id="rId61" Type="http://schemas.openxmlformats.org/officeDocument/2006/relationships/image" Target="../media/image80.svg"/><Relationship Id="rId60" Type="http://schemas.openxmlformats.org/officeDocument/2006/relationships/image" Target="../media/image79.png"/><Relationship Id="rId6" Type="http://schemas.openxmlformats.org/officeDocument/2006/relationships/image" Target="../media/image25.png"/><Relationship Id="rId59" Type="http://schemas.openxmlformats.org/officeDocument/2006/relationships/image" Target="../media/image78.svg"/><Relationship Id="rId58" Type="http://schemas.openxmlformats.org/officeDocument/2006/relationships/image" Target="../media/image77.png"/><Relationship Id="rId57" Type="http://schemas.openxmlformats.org/officeDocument/2006/relationships/image" Target="../media/image76.svg"/><Relationship Id="rId56" Type="http://schemas.openxmlformats.org/officeDocument/2006/relationships/image" Target="../media/image75.png"/><Relationship Id="rId55" Type="http://schemas.openxmlformats.org/officeDocument/2006/relationships/image" Target="../media/image74.svg"/><Relationship Id="rId54" Type="http://schemas.openxmlformats.org/officeDocument/2006/relationships/image" Target="../media/image73.png"/><Relationship Id="rId53" Type="http://schemas.openxmlformats.org/officeDocument/2006/relationships/image" Target="../media/image72.svg"/><Relationship Id="rId52" Type="http://schemas.openxmlformats.org/officeDocument/2006/relationships/image" Target="../media/image71.png"/><Relationship Id="rId51" Type="http://schemas.openxmlformats.org/officeDocument/2006/relationships/image" Target="../media/image70.svg"/><Relationship Id="rId50" Type="http://schemas.openxmlformats.org/officeDocument/2006/relationships/image" Target="../media/image69.png"/><Relationship Id="rId5" Type="http://schemas.openxmlformats.org/officeDocument/2006/relationships/image" Target="../media/image24.svg"/><Relationship Id="rId49" Type="http://schemas.openxmlformats.org/officeDocument/2006/relationships/image" Target="../media/image68.svg"/><Relationship Id="rId48" Type="http://schemas.openxmlformats.org/officeDocument/2006/relationships/image" Target="../media/image67.png"/><Relationship Id="rId47" Type="http://schemas.openxmlformats.org/officeDocument/2006/relationships/image" Target="../media/image66.svg"/><Relationship Id="rId46" Type="http://schemas.openxmlformats.org/officeDocument/2006/relationships/image" Target="../media/image65.png"/><Relationship Id="rId45" Type="http://schemas.openxmlformats.org/officeDocument/2006/relationships/image" Target="../media/image64.svg"/><Relationship Id="rId44" Type="http://schemas.openxmlformats.org/officeDocument/2006/relationships/image" Target="../media/image63.png"/><Relationship Id="rId43" Type="http://schemas.openxmlformats.org/officeDocument/2006/relationships/image" Target="../media/image62.svg"/><Relationship Id="rId42" Type="http://schemas.openxmlformats.org/officeDocument/2006/relationships/image" Target="../media/image61.png"/><Relationship Id="rId41" Type="http://schemas.openxmlformats.org/officeDocument/2006/relationships/image" Target="../media/image60.svg"/><Relationship Id="rId40" Type="http://schemas.openxmlformats.org/officeDocument/2006/relationships/image" Target="../media/image59.png"/><Relationship Id="rId4" Type="http://schemas.openxmlformats.org/officeDocument/2006/relationships/image" Target="../media/image23.png"/><Relationship Id="rId39" Type="http://schemas.openxmlformats.org/officeDocument/2006/relationships/image" Target="../media/image58.svg"/><Relationship Id="rId38" Type="http://schemas.openxmlformats.org/officeDocument/2006/relationships/image" Target="../media/image57.png"/><Relationship Id="rId37" Type="http://schemas.openxmlformats.org/officeDocument/2006/relationships/image" Target="../media/image56.svg"/><Relationship Id="rId36" Type="http://schemas.openxmlformats.org/officeDocument/2006/relationships/image" Target="../media/image55.png"/><Relationship Id="rId35" Type="http://schemas.openxmlformats.org/officeDocument/2006/relationships/image" Target="../media/image54.svg"/><Relationship Id="rId34" Type="http://schemas.openxmlformats.org/officeDocument/2006/relationships/image" Target="../media/image53.png"/><Relationship Id="rId33" Type="http://schemas.openxmlformats.org/officeDocument/2006/relationships/image" Target="../media/image52.svg"/><Relationship Id="rId32" Type="http://schemas.openxmlformats.org/officeDocument/2006/relationships/image" Target="../media/image51.png"/><Relationship Id="rId31" Type="http://schemas.openxmlformats.org/officeDocument/2006/relationships/image" Target="../media/image50.svg"/><Relationship Id="rId30" Type="http://schemas.openxmlformats.org/officeDocument/2006/relationships/image" Target="../media/image49.png"/><Relationship Id="rId3" Type="http://schemas.openxmlformats.org/officeDocument/2006/relationships/image" Target="../media/image22.svg"/><Relationship Id="rId29" Type="http://schemas.openxmlformats.org/officeDocument/2006/relationships/image" Target="../media/image48.svg"/><Relationship Id="rId28" Type="http://schemas.openxmlformats.org/officeDocument/2006/relationships/image" Target="../media/image47.png"/><Relationship Id="rId27" Type="http://schemas.openxmlformats.org/officeDocument/2006/relationships/image" Target="../media/image46.svg"/><Relationship Id="rId26" Type="http://schemas.openxmlformats.org/officeDocument/2006/relationships/image" Target="../media/image45.png"/><Relationship Id="rId25" Type="http://schemas.openxmlformats.org/officeDocument/2006/relationships/image" Target="../media/image44.svg"/><Relationship Id="rId24" Type="http://schemas.openxmlformats.org/officeDocument/2006/relationships/image" Target="../media/image43.png"/><Relationship Id="rId23" Type="http://schemas.openxmlformats.org/officeDocument/2006/relationships/image" Target="../media/image42.svg"/><Relationship Id="rId22" Type="http://schemas.openxmlformats.org/officeDocument/2006/relationships/image" Target="../media/image41.png"/><Relationship Id="rId21" Type="http://schemas.openxmlformats.org/officeDocument/2006/relationships/image" Target="../media/image40.svg"/><Relationship Id="rId20" Type="http://schemas.openxmlformats.org/officeDocument/2006/relationships/image" Target="../media/image39.png"/><Relationship Id="rId2" Type="http://schemas.openxmlformats.org/officeDocument/2006/relationships/image" Target="../media/image21.png"/><Relationship Id="rId19" Type="http://schemas.openxmlformats.org/officeDocument/2006/relationships/image" Target="../media/image38.svg"/><Relationship Id="rId18" Type="http://schemas.openxmlformats.org/officeDocument/2006/relationships/image" Target="../media/image37.png"/><Relationship Id="rId17" Type="http://schemas.openxmlformats.org/officeDocument/2006/relationships/image" Target="../media/image36.svg"/><Relationship Id="rId16" Type="http://schemas.openxmlformats.org/officeDocument/2006/relationships/image" Target="../media/image35.png"/><Relationship Id="rId15" Type="http://schemas.openxmlformats.org/officeDocument/2006/relationships/image" Target="../media/image34.svg"/><Relationship Id="rId14" Type="http://schemas.openxmlformats.org/officeDocument/2006/relationships/image" Target="../media/image33.png"/><Relationship Id="rId13" Type="http://schemas.openxmlformats.org/officeDocument/2006/relationships/image" Target="../media/image32.svg"/><Relationship Id="rId12" Type="http://schemas.openxmlformats.org/officeDocument/2006/relationships/image" Target="../media/image31.png"/><Relationship Id="rId11" Type="http://schemas.openxmlformats.org/officeDocument/2006/relationships/image" Target="../media/image30.svg"/><Relationship Id="rId10" Type="http://schemas.openxmlformats.org/officeDocument/2006/relationships/image" Target="../media/image29.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9" Type="http://schemas.openxmlformats.org/officeDocument/2006/relationships/image" Target="../media/image92.png"/><Relationship Id="rId8" Type="http://schemas.openxmlformats.org/officeDocument/2006/relationships/image" Target="../media/image91.png"/><Relationship Id="rId7" Type="http://schemas.openxmlformats.org/officeDocument/2006/relationships/image" Target="../media/image90.png"/><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 Id="rId33" Type="http://schemas.openxmlformats.org/officeDocument/2006/relationships/image" Target="../media/image115.png"/><Relationship Id="rId32" Type="http://schemas.openxmlformats.org/officeDocument/2006/relationships/image" Target="../media/image114.png"/><Relationship Id="rId31" Type="http://schemas.openxmlformats.org/officeDocument/2006/relationships/image" Target="../media/image113.png"/><Relationship Id="rId30" Type="http://schemas.openxmlformats.org/officeDocument/2006/relationships/image" Target="../media/image112.png"/><Relationship Id="rId3" Type="http://schemas.openxmlformats.org/officeDocument/2006/relationships/image" Target="../media/image86.png"/><Relationship Id="rId29" Type="http://schemas.openxmlformats.org/officeDocument/2006/relationships/image" Target="../media/image111.png"/><Relationship Id="rId28" Type="http://schemas.openxmlformats.org/officeDocument/2006/relationships/image" Target="../media/image110.GIF"/><Relationship Id="rId27" Type="http://schemas.openxmlformats.org/officeDocument/2006/relationships/hyperlink" Target="http://www.google.nl/url?sa=i&amp;rct=j&amp;q=&amp;esrc=s&amp;frm=1&amp;source=images&amp;cd=&amp;cad=rja&amp;docid=GtGuvZJxZZFCjM&amp;tbnid=prGIrq8KzZdNgM:&amp;ved=0CAUQjRw&amp;url=http://wallpaperspoints.com/usa-flag-download-hd-wallpapers.html&amp;ei=Ty_tUcKeAYKkPbSAgZAI&amp;bvm=bv.49478099,d.ZWU&amp;psig=AFQjCNFca13bGJchgGQeM97L0M-T27FVMQ&amp;ust=1374585034679531" TargetMode="External"/><Relationship Id="rId26" Type="http://schemas.openxmlformats.org/officeDocument/2006/relationships/image" Target="../media/image109.png"/><Relationship Id="rId25" Type="http://schemas.openxmlformats.org/officeDocument/2006/relationships/image" Target="../media/image108.png"/><Relationship Id="rId24" Type="http://schemas.openxmlformats.org/officeDocument/2006/relationships/image" Target="../media/image107.png"/><Relationship Id="rId23" Type="http://schemas.openxmlformats.org/officeDocument/2006/relationships/image" Target="../media/image106.png"/><Relationship Id="rId22" Type="http://schemas.openxmlformats.org/officeDocument/2006/relationships/image" Target="../media/image105.GIF"/><Relationship Id="rId21" Type="http://schemas.openxmlformats.org/officeDocument/2006/relationships/image" Target="../media/image104.png"/><Relationship Id="rId20" Type="http://schemas.openxmlformats.org/officeDocument/2006/relationships/image" Target="../media/image103.png"/><Relationship Id="rId2" Type="http://schemas.openxmlformats.org/officeDocument/2006/relationships/image" Target="../media/image85.png"/><Relationship Id="rId19" Type="http://schemas.openxmlformats.org/officeDocument/2006/relationships/image" Target="../media/image102.jpeg"/><Relationship Id="rId18" Type="http://schemas.openxmlformats.org/officeDocument/2006/relationships/image" Target="../media/image101.png"/><Relationship Id="rId17" Type="http://schemas.openxmlformats.org/officeDocument/2006/relationships/image" Target="../media/image100.png"/><Relationship Id="rId16" Type="http://schemas.openxmlformats.org/officeDocument/2006/relationships/image" Target="../media/image99.png"/><Relationship Id="rId15" Type="http://schemas.openxmlformats.org/officeDocument/2006/relationships/image" Target="../media/image98.png"/><Relationship Id="rId14" Type="http://schemas.openxmlformats.org/officeDocument/2006/relationships/image" Target="../media/image97.png"/><Relationship Id="rId13" Type="http://schemas.openxmlformats.org/officeDocument/2006/relationships/image" Target="../media/image96.png"/><Relationship Id="rId12" Type="http://schemas.openxmlformats.org/officeDocument/2006/relationships/image" Target="../media/image95.png"/><Relationship Id="rId11" Type="http://schemas.openxmlformats.org/officeDocument/2006/relationships/image" Target="../media/image94.png"/><Relationship Id="rId10" Type="http://schemas.openxmlformats.org/officeDocument/2006/relationships/image" Target="../media/image93.GI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group-wiki.wob.vw.vwg/wikis/pages/viewpage.action?pageId=527796483" TargetMode="External"/><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4" Type="http://schemas.openxmlformats.org/officeDocument/2006/relationships/image" Target="../media/image118.png"/><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Intro slide Deep Space Blue">
    <p:bg bwMode="grayWhite">
      <p:bgPr>
        <a:solidFill>
          <a:srgbClr val="002733"/>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2155100" y="3164986"/>
            <a:ext cx="7920000" cy="540000"/>
            <a:chOff x="2155100" y="3164986"/>
            <a:chExt cx="7920000" cy="540000"/>
          </a:xfrm>
        </p:grpSpPr>
        <p:sp>
          <p:nvSpPr>
            <p:cNvPr id="6" name="Rectangle 5"/>
            <p:cNvSpPr/>
            <p:nvPr userDrawn="1"/>
          </p:nvSpPr>
          <p:spPr>
            <a:xfrm>
              <a:off x="2155100" y="3164986"/>
              <a:ext cx="792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Font typeface="The Group TEXT" panose="00000500000000000000" pitchFamily="2" charset="0"/>
                <a:buChar char="•"/>
              </a:pPr>
              <a:endParaRPr lang="en-GB" sz="1600">
                <a:solidFill>
                  <a:schemeClr val="tx1"/>
                </a:solidFill>
              </a:endParaRPr>
            </a:p>
          </p:txBody>
        </p:sp>
        <p:pic>
          <p:nvPicPr>
            <p:cNvPr id="10" name="Picture 4"/>
            <p:cNvPicPr>
              <a:picLocks noChangeAspect="1"/>
            </p:cNvPicPr>
            <p:nvPr userDrawn="1"/>
          </p:nvPicPr>
          <p:blipFill>
            <a:blip r:embed="rId2" cstate="email"/>
            <a:stretch>
              <a:fillRect/>
            </a:stretch>
          </p:blipFill>
          <p:spPr bwMode="black">
            <a:xfrm>
              <a:off x="2209800" y="3218498"/>
              <a:ext cx="7772400" cy="421005"/>
            </a:xfrm>
            <a:prstGeom prst="rect">
              <a:avLst/>
            </a:prstGeom>
          </p:spPr>
        </p:pic>
      </p:gr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showMasterSp="0" userDrawn="1">
  <p:cSld name="Title slide with image placeholder">
    <p:bg bwMode="ltGray">
      <p:bgPr>
        <a:solidFill>
          <a:srgbClr val="002733"/>
        </a:solidFill>
        <a:effectLst/>
      </p:bgPr>
    </p:bg>
    <p:spTree>
      <p:nvGrpSpPr>
        <p:cNvPr id="1" name=""/>
        <p:cNvGrpSpPr/>
        <p:nvPr/>
      </p:nvGrpSpPr>
      <p:grpSpPr>
        <a:xfrm>
          <a:off x="0" y="0"/>
          <a:ext cx="0" cy="0"/>
          <a:chOff x="0" y="0"/>
          <a:chExt cx="0" cy="0"/>
        </a:xfrm>
      </p:grpSpPr>
      <p:sp>
        <p:nvSpPr>
          <p:cNvPr id="20" name="Picture Placeholder 19"/>
          <p:cNvSpPr>
            <a:spLocks noGrp="1"/>
          </p:cNvSpPr>
          <p:nvPr>
            <p:ph type="pic" sz="quarter" idx="19"/>
          </p:nvPr>
        </p:nvSpPr>
        <p:spPr bwMode="ltGray">
          <a:xfrm>
            <a:off x="0" y="0"/>
            <a:ext cx="12192000" cy="6858000"/>
          </a:xfrm>
        </p:spPr>
        <p:txBody>
          <a:bodyPr/>
          <a:lstStyle>
            <a:lvl1pPr>
              <a:defRPr>
                <a:solidFill>
                  <a:schemeClr val="tx1"/>
                </a:solidFill>
              </a:defRPr>
            </a:lvl1pPr>
          </a:lstStyle>
          <a:p>
            <a:r>
              <a:rPr lang="en-US" smtClean="0"/>
              <a:t>Click icon to add picture</a:t>
            </a:r>
            <a:endParaRPr lang="en-IN"/>
          </a:p>
        </p:txBody>
      </p:sp>
      <p:sp>
        <p:nvSpPr>
          <p:cNvPr id="2" name="Titel 1"/>
          <p:cNvSpPr>
            <a:spLocks noGrp="1"/>
          </p:cNvSpPr>
          <p:nvPr userDrawn="1">
            <p:ph type="ctrTitle" hasCustomPrompt="1"/>
          </p:nvPr>
        </p:nvSpPr>
        <p:spPr bwMode="black">
          <a:xfrm>
            <a:off x="407036" y="4093446"/>
            <a:ext cx="7604850" cy="1495794"/>
          </a:xfrm>
        </p:spPr>
        <p:txBody>
          <a:bodyPr wrap="square" anchor="b">
            <a:spAutoFit/>
          </a:bodyPr>
          <a:lstStyle>
            <a:lvl1pPr algn="l">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endParaRPr lang="en-US" noProof="0"/>
          </a:p>
        </p:txBody>
      </p:sp>
      <p:sp>
        <p:nvSpPr>
          <p:cNvPr id="3" name="Untertitel 2"/>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endParaRPr lang="en-US" noProof="0"/>
          </a:p>
        </p:txBody>
      </p:sp>
      <p:sp>
        <p:nvSpPr>
          <p:cNvPr id="19" name="Textplatzhalter 8"/>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endParaRPr lang="en-US" sz="1200" cap="all" baseline="0"/>
          </a:p>
        </p:txBody>
      </p:sp>
      <p:pic>
        <p:nvPicPr>
          <p:cNvPr id="7" name="Picture 6"/>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9384083" y="-1333"/>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x Agenda White, Deep Space Blue headline">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FF1362E8-470C-470E-880E-E693EA1104EA}"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10" name="Textplatzhalter 9"/>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1" name="Textplatzhalter 9"/>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12" name="Textplatzhalter 9"/>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3" name="Textplatzhalter 9"/>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14" name="Textplatzhalter 9"/>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5" name="Textplatzhalter 9"/>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16" name="Textplatzhalter 9"/>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7" name="Textplatzhalter 9"/>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18" name="Textplatzhalter 9"/>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9" name="Textplatzhalter 9"/>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0" name="Textplatzhalter 9"/>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1" name="Textplatzhalter 9"/>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2" name="Textplatzhalter 9"/>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3" name="Textplatzhalter 9"/>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4" name="Textplatzhalter 9"/>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5" name="Textplatzhalter 9"/>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6" name="Textplatzhalter 9"/>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7" name="Textplatzhalter 9"/>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8" name="Textplatzhalter 9"/>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9" name="Textplatzhalter 9"/>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6" name="Title 5"/>
          <p:cNvSpPr>
            <a:spLocks noGrp="1"/>
          </p:cNvSpPr>
          <p:nvPr>
            <p:ph type="title" hasCustomPrompt="1"/>
          </p:nvPr>
        </p:nvSpPr>
        <p:spPr bwMode="auto">
          <a:xfrm>
            <a:off x="407987" y="644520"/>
            <a:ext cx="11376021" cy="387798"/>
          </a:xfrm>
        </p:spPr>
        <p:txBody>
          <a:bodyPr/>
          <a:lstStyle>
            <a:lvl1pPr>
              <a:defRPr>
                <a:solidFill>
                  <a:srgbClr val="002733"/>
                </a:solidFill>
              </a:defRPr>
            </a:lvl1pPr>
          </a:lstStyle>
          <a:p>
            <a:r>
              <a:rPr lang="en-GB"/>
              <a:t>Agenda title in The Group Head Light 28pt, Deep Space Blue</a:t>
            </a:r>
            <a:endParaRPr lang="en-GB"/>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x Agenda White, Vivid Green headline">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E419A474-A8C2-4F1A-98DA-D9B381B08FFE}"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10" name="Textplatzhalter 9"/>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1" name="Textplatzhalter 9"/>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12" name="Textplatzhalter 9"/>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3" name="Textplatzhalter 9"/>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14" name="Textplatzhalter 9"/>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5" name="Textplatzhalter 9"/>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16" name="Textplatzhalter 9"/>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7" name="Textplatzhalter 9"/>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18" name="Textplatzhalter 9"/>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9" name="Textplatzhalter 9"/>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0" name="Textplatzhalter 9"/>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1" name="Textplatzhalter 9"/>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2" name="Textplatzhalter 9"/>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3" name="Textplatzhalter 9"/>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4" name="Textplatzhalter 9"/>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5" name="Textplatzhalter 9"/>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6" name="Textplatzhalter 9"/>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7" name="Textplatzhalter 9"/>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8" name="Textplatzhalter 9"/>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9" name="Textplatzhalter 9"/>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6" name="Title 5"/>
          <p:cNvSpPr>
            <a:spLocks noGrp="1"/>
          </p:cNvSpPr>
          <p:nvPr>
            <p:ph type="title" hasCustomPrompt="1"/>
          </p:nvPr>
        </p:nvSpPr>
        <p:spPr bwMode="auto"/>
        <p:txBody>
          <a:bodyPr/>
          <a:lstStyle>
            <a:lvl1pPr>
              <a:defRPr>
                <a:solidFill>
                  <a:srgbClr val="008C82"/>
                </a:solidFill>
              </a:defRPr>
            </a:lvl1pPr>
          </a:lstStyle>
          <a:p>
            <a:r>
              <a:rPr lang="en-GB" dirty="0"/>
              <a:t>Agenda title in The Group Head Light 28pt, Vivid Green</a:t>
            </a:r>
            <a:endParaRPr lang="en-GB"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x Agenda Deep Space Blue">
    <p:bg bwMode="grayWhite">
      <p:bgPr>
        <a:solidFill>
          <a:schemeClr val="accent1"/>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lvl1pPr>
              <a:defRPr>
                <a:solidFill>
                  <a:schemeClr val="accent4"/>
                </a:solidFill>
              </a:defRPr>
            </a:lvl1pPr>
          </a:lstStyle>
          <a:p>
            <a:fld id="{B4A603C4-EE20-40E8-B318-E349B2A5BFA3}" type="datetime1">
              <a:rPr lang="zh-CN" altLang="en-US" smtClean="0"/>
            </a:fld>
            <a:endParaRPr lang="en-US"/>
          </a:p>
        </p:txBody>
      </p:sp>
      <p:sp>
        <p:nvSpPr>
          <p:cNvPr id="4" name="Fußzeilenplatzhalter 3"/>
          <p:cNvSpPr>
            <a:spLocks noGrp="1"/>
          </p:cNvSpPr>
          <p:nvPr>
            <p:ph type="ftr" sz="quarter" idx="11"/>
          </p:nvPr>
        </p:nvSpPr>
        <p:spPr bwMode="auto"/>
        <p:txBody>
          <a:bodyPr/>
          <a:lstStyle>
            <a:lvl1pPr>
              <a:defRPr>
                <a:solidFill>
                  <a:schemeClr val="accent4"/>
                </a:solidFill>
              </a:defRPr>
            </a:lvl1pPr>
          </a:lstStyle>
          <a:p>
            <a:r>
              <a:rPr lang="en-US" smtClean="0"/>
              <a:t>Department VWA-DT  |  Hackathon Challenge Release  |  CSD-class</a:t>
            </a:r>
            <a:endParaRPr lang="en-US"/>
          </a:p>
        </p:txBody>
      </p:sp>
      <p:sp>
        <p:nvSpPr>
          <p:cNvPr id="5" name="Foliennummernplatzhalter 4"/>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fld>
            <a:endParaRPr lang="en-US"/>
          </a:p>
        </p:txBody>
      </p:sp>
      <p:sp>
        <p:nvSpPr>
          <p:cNvPr id="10" name="Textplatzhalter 9"/>
          <p:cNvSpPr>
            <a:spLocks noGrp="1"/>
          </p:cNvSpPr>
          <p:nvPr>
            <p:ph type="body" sz="quarter" idx="13" hasCustomPrompt="1"/>
          </p:nvPr>
        </p:nvSpPr>
        <p:spPr bwMode="auto">
          <a:xfrm>
            <a:off x="1217680" y="185303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1" name="Textplatzhalter 9"/>
          <p:cNvSpPr>
            <a:spLocks noGrp="1"/>
          </p:cNvSpPr>
          <p:nvPr>
            <p:ph type="body" sz="quarter" idx="14" hasCustomPrompt="1"/>
          </p:nvPr>
        </p:nvSpPr>
        <p:spPr bwMode="auto">
          <a:xfrm>
            <a:off x="1688854" y="185303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2" name="Textplatzhalter 9"/>
          <p:cNvSpPr>
            <a:spLocks noGrp="1"/>
          </p:cNvSpPr>
          <p:nvPr>
            <p:ph type="body" sz="quarter" idx="25" hasCustomPrompt="1"/>
          </p:nvPr>
        </p:nvSpPr>
        <p:spPr bwMode="auto">
          <a:xfrm>
            <a:off x="1217680" y="269266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3" name="Textplatzhalter 9"/>
          <p:cNvSpPr>
            <a:spLocks noGrp="1"/>
          </p:cNvSpPr>
          <p:nvPr>
            <p:ph type="body" sz="quarter" idx="26" hasCustomPrompt="1"/>
          </p:nvPr>
        </p:nvSpPr>
        <p:spPr bwMode="auto">
          <a:xfrm>
            <a:off x="1688854" y="269266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4" name="Textplatzhalter 9"/>
          <p:cNvSpPr>
            <a:spLocks noGrp="1"/>
          </p:cNvSpPr>
          <p:nvPr>
            <p:ph type="body" sz="quarter" idx="27" hasCustomPrompt="1"/>
          </p:nvPr>
        </p:nvSpPr>
        <p:spPr bwMode="auto">
          <a:xfrm>
            <a:off x="1217680" y="353230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5" name="Textplatzhalter 9"/>
          <p:cNvSpPr>
            <a:spLocks noGrp="1"/>
          </p:cNvSpPr>
          <p:nvPr>
            <p:ph type="body" sz="quarter" idx="28" hasCustomPrompt="1"/>
          </p:nvPr>
        </p:nvSpPr>
        <p:spPr bwMode="auto">
          <a:xfrm>
            <a:off x="1688854" y="353230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6" name="Textplatzhalter 9"/>
          <p:cNvSpPr>
            <a:spLocks noGrp="1"/>
          </p:cNvSpPr>
          <p:nvPr>
            <p:ph type="body" sz="quarter" idx="29" hasCustomPrompt="1"/>
          </p:nvPr>
        </p:nvSpPr>
        <p:spPr bwMode="auto">
          <a:xfrm>
            <a:off x="1217680" y="437193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7" name="Textplatzhalter 9"/>
          <p:cNvSpPr>
            <a:spLocks noGrp="1"/>
          </p:cNvSpPr>
          <p:nvPr>
            <p:ph type="body" sz="quarter" idx="30" hasCustomPrompt="1"/>
          </p:nvPr>
        </p:nvSpPr>
        <p:spPr bwMode="auto">
          <a:xfrm>
            <a:off x="1688854" y="437193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8" name="Textplatzhalter 9"/>
          <p:cNvSpPr>
            <a:spLocks noGrp="1"/>
          </p:cNvSpPr>
          <p:nvPr>
            <p:ph type="body" sz="quarter" idx="31" hasCustomPrompt="1"/>
          </p:nvPr>
        </p:nvSpPr>
        <p:spPr bwMode="auto">
          <a:xfrm>
            <a:off x="1217680" y="521157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9" name="Textplatzhalter 9"/>
          <p:cNvSpPr>
            <a:spLocks noGrp="1"/>
          </p:cNvSpPr>
          <p:nvPr>
            <p:ph type="body" sz="quarter" idx="32" hasCustomPrompt="1"/>
          </p:nvPr>
        </p:nvSpPr>
        <p:spPr bwMode="auto">
          <a:xfrm>
            <a:off x="1688854" y="521157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6" name="Title 5"/>
          <p:cNvSpPr>
            <a:spLocks noGrp="1"/>
          </p:cNvSpPr>
          <p:nvPr>
            <p:ph type="title" hasCustomPrompt="1"/>
          </p:nvPr>
        </p:nvSpPr>
        <p:spPr bwMode="auto"/>
        <p:txBody>
          <a:bodyPr/>
          <a:lstStyle/>
          <a:p>
            <a:r>
              <a:rPr lang="en-GB"/>
              <a:t>Agenda title in The Group Head Light 28pt, White</a:t>
            </a:r>
            <a:endParaRPr lang="en-GB"/>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 Chapter divider Deep Space Blue">
    <p:bg bwMode="grayWhite">
      <p:bgPr>
        <a:solidFill>
          <a:srgbClr val="002733"/>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lvl1pPr>
              <a:defRPr>
                <a:solidFill>
                  <a:schemeClr val="accent4"/>
                </a:solidFill>
              </a:defRPr>
            </a:lvl1pPr>
          </a:lstStyle>
          <a:p>
            <a:fld id="{EFB5E635-B59F-495D-98AB-9849A6F66A63}" type="datetime1">
              <a:rPr lang="zh-CN" altLang="en-US" smtClean="0"/>
            </a:fld>
            <a:endParaRPr lang="en-US"/>
          </a:p>
        </p:txBody>
      </p:sp>
      <p:sp>
        <p:nvSpPr>
          <p:cNvPr id="4" name="Fußzeilenplatzhalter 3"/>
          <p:cNvSpPr>
            <a:spLocks noGrp="1"/>
          </p:cNvSpPr>
          <p:nvPr>
            <p:ph type="ftr" sz="quarter" idx="11"/>
          </p:nvPr>
        </p:nvSpPr>
        <p:spPr bwMode="auto"/>
        <p:txBody>
          <a:bodyPr/>
          <a:lstStyle>
            <a:lvl1pPr>
              <a:defRPr>
                <a:solidFill>
                  <a:schemeClr val="accent4"/>
                </a:solidFill>
              </a:defRPr>
            </a:lvl1pPr>
          </a:lstStyle>
          <a:p>
            <a:r>
              <a:rPr lang="en-US" smtClean="0"/>
              <a:t>Department VWA-DT  |  Hackathon Challenge Release  |  CSD-class</a:t>
            </a:r>
            <a:endParaRPr lang="en-US"/>
          </a:p>
        </p:txBody>
      </p:sp>
      <p:sp>
        <p:nvSpPr>
          <p:cNvPr id="5" name="Foliennummernplatzhalter 4"/>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fld>
            <a:endParaRPr lang="en-US"/>
          </a:p>
        </p:txBody>
      </p:sp>
      <p:sp>
        <p:nvSpPr>
          <p:cNvPr id="32" name="Textplatzhalter 2"/>
          <p:cNvSpPr>
            <a:spLocks noGrp="1"/>
          </p:cNvSpPr>
          <p:nvPr>
            <p:ph type="body" sz="quarter" idx="36" hasCustomPrompt="1"/>
          </p:nvPr>
        </p:nvSpPr>
        <p:spPr bwMode="auto">
          <a:xfrm>
            <a:off x="435600" y="673287"/>
            <a:ext cx="1480912" cy="1825768"/>
          </a:xfrm>
          <a:prstGeom prst="roundRect">
            <a:avLst>
              <a:gd name="adj" fmla="val 24235"/>
            </a:avLst>
          </a:prstGeom>
          <a:ln w="47625">
            <a:solidFill>
              <a:srgbClr val="C2FE06"/>
            </a:solidFill>
          </a:ln>
        </p:spPr>
        <p:txBody>
          <a:bodyPr wrap="none" lIns="0" tIns="0" rIns="0" bIns="0" anchor="ctr" anchorCtr="0">
            <a:noAutofit/>
          </a:bodyPr>
          <a:lstStyle>
            <a:lvl1pPr marL="0" indent="0" algn="ctr">
              <a:spcBef>
                <a:spcPts val="0"/>
              </a:spcBef>
              <a:buFont typeface="The Group TEXT" panose="00000500000000000000" pitchFamily="2" charset="0"/>
              <a:buNone/>
              <a:defRPr sz="9600" b="0">
                <a:solidFill>
                  <a:schemeClr val="tx1"/>
                </a:solidFill>
                <a:latin typeface="+mj-lt"/>
              </a:defRPr>
            </a:lvl1pPr>
            <a:lvl2pPr marL="0" indent="0">
              <a:buFont typeface="The Group TEXT" panose="00000500000000000000" pitchFamily="2"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endParaRPr lang="en-US" noProof="0"/>
          </a:p>
        </p:txBody>
      </p:sp>
      <p:sp>
        <p:nvSpPr>
          <p:cNvPr id="13" name="Textplatzhalter 12"/>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0000500000000000000" pitchFamily="2" charset="0"/>
              <a:buNone/>
              <a:defRPr sz="1600" b="0">
                <a:solidFill>
                  <a:schemeClr val="tx2"/>
                </a:solidFill>
              </a:defRPr>
            </a:lvl1pPr>
            <a:lvl2pPr marL="0" indent="0">
              <a:spcBef>
                <a:spcPts val="0"/>
              </a:spcBef>
              <a:buFont typeface="The Group TEXT" panose="00000500000000000000" pitchFamily="2" charset="0"/>
              <a:buNone/>
              <a:defRPr sz="1800" b="0">
                <a:solidFill>
                  <a:schemeClr val="bg1"/>
                </a:solidFill>
              </a:defRPr>
            </a:lvl2pPr>
            <a:lvl3pPr marL="0" indent="0">
              <a:spcBef>
                <a:spcPts val="0"/>
              </a:spcBef>
              <a:buNone/>
              <a:defRPr sz="1800" b="0">
                <a:solidFill>
                  <a:schemeClr val="bg1"/>
                </a:solidFill>
              </a:defRPr>
            </a:lvl3pPr>
            <a:lvl4pPr marL="0" indent="0">
              <a:spcBef>
                <a:spcPts val="0"/>
              </a:spcBef>
              <a:buNone/>
              <a:defRPr sz="1800" b="0">
                <a:solidFill>
                  <a:schemeClr val="bg1"/>
                </a:solidFill>
              </a:defRPr>
            </a:lvl4pPr>
            <a:lvl5pPr marL="0" indent="0">
              <a:spcBef>
                <a:spcPts val="0"/>
              </a:spcBef>
              <a:buNone/>
              <a:defRPr sz="1800" b="0">
                <a:solidFill>
                  <a:schemeClr val="bg1"/>
                </a:solidFill>
              </a:defRPr>
            </a:lvl5pPr>
          </a:lstStyle>
          <a:p>
            <a:pPr lvl="0"/>
            <a:r>
              <a:rPr lang="en-US" noProof="0" dirty="0" err="1"/>
              <a:t>Subheader</a:t>
            </a:r>
            <a:r>
              <a:rPr lang="en-US" noProof="0" dirty="0"/>
              <a:t> in The Group Text Regular 16pt</a:t>
            </a:r>
            <a:endParaRPr lang="en-US" noProof="0" dirty="0"/>
          </a:p>
        </p:txBody>
      </p:sp>
      <p:sp>
        <p:nvSpPr>
          <p:cNvPr id="10" name="Textplatzhalter 2"/>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0000500000000000000" pitchFamily="2" charset="0"/>
              <a:buNone/>
              <a:defRPr sz="4400" b="0">
                <a:solidFill>
                  <a:schemeClr val="tx2"/>
                </a:solidFill>
                <a:latin typeface="+mj-lt"/>
              </a:defRPr>
            </a:lvl1pPr>
            <a:lvl2pPr marL="0" indent="0">
              <a:spcBef>
                <a:spcPts val="0"/>
              </a:spcBef>
              <a:buFont typeface="The Group TEXT" panose="00000500000000000000" pitchFamily="2"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White</a:t>
            </a:r>
            <a:endParaRPr lang="en-US" noProof="0"/>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divider White">
    <p:bg bwMode="gray">
      <p:bgPr>
        <a:solidFill>
          <a:schemeClr val="bg1"/>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lvl1pPr>
              <a:defRPr>
                <a:solidFill>
                  <a:schemeClr val="accent4"/>
                </a:solidFill>
              </a:defRPr>
            </a:lvl1pPr>
          </a:lstStyle>
          <a:p>
            <a:fld id="{E7C12960-611F-4D97-929C-48C5E51C1999}"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lvl1pPr>
              <a:defRPr>
                <a:solidFill>
                  <a:schemeClr val="accent4"/>
                </a:solidFill>
              </a:defRPr>
            </a:lvl1p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fld>
            <a:endParaRPr lang="en-US" noProof="0"/>
          </a:p>
        </p:txBody>
      </p:sp>
      <p:sp>
        <p:nvSpPr>
          <p:cNvPr id="32" name="Textplatzhalter 2"/>
          <p:cNvSpPr>
            <a:spLocks noGrp="1"/>
          </p:cNvSpPr>
          <p:nvPr>
            <p:ph type="body" sz="quarter" idx="36" hasCustomPrompt="1"/>
          </p:nvPr>
        </p:nvSpPr>
        <p:spPr bwMode="auto">
          <a:xfrm>
            <a:off x="433848" y="673287"/>
            <a:ext cx="1482664" cy="1825768"/>
          </a:xfrm>
          <a:prstGeom prst="roundRect">
            <a:avLst>
              <a:gd name="adj" fmla="val 24235"/>
            </a:avLst>
          </a:prstGeom>
          <a:ln w="47625">
            <a:solidFill>
              <a:schemeClr val="accent2"/>
            </a:solidFill>
          </a:ln>
        </p:spPr>
        <p:txBody>
          <a:bodyPr wrap="square" lIns="0" tIns="0" rIns="0" bIns="0" anchor="ctr" anchorCtr="0">
            <a:noAutofit/>
          </a:bodyPr>
          <a:lstStyle>
            <a:lvl1pPr marL="0" indent="0" algn="ctr">
              <a:spcBef>
                <a:spcPts val="0"/>
              </a:spcBef>
              <a:buFont typeface="The Group TEXT" panose="00000500000000000000" pitchFamily="2" charset="0"/>
              <a:buNone/>
              <a:defRPr sz="9600" b="0">
                <a:solidFill>
                  <a:schemeClr val="accent2"/>
                </a:solidFill>
                <a:latin typeface="+mj-lt"/>
              </a:defRPr>
            </a:lvl1pPr>
            <a:lvl2pPr marL="0" indent="0">
              <a:buFont typeface="The Group TEXT" panose="00000500000000000000" pitchFamily="2"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endParaRPr lang="en-US" noProof="0"/>
          </a:p>
        </p:txBody>
      </p:sp>
      <p:sp>
        <p:nvSpPr>
          <p:cNvPr id="6" name="Textplatzhalter 12"/>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0000500000000000000" pitchFamily="2" charset="0"/>
              <a:buNone/>
              <a:defRPr sz="1600" b="0">
                <a:solidFill>
                  <a:schemeClr val="tx2"/>
                </a:solidFill>
              </a:defRPr>
            </a:lvl1pPr>
            <a:lvl2pPr marL="0" indent="0">
              <a:spcBef>
                <a:spcPts val="0"/>
              </a:spcBef>
              <a:buFont typeface="The Group TEXT" panose="00000500000000000000" pitchFamily="2" charset="0"/>
              <a:buNone/>
              <a:defRPr sz="1800" b="0">
                <a:solidFill>
                  <a:schemeClr val="bg1"/>
                </a:solidFill>
              </a:defRPr>
            </a:lvl2pPr>
            <a:lvl3pPr marL="0" indent="0">
              <a:spcBef>
                <a:spcPts val="0"/>
              </a:spcBef>
              <a:buNone/>
              <a:defRPr sz="1800" b="0">
                <a:solidFill>
                  <a:schemeClr val="bg1"/>
                </a:solidFill>
              </a:defRPr>
            </a:lvl3pPr>
            <a:lvl4pPr marL="0" indent="0">
              <a:spcBef>
                <a:spcPts val="0"/>
              </a:spcBef>
              <a:buNone/>
              <a:defRPr sz="1800" b="0">
                <a:solidFill>
                  <a:schemeClr val="bg1"/>
                </a:solidFill>
              </a:defRPr>
            </a:lvl4pPr>
            <a:lvl5pPr marL="0" indent="0">
              <a:spcBef>
                <a:spcPts val="0"/>
              </a:spcBef>
              <a:buNone/>
              <a:defRPr sz="1800" b="0">
                <a:solidFill>
                  <a:schemeClr val="bg1"/>
                </a:solidFill>
              </a:defRPr>
            </a:lvl5pPr>
          </a:lstStyle>
          <a:p>
            <a:pPr lvl="0"/>
            <a:r>
              <a:rPr lang="en-US" noProof="0" dirty="0" err="1"/>
              <a:t>Subheader</a:t>
            </a:r>
            <a:r>
              <a:rPr lang="en-US" noProof="0" dirty="0"/>
              <a:t> in The Group Text Regular 16pt</a:t>
            </a:r>
            <a:endParaRPr lang="en-US" noProof="0" dirty="0"/>
          </a:p>
        </p:txBody>
      </p:sp>
      <p:sp>
        <p:nvSpPr>
          <p:cNvPr id="8" name="Textplatzhalter 2"/>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0000500000000000000" pitchFamily="2" charset="0"/>
              <a:buNone/>
              <a:defRPr sz="4400" b="0">
                <a:solidFill>
                  <a:schemeClr val="tx2"/>
                </a:solidFill>
                <a:latin typeface="+mj-lt"/>
              </a:defRPr>
            </a:lvl1pPr>
            <a:lvl2pPr marL="0" indent="0">
              <a:spcBef>
                <a:spcPts val="0"/>
              </a:spcBef>
              <a:buFont typeface="The Group TEXT" panose="00000500000000000000" pitchFamily="2"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Deep Space Blue</a:t>
            </a:r>
            <a:endParaRPr lang="en-US" noProof="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 Title, text and image (1/2)">
    <p:spTree>
      <p:nvGrpSpPr>
        <p:cNvPr id="1" name=""/>
        <p:cNvGrpSpPr/>
        <p:nvPr/>
      </p:nvGrpSpPr>
      <p:grpSpPr>
        <a:xfrm>
          <a:off x="0" y="0"/>
          <a:ext cx="0" cy="0"/>
          <a:chOff x="0" y="0"/>
          <a:chExt cx="0" cy="0"/>
        </a:xfrm>
      </p:grpSpPr>
      <p:sp>
        <p:nvSpPr>
          <p:cNvPr id="6" name="Content Placeholder 5"/>
          <p:cNvSpPr>
            <a:spLocks noGrp="1"/>
          </p:cNvSpPr>
          <p:nvPr>
            <p:ph sz="quarter" idx="15" hasCustomPrompt="1"/>
          </p:nvPr>
        </p:nvSpPr>
        <p:spPr bwMode="auto">
          <a:xfrm>
            <a:off x="406800" y="1844675"/>
            <a:ext cx="5401862" cy="3222312"/>
          </a:xfrm>
        </p:spPr>
        <p:txBody>
          <a:bodyPr/>
          <a:lstStyle/>
          <a:p>
            <a:pPr lvl="0"/>
            <a:r>
              <a:rPr lang="en-US"/>
              <a:t>Click to add content (optional)</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ar-AE"/>
          </a:p>
        </p:txBody>
      </p:sp>
      <p:sp>
        <p:nvSpPr>
          <p:cNvPr id="8" name="Bildplatzhalter 7"/>
          <p:cNvSpPr>
            <a:spLocks noGrp="1"/>
          </p:cNvSpPr>
          <p:nvPr>
            <p:ph type="pic" sz="quarter" idx="13" hasCustomPrompt="1"/>
          </p:nvPr>
        </p:nvSpPr>
        <p:spPr bwMode="auto">
          <a:xfrm>
            <a:off x="6096000" y="0"/>
            <a:ext cx="6096000" cy="6858000"/>
          </a:xfrm>
          <a:solidFill>
            <a:srgbClr val="D9DFE0"/>
          </a:solidFill>
        </p:spPr>
        <p:txBody>
          <a:bodyPr lIns="0" bIns="936000" anchor="ctr"/>
          <a:lstStyle>
            <a:lvl1pPr algn="ctr">
              <a:spcBef>
                <a:spcPts val="0"/>
              </a:spcBef>
              <a:defRPr b="0">
                <a:solidFill>
                  <a:srgbClr val="002733"/>
                </a:solidFill>
              </a:defRPr>
            </a:lvl1pPr>
          </a:lstStyle>
          <a:p>
            <a:r>
              <a:rPr lang="en-US" noProof="0"/>
              <a:t>Add image by clicking on icon, then ‘Send to Back’</a:t>
            </a:r>
            <a:endParaRPr lang="en-US" noProof="0"/>
          </a:p>
        </p:txBody>
      </p:sp>
      <p:sp>
        <p:nvSpPr>
          <p:cNvPr id="3" name="Datumsplatzhalter 2"/>
          <p:cNvSpPr>
            <a:spLocks noGrp="1"/>
          </p:cNvSpPr>
          <p:nvPr>
            <p:ph type="dt" sz="half" idx="10"/>
          </p:nvPr>
        </p:nvSpPr>
        <p:spPr bwMode="auto"/>
        <p:txBody>
          <a:bodyPr/>
          <a:lstStyle/>
          <a:p>
            <a:fld id="{29E4719F-1FFD-4D60-A79D-204631D5CE2C}"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10" name="Textplatzhalter 6"/>
          <p:cNvSpPr>
            <a:spLocks noGrp="1"/>
          </p:cNvSpPr>
          <p:nvPr>
            <p:ph type="body" sz="quarter" idx="14" hasCustomPrompt="1"/>
          </p:nvPr>
        </p:nvSpPr>
        <p:spPr bwMode="auto">
          <a:xfrm>
            <a:off x="406800" y="5278506"/>
            <a:ext cx="5401863" cy="1174681"/>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p:txBody>
      </p:sp>
      <p:sp>
        <p:nvSpPr>
          <p:cNvPr id="2" name="Textplatzhalter 8"/>
          <p:cNvSpPr>
            <a:spLocks noGrp="1"/>
          </p:cNvSpPr>
          <p:nvPr>
            <p:ph type="body" sz="quarter" idx="16" hasCustomPrompt="1"/>
          </p:nvPr>
        </p:nvSpPr>
        <p:spPr bwMode="auto">
          <a:xfrm>
            <a:off x="406401" y="1056085"/>
            <a:ext cx="5402920"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18pt, Vivid Green</a:t>
            </a:r>
            <a:endParaRPr lang="en-US" noProof="0"/>
          </a:p>
        </p:txBody>
      </p:sp>
      <p:sp>
        <p:nvSpPr>
          <p:cNvPr id="9" name="Title 6"/>
          <p:cNvSpPr>
            <a:spLocks noGrp="1"/>
          </p:cNvSpPr>
          <p:nvPr>
            <p:ph type="title" hasCustomPrompt="1"/>
          </p:nvPr>
        </p:nvSpPr>
        <p:spPr bwMode="auto">
          <a:xfrm>
            <a:off x="407988" y="644520"/>
            <a:ext cx="5400675" cy="387798"/>
          </a:xfrm>
        </p:spPr>
        <p:txBody>
          <a:bodyPr anchor="t"/>
          <a:lstStyle>
            <a:lvl1pPr>
              <a:defRPr>
                <a:solidFill>
                  <a:schemeClr val="tx2"/>
                </a:solidFill>
              </a:defRPr>
            </a:lvl1pPr>
          </a:lstStyle>
          <a:p>
            <a:r>
              <a:rPr lang="en-US"/>
              <a:t>Headline in Deep Space Blue</a:t>
            </a:r>
            <a:endParaRPr lang="en-IN"/>
          </a:p>
        </p:txBody>
      </p:sp>
      <p:pic>
        <p:nvPicPr>
          <p:cNvPr id="11" name="Picture 10"/>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10105573" y="0"/>
            <a:ext cx="1678435" cy="651196"/>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 Title, text and image (1/3)">
    <p:spTree>
      <p:nvGrpSpPr>
        <p:cNvPr id="1" name=""/>
        <p:cNvGrpSpPr/>
        <p:nvPr/>
      </p:nvGrpSpPr>
      <p:grpSpPr>
        <a:xfrm>
          <a:off x="0" y="0"/>
          <a:ext cx="0" cy="0"/>
          <a:chOff x="0" y="0"/>
          <a:chExt cx="0" cy="0"/>
        </a:xfrm>
      </p:grpSpPr>
      <p:sp>
        <p:nvSpPr>
          <p:cNvPr id="2" name="Bildplatzhalter 7"/>
          <p:cNvSpPr>
            <a:spLocks noGrp="1"/>
          </p:cNvSpPr>
          <p:nvPr>
            <p:ph type="pic" sz="quarter" idx="17" hasCustomPrompt="1"/>
          </p:nvPr>
        </p:nvSpPr>
        <p:spPr bwMode="auto">
          <a:xfrm>
            <a:off x="8128000" y="0"/>
            <a:ext cx="4064000" cy="6858000"/>
          </a:xfrm>
          <a:solidFill>
            <a:srgbClr val="D9DFE0"/>
          </a:solidFill>
        </p:spPr>
        <p:txBody>
          <a:bodyPr lIns="360000" rIns="360000" bIns="1080000" anchor="ctr"/>
          <a:lstStyle>
            <a:lvl1pPr algn="ctr">
              <a:spcBef>
                <a:spcPts val="0"/>
              </a:spcBef>
              <a:defRPr b="0">
                <a:solidFill>
                  <a:srgbClr val="002733"/>
                </a:solidFill>
              </a:defRPr>
            </a:lvl1pPr>
          </a:lstStyle>
          <a:p>
            <a:r>
              <a:rPr lang="en-US" noProof="0"/>
              <a:t>Add image by clicking on icon, then ‘Send to Back’</a:t>
            </a:r>
            <a:endParaRPr lang="en-US" noProof="0"/>
          </a:p>
        </p:txBody>
      </p:sp>
      <p:sp>
        <p:nvSpPr>
          <p:cNvPr id="3" name="Datumsplatzhalter 2"/>
          <p:cNvSpPr>
            <a:spLocks noGrp="1"/>
          </p:cNvSpPr>
          <p:nvPr>
            <p:ph type="dt" sz="half" idx="10"/>
          </p:nvPr>
        </p:nvSpPr>
        <p:spPr bwMode="auto"/>
        <p:txBody>
          <a:bodyPr/>
          <a:lstStyle/>
          <a:p>
            <a:fld id="{FC787ACF-95B9-4505-A408-7E8E273D0D0B}"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7" name="Textplatzhalter 6"/>
          <p:cNvSpPr>
            <a:spLocks noGrp="1"/>
          </p:cNvSpPr>
          <p:nvPr>
            <p:ph type="body" sz="quarter" idx="13" hasCustomPrompt="1"/>
          </p:nvPr>
        </p:nvSpPr>
        <p:spPr bwMode="auto">
          <a:xfrm>
            <a:off x="406799"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p:txBody>
      </p:sp>
      <p:sp>
        <p:nvSpPr>
          <p:cNvPr id="26" name="Textplatzhalter 6"/>
          <p:cNvSpPr>
            <a:spLocks noGrp="1"/>
          </p:cNvSpPr>
          <p:nvPr>
            <p:ph type="body" sz="quarter" idx="16" hasCustomPrompt="1"/>
          </p:nvPr>
        </p:nvSpPr>
        <p:spPr bwMode="auto">
          <a:xfrm>
            <a:off x="4283611"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p:txBody>
      </p:sp>
      <p:sp>
        <p:nvSpPr>
          <p:cNvPr id="6" name="Textplatzhalter 8"/>
          <p:cNvSpPr>
            <a:spLocks noGrp="1"/>
          </p:cNvSpPr>
          <p:nvPr>
            <p:ph type="body" sz="quarter" idx="14" hasCustomPrompt="1"/>
          </p:nvPr>
        </p:nvSpPr>
        <p:spPr bwMode="auto">
          <a:xfrm>
            <a:off x="406401" y="1056085"/>
            <a:ext cx="7454824"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9" name="Title 6"/>
          <p:cNvSpPr>
            <a:spLocks noGrp="1"/>
          </p:cNvSpPr>
          <p:nvPr>
            <p:ph type="title" hasCustomPrompt="1"/>
          </p:nvPr>
        </p:nvSpPr>
        <p:spPr bwMode="auto">
          <a:xfrm>
            <a:off x="407988" y="644520"/>
            <a:ext cx="7451726" cy="387798"/>
          </a:xfrm>
        </p:spPr>
        <p:txBody>
          <a:bodyPr anchor="t"/>
          <a:lstStyle>
            <a:lvl1pPr>
              <a:defRPr>
                <a:solidFill>
                  <a:schemeClr val="tx2"/>
                </a:solidFill>
              </a:defRPr>
            </a:lvl1pPr>
          </a:lstStyle>
          <a:p>
            <a:r>
              <a:rPr lang="en-US" dirty="0"/>
              <a:t>Headline in The Group Head Light 28pt</a:t>
            </a:r>
            <a:endParaRPr lang="en-IN" dirty="0"/>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10105573" y="0"/>
            <a:ext cx="1678435" cy="651196"/>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 Quote with image">
    <p:bg>
      <p:bgPr>
        <a:solidFill>
          <a:schemeClr val="accent1"/>
        </a:solidFill>
        <a:effectLst/>
      </p:bgPr>
    </p:bg>
    <p:spTree>
      <p:nvGrpSpPr>
        <p:cNvPr id="1" name=""/>
        <p:cNvGrpSpPr/>
        <p:nvPr/>
      </p:nvGrpSpPr>
      <p:grpSpPr>
        <a:xfrm>
          <a:off x="0" y="0"/>
          <a:ext cx="0" cy="0"/>
          <a:chOff x="0" y="0"/>
          <a:chExt cx="0" cy="0"/>
        </a:xfrm>
      </p:grpSpPr>
      <p:sp>
        <p:nvSpPr>
          <p:cNvPr id="2" name="Bildplatzhalter 7"/>
          <p:cNvSpPr>
            <a:spLocks noGrp="1"/>
          </p:cNvSpPr>
          <p:nvPr>
            <p:ph type="pic" sz="quarter" idx="13" hasCustomPrompt="1"/>
          </p:nvPr>
        </p:nvSpPr>
        <p:spPr bwMode="auto">
          <a:xfrm>
            <a:off x="0" y="-15640"/>
            <a:ext cx="12192000" cy="6873640"/>
          </a:xfrm>
          <a:noFill/>
        </p:spPr>
        <p:txBody>
          <a:bodyPr lIns="432000"/>
          <a:lstStyle>
            <a:lvl1pPr>
              <a:spcBef>
                <a:spcPts val="0"/>
              </a:spcBef>
              <a:defRPr b="0">
                <a:solidFill>
                  <a:schemeClr val="tx1"/>
                </a:solidFill>
              </a:defRPr>
            </a:lvl1pPr>
          </a:lstStyle>
          <a:p>
            <a:r>
              <a:rPr lang="en-US" noProof="0"/>
              <a:t>Please select an image by clicking on the “Insert” tab and choosing the “Pictures” command.</a:t>
            </a:r>
            <a:endParaRPr lang="en-US" noProof="0"/>
          </a:p>
        </p:txBody>
      </p:sp>
      <p:sp>
        <p:nvSpPr>
          <p:cNvPr id="3" name="Datumsplatzhalter 2"/>
          <p:cNvSpPr>
            <a:spLocks noGrp="1"/>
          </p:cNvSpPr>
          <p:nvPr>
            <p:ph type="dt" sz="half" idx="10"/>
          </p:nvPr>
        </p:nvSpPr>
        <p:spPr bwMode="auto"/>
        <p:txBody>
          <a:bodyPr/>
          <a:lstStyle/>
          <a:p>
            <a:fld id="{FE754607-E8A7-449C-9791-D6576B96A999}"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8" name="Textplatzhalter 2"/>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0000500000000000000" pitchFamily="2" charset="0"/>
              <a:buNone/>
              <a:defRPr sz="4400" b="0">
                <a:solidFill>
                  <a:schemeClr val="tx1"/>
                </a:solidFill>
                <a:latin typeface="+mj-lt"/>
              </a:defRPr>
            </a:lvl1pPr>
            <a:lvl2pPr marL="0" indent="0">
              <a:lnSpc>
                <a:spcPct val="90000"/>
              </a:lnSpc>
              <a:spcBef>
                <a:spcPts val="0"/>
              </a:spcBef>
              <a:buFont typeface="The Group TEXT" panose="00000500000000000000" pitchFamily="2"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endParaRPr lang="en-US" noProof="0"/>
          </a:p>
        </p:txBody>
      </p:sp>
      <p:sp>
        <p:nvSpPr>
          <p:cNvPr id="9" name="Textplatzhalter 2"/>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0000500000000000000" pitchFamily="2" charset="0"/>
              <a:buNone/>
              <a:defRPr sz="1600" b="0">
                <a:solidFill>
                  <a:srgbClr val="C2FE06"/>
                </a:solidFill>
              </a:defRPr>
            </a:lvl1pPr>
            <a:lvl2pPr marL="0" indent="0" algn="ctr">
              <a:buFont typeface="The Group TEXT" panose="00000500000000000000" pitchFamily="2"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endParaRPr lang="en-GB"/>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  Quote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lvl1pPr>
              <a:defRPr>
                <a:solidFill>
                  <a:schemeClr val="accent4"/>
                </a:solidFill>
              </a:defRPr>
            </a:lvl1pPr>
          </a:lstStyle>
          <a:p>
            <a:fld id="{B8DCEB3D-65EC-44BE-85B6-0BACA50FDC8E}" type="datetime1">
              <a:rPr lang="zh-CN" altLang="en-US" smtClean="0"/>
            </a:fld>
            <a:endParaRPr lang="en-US"/>
          </a:p>
        </p:txBody>
      </p:sp>
      <p:sp>
        <p:nvSpPr>
          <p:cNvPr id="4" name="Fußzeilenplatzhalter 3"/>
          <p:cNvSpPr>
            <a:spLocks noGrp="1"/>
          </p:cNvSpPr>
          <p:nvPr>
            <p:ph type="ftr" sz="quarter" idx="11"/>
          </p:nvPr>
        </p:nvSpPr>
        <p:spPr bwMode="auto"/>
        <p:txBody>
          <a:bodyPr/>
          <a:lstStyle>
            <a:lvl1pPr>
              <a:defRPr>
                <a:solidFill>
                  <a:schemeClr val="accent4"/>
                </a:solidFill>
              </a:defRPr>
            </a:lvl1pPr>
          </a:lstStyle>
          <a:p>
            <a:r>
              <a:rPr lang="en-US" smtClean="0"/>
              <a:t>Department VWA-DT  |  Hackathon Challenge Release  |  CSD-class</a:t>
            </a:r>
            <a:endParaRPr lang="en-US"/>
          </a:p>
        </p:txBody>
      </p:sp>
      <p:sp>
        <p:nvSpPr>
          <p:cNvPr id="5" name="Foliennummernplatzhalter 4"/>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fld>
            <a:endParaRPr lang="en-US"/>
          </a:p>
        </p:txBody>
      </p:sp>
      <p:sp>
        <p:nvSpPr>
          <p:cNvPr id="6" name="Textplatzhalter 2"/>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0000500000000000000" pitchFamily="2" charset="0"/>
              <a:buNone/>
              <a:defRPr sz="4400" b="0">
                <a:solidFill>
                  <a:schemeClr val="tx1"/>
                </a:solidFill>
                <a:latin typeface="+mj-lt"/>
              </a:defRPr>
            </a:lvl1pPr>
            <a:lvl2pPr marL="0" indent="0">
              <a:lnSpc>
                <a:spcPct val="90000"/>
              </a:lnSpc>
              <a:spcBef>
                <a:spcPts val="0"/>
              </a:spcBef>
              <a:buFont typeface="The Group TEXT" panose="00000500000000000000" pitchFamily="2"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endParaRPr lang="en-US" noProof="0"/>
          </a:p>
        </p:txBody>
      </p:sp>
      <p:sp>
        <p:nvSpPr>
          <p:cNvPr id="7" name="Textplatzhalter 2"/>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0000500000000000000" pitchFamily="2" charset="0"/>
              <a:buNone/>
              <a:defRPr sz="1600" b="0">
                <a:solidFill>
                  <a:srgbClr val="C2FE06"/>
                </a:solidFill>
              </a:defRPr>
            </a:lvl1pPr>
            <a:lvl2pPr marL="0" indent="0" algn="ctr">
              <a:buFont typeface="The Group TEXT" panose="00000500000000000000" pitchFamily="2"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endParaRPr lang="en-GB"/>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Intro slide White">
    <p:bg bwMode="auto">
      <p:bgRef idx="1001">
        <a:schemeClr val="bg1"/>
      </p:bgRef>
    </p:bg>
    <p:spTree>
      <p:nvGrpSpPr>
        <p:cNvPr id="1" name=""/>
        <p:cNvGrpSpPr/>
        <p:nvPr/>
      </p:nvGrpSpPr>
      <p:grpSpPr>
        <a:xfrm>
          <a:off x="0" y="0"/>
          <a:ext cx="0" cy="0"/>
          <a:chOff x="0" y="0"/>
          <a:chExt cx="0" cy="0"/>
        </a:xfrm>
      </p:grpSpPr>
      <p:grpSp>
        <p:nvGrpSpPr>
          <p:cNvPr id="9" name="Group 8"/>
          <p:cNvGrpSpPr/>
          <p:nvPr userDrawn="1"/>
        </p:nvGrpSpPr>
        <p:grpSpPr>
          <a:xfrm>
            <a:off x="2155100" y="3164986"/>
            <a:ext cx="7920000" cy="540000"/>
            <a:chOff x="2155100" y="3164986"/>
            <a:chExt cx="7920000" cy="540000"/>
          </a:xfrm>
        </p:grpSpPr>
        <p:sp>
          <p:nvSpPr>
            <p:cNvPr id="8" name="Rectangle 7"/>
            <p:cNvSpPr/>
            <p:nvPr userDrawn="1"/>
          </p:nvSpPr>
          <p:spPr>
            <a:xfrm>
              <a:off x="2155100" y="3164986"/>
              <a:ext cx="792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Font typeface="The Group TEXT" panose="00000500000000000000" pitchFamily="2" charset="0"/>
                <a:buChar char="•"/>
              </a:pPr>
              <a:endParaRPr lang="en-GB" sz="1600">
                <a:solidFill>
                  <a:schemeClr val="accent2"/>
                </a:solidFill>
              </a:endParaRPr>
            </a:p>
          </p:txBody>
        </p:sp>
        <p:pic>
          <p:nvPicPr>
            <p:cNvPr id="2" name="Picture 7"/>
            <p:cNvPicPr>
              <a:picLocks noChangeAspect="1"/>
            </p:cNvPicPr>
            <p:nvPr userDrawn="1"/>
          </p:nvPicPr>
          <p:blipFill>
            <a:blip r:embed="rId2" cstate="email"/>
            <a:stretch>
              <a:fillRect/>
            </a:stretch>
          </p:blipFill>
          <p:spPr>
            <a:xfrm>
              <a:off x="2209800" y="3218497"/>
              <a:ext cx="7772400" cy="421005"/>
            </a:xfrm>
            <a:prstGeom prst="rect">
              <a:avLst/>
            </a:prstGeom>
          </p:spPr>
        </p:pic>
      </p:gr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Quote White">
    <p:bg>
      <p:bgPr>
        <a:solidFill>
          <a:schemeClr val="bg1"/>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EFDA5B37-1C58-4B88-B016-A55014DBBEA0}"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2" name="Textplatzhalter 2"/>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0000500000000000000" pitchFamily="2" charset="0"/>
              <a:buNone/>
              <a:defRPr sz="4400" b="0">
                <a:solidFill>
                  <a:schemeClr val="tx2"/>
                </a:solidFill>
                <a:latin typeface="+mj-lt"/>
              </a:defRPr>
            </a:lvl1pPr>
            <a:lvl2pPr marL="0" indent="0">
              <a:lnSpc>
                <a:spcPct val="90000"/>
              </a:lnSpc>
              <a:spcBef>
                <a:spcPts val="0"/>
              </a:spcBef>
              <a:buFont typeface="The Group TEXT" panose="00000500000000000000" pitchFamily="2"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endParaRPr lang="en-US" noProof="0"/>
          </a:p>
        </p:txBody>
      </p:sp>
      <p:sp>
        <p:nvSpPr>
          <p:cNvPr id="6" name="Textplatzhalter 2"/>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0000500000000000000" pitchFamily="2" charset="0"/>
              <a:buNone/>
              <a:defRPr sz="1600" b="0">
                <a:solidFill>
                  <a:schemeClr val="accent2"/>
                </a:solidFill>
              </a:defRPr>
            </a:lvl1pPr>
            <a:lvl2pPr marL="0" indent="0" algn="ctr">
              <a:buFont typeface="The Group TEXT" panose="00000500000000000000" pitchFamily="2"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Vivid Green</a:t>
            </a:r>
            <a:endParaRPr lang="en-GB"/>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Title, action title and text Deep Space Blue">
    <p:bg bwMode="blackWhite">
      <p:bgPr>
        <a:solidFill>
          <a:schemeClr val="accent1"/>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E8C074EC-7777-4DBE-A313-2E8F00871A73}"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6" name="Content Placeholder 5"/>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IN"/>
          </a:p>
        </p:txBody>
      </p:sp>
      <p:sp>
        <p:nvSpPr>
          <p:cNvPr id="7" name="Title 6"/>
          <p:cNvSpPr>
            <a:spLocks noGrp="1"/>
          </p:cNvSpPr>
          <p:nvPr>
            <p:ph type="title" hasCustomPrompt="1"/>
          </p:nvPr>
        </p:nvSpPr>
        <p:spPr bwMode="auto"/>
        <p:txBody>
          <a:bodyPr anchor="t"/>
          <a:lstStyle>
            <a:lvl1pPr>
              <a:defRPr>
                <a:solidFill>
                  <a:schemeClr val="tx1"/>
                </a:solidFill>
              </a:defRPr>
            </a:lvl1pPr>
          </a:lstStyle>
          <a:p>
            <a:r>
              <a:rPr lang="en-US"/>
              <a:t>Headline in The Group Head Light 28pt, White</a:t>
            </a:r>
            <a:endParaRPr lang="en-IN"/>
          </a:p>
        </p:txBody>
      </p:sp>
      <p:sp>
        <p:nvSpPr>
          <p:cNvPr id="2" name="Textplatzhalter 8"/>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endParaRPr lang="en-US" noProof="0"/>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 Title, action title and text White">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3C1966F2-1C5B-4285-A06B-B62FBEB5C51E}"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9"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6" name="Content Placeholder 5"/>
          <p:cNvSpPr>
            <a:spLocks noGrp="1"/>
          </p:cNvSpPr>
          <p:nvPr>
            <p:ph sz="quarter" idx="15"/>
          </p:nvPr>
        </p:nvSpPr>
        <p:spPr bwMode="auto">
          <a:xfrm>
            <a:off x="407988" y="1844675"/>
            <a:ext cx="11376020" cy="4608513"/>
          </a:xfrm>
        </p:spPr>
        <p:txBody>
          <a:bodyPr/>
          <a:lstStyle>
            <a:lvl1pPr>
              <a:defRPr sz="1400"/>
            </a:lvl1pPr>
            <a:lvl2pPr>
              <a:defRPr sz="1400"/>
            </a:lvl2pPr>
            <a:lvl3pPr>
              <a:defRPr sz="1400"/>
            </a:lvl3pPr>
            <a:lvl4pPr>
              <a:defRPr sz="1400"/>
            </a:lvl4pPr>
            <a:lvl5pPr>
              <a:defRPr sz="1400"/>
            </a:lvl5pPr>
          </a:lstStyle>
          <a:p>
            <a:pPr lvl="0"/>
            <a:r>
              <a:rPr lang="en-US" smtClean="0"/>
              <a:t>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IN"/>
          </a:p>
        </p:txBody>
      </p:sp>
      <p:sp>
        <p:nvSpPr>
          <p:cNvPr id="7" name="Title 6"/>
          <p:cNvSpPr>
            <a:spLocks noGrp="1"/>
          </p:cNvSpPr>
          <p:nvPr>
            <p:ph type="title" hasCustomPrompt="1"/>
          </p:nvPr>
        </p:nvSpPr>
        <p:spPr bwMode="auto"/>
        <p:txBody>
          <a:bodyPr anchor="t"/>
          <a:lstStyle/>
          <a:p>
            <a:r>
              <a:rPr lang="en-US"/>
              <a:t>Headline in The Group Head Light 28pt, Deep Space Blue</a:t>
            </a:r>
            <a:endParaRPr lang="en-IN"/>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 Title, action title and text Gradient Vivid Green">
    <p:bg bwMode="ltGray">
      <p:bgPr>
        <a:solidFill>
          <a:srgbClr val="008C82"/>
        </a:solidFill>
        <a:effectLst/>
      </p:bgPr>
    </p:bg>
    <p:spTree>
      <p:nvGrpSpPr>
        <p:cNvPr id="1" name=""/>
        <p:cNvGrpSpPr/>
        <p:nvPr/>
      </p:nvGrpSpPr>
      <p:grpSpPr>
        <a:xfrm>
          <a:off x="0" y="0"/>
          <a:ext cx="0" cy="0"/>
          <a:chOff x="0" y="0"/>
          <a:chExt cx="0" cy="0"/>
        </a:xfrm>
      </p:grpSpPr>
      <p:grpSp>
        <p:nvGrpSpPr>
          <p:cNvPr id="8" name="Graphic 6"/>
          <p:cNvGrpSpPr/>
          <p:nvPr userDrawn="1"/>
        </p:nvGrpSpPr>
        <p:grpSpPr bwMode="ltGray">
          <a:xfrm rot="10800000">
            <a:off x="0" y="0"/>
            <a:ext cx="12192000" cy="6858000"/>
            <a:chOff x="0" y="0"/>
            <a:chExt cx="12192000" cy="6857999"/>
          </a:xfrm>
        </p:grpSpPr>
        <p:sp>
          <p:nvSpPr>
            <p:cNvPr id="9" name="Freeform 8"/>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0" name="Freeform 9"/>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3" name="Freeform 12"/>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4" name="Freeform 13"/>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sp>
        <p:nvSpPr>
          <p:cNvPr id="3" name="Datumsplatzhalter 2"/>
          <p:cNvSpPr>
            <a:spLocks noGrp="1"/>
          </p:cNvSpPr>
          <p:nvPr>
            <p:ph type="dt" sz="half" idx="10"/>
          </p:nvPr>
        </p:nvSpPr>
        <p:spPr bwMode="auto"/>
        <p:txBody>
          <a:bodyPr/>
          <a:lstStyle/>
          <a:p>
            <a:fld id="{3B796CBF-6AC2-439B-9CE3-579B0BEA352E}"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6" name="Content Placeholder 5"/>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IN"/>
          </a:p>
        </p:txBody>
      </p:sp>
      <p:sp>
        <p:nvSpPr>
          <p:cNvPr id="7" name="Title 6"/>
          <p:cNvSpPr>
            <a:spLocks noGrp="1"/>
          </p:cNvSpPr>
          <p:nvPr>
            <p:ph type="title" hasCustomPrompt="1"/>
          </p:nvPr>
        </p:nvSpPr>
        <p:spPr bwMode="auto"/>
        <p:txBody>
          <a:bodyPr/>
          <a:lstStyle>
            <a:lvl1pPr>
              <a:defRPr>
                <a:solidFill>
                  <a:schemeClr val="tx1"/>
                </a:solidFill>
              </a:defRPr>
            </a:lvl1pPr>
          </a:lstStyle>
          <a:p>
            <a:r>
              <a:rPr lang="en-US" dirty="0"/>
              <a:t>Headline in The Group Head Light 28pt, White</a:t>
            </a:r>
            <a:endParaRPr lang="en-IN" dirty="0"/>
          </a:p>
        </p:txBody>
      </p:sp>
      <p:sp>
        <p:nvSpPr>
          <p:cNvPr id="2" name="Textplatzhalter 8"/>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endParaRPr lang="en-US" noProof="0"/>
          </a:p>
        </p:txBody>
      </p:sp>
      <p:pic>
        <p:nvPicPr>
          <p:cNvPr id="15" name="Picture 14"/>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10105573" y="1"/>
            <a:ext cx="1678435" cy="651196"/>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hree content boxes, Vivid Green">
    <p:bg bwMode="gray">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511BC2FD-ADCE-423F-88C2-E772B9540E45}"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13" name="Textplatzhalter 12"/>
          <p:cNvSpPr>
            <a:spLocks noGrp="1"/>
          </p:cNvSpPr>
          <p:nvPr>
            <p:ph type="body" sz="quarter" idx="36" hasCustomPrompt="1"/>
          </p:nvPr>
        </p:nvSpPr>
        <p:spPr bwMode="auto">
          <a:xfrm>
            <a:off x="406398" y="2226086"/>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79705"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a:t>
            </a:r>
            <a:r>
              <a:rPr lang="de-DE" err="1"/>
              <a:t>to</a:t>
            </a:r>
            <a:r>
              <a:rPr lang="de-DE"/>
              <a:t> </a:t>
            </a:r>
            <a:r>
              <a:rPr lang="de-DE" err="1"/>
              <a:t>edit</a:t>
            </a:r>
            <a:r>
              <a:rPr lang="de-DE"/>
              <a:t> </a:t>
            </a:r>
            <a:r>
              <a:rPr lang="de-DE" err="1"/>
              <a:t>text</a:t>
            </a:r>
            <a:r>
              <a:rPr lang="de-DE"/>
              <a:t> </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p:txBody>
      </p:sp>
      <p:sp>
        <p:nvSpPr>
          <p:cNvPr id="14" name="Textplatzhalter 12"/>
          <p:cNvSpPr>
            <a:spLocks noGrp="1"/>
          </p:cNvSpPr>
          <p:nvPr>
            <p:ph type="body" sz="quarter" idx="37" hasCustomPrompt="1"/>
          </p:nvPr>
        </p:nvSpPr>
        <p:spPr bwMode="auto">
          <a:xfrm>
            <a:off x="4295997" y="2226085"/>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79705"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endParaRPr lang="de-DE"/>
          </a:p>
          <a:p>
            <a:pPr lvl="1"/>
            <a:r>
              <a:rPr lang="de-DE"/>
              <a:t>Second level</a:t>
            </a:r>
            <a:endParaRPr lang="de-DE"/>
          </a:p>
          <a:p>
            <a:pPr lvl="2"/>
            <a:r>
              <a:rPr lang="de-DE"/>
              <a:t>Third level</a:t>
            </a:r>
            <a:endParaRPr lang="de-DE"/>
          </a:p>
          <a:p>
            <a:pPr lvl="3"/>
            <a:r>
              <a:rPr lang="de-DE"/>
              <a:t>Fourth level</a:t>
            </a:r>
            <a:endParaRPr lang="de-DE"/>
          </a:p>
        </p:txBody>
      </p:sp>
      <p:sp>
        <p:nvSpPr>
          <p:cNvPr id="15" name="Textplatzhalter 12"/>
          <p:cNvSpPr>
            <a:spLocks noGrp="1"/>
          </p:cNvSpPr>
          <p:nvPr>
            <p:ph type="body" sz="quarter" idx="38" hasCustomPrompt="1"/>
          </p:nvPr>
        </p:nvSpPr>
        <p:spPr bwMode="auto">
          <a:xfrm>
            <a:off x="8184632" y="2226086"/>
            <a:ext cx="3600000" cy="3076575"/>
          </a:xfrm>
          <a:prstGeom prst="rect">
            <a:avLst/>
          </a:prstGeom>
          <a:solidFill>
            <a:srgbClr val="E5F3F2"/>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79705"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endParaRPr lang="de-DE"/>
          </a:p>
          <a:p>
            <a:pPr lvl="1"/>
            <a:r>
              <a:rPr lang="de-DE"/>
              <a:t>Second level</a:t>
            </a:r>
            <a:endParaRPr lang="de-DE"/>
          </a:p>
          <a:p>
            <a:pPr lvl="2"/>
            <a:r>
              <a:rPr lang="de-DE"/>
              <a:t>Third level</a:t>
            </a:r>
            <a:endParaRPr lang="de-DE"/>
          </a:p>
          <a:p>
            <a:pPr lvl="3"/>
            <a:r>
              <a:rPr lang="de-DE"/>
              <a:t>Fourth level</a:t>
            </a:r>
            <a:endParaRPr lang="de-DE"/>
          </a:p>
        </p:txBody>
      </p:sp>
      <p:sp>
        <p:nvSpPr>
          <p:cNvPr id="2"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7" name="Title 6"/>
          <p:cNvSpPr>
            <a:spLocks noGrp="1"/>
          </p:cNvSpPr>
          <p:nvPr>
            <p:ph type="title" hasCustomPrompt="1"/>
          </p:nvPr>
        </p:nvSpPr>
        <p:spPr bwMode="auto">
          <a:xfrm>
            <a:off x="407987" y="644520"/>
            <a:ext cx="11376021" cy="387798"/>
          </a:xfrm>
        </p:spPr>
        <p:txBody>
          <a:bodyPr anchor="t"/>
          <a:lstStyle/>
          <a:p>
            <a:r>
              <a:rPr lang="en-US"/>
              <a:t>Headline in The Group Head Light 28pt, Deep Space Blue</a:t>
            </a:r>
            <a:endParaRPr lang="en-IN"/>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hree content boxes, Deep Space Blue">
    <p:bg bwMode="gray">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CA56C323-DDC6-4DE5-9DAD-141EA9EFD344}"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13" name="Textplatzhalter 12"/>
          <p:cNvSpPr>
            <a:spLocks noGrp="1"/>
          </p:cNvSpPr>
          <p:nvPr>
            <p:ph type="body" sz="quarter" idx="36" hasCustomPrompt="1"/>
          </p:nvPr>
        </p:nvSpPr>
        <p:spPr bwMode="auto">
          <a:xfrm>
            <a:off x="406398" y="2226086"/>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79705"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endParaRPr lang="de-DE"/>
          </a:p>
          <a:p>
            <a:pPr lvl="1"/>
            <a:r>
              <a:rPr lang="de-DE"/>
              <a:t>Second level</a:t>
            </a:r>
            <a:endParaRPr lang="de-DE"/>
          </a:p>
          <a:p>
            <a:pPr lvl="2"/>
            <a:r>
              <a:rPr lang="de-DE"/>
              <a:t>Third level</a:t>
            </a:r>
            <a:endParaRPr lang="de-DE"/>
          </a:p>
          <a:p>
            <a:pPr lvl="3"/>
            <a:r>
              <a:rPr lang="de-DE"/>
              <a:t>Fourth level</a:t>
            </a:r>
            <a:endParaRPr lang="de-DE"/>
          </a:p>
        </p:txBody>
      </p:sp>
      <p:sp>
        <p:nvSpPr>
          <p:cNvPr id="14" name="Textplatzhalter 12"/>
          <p:cNvSpPr>
            <a:spLocks noGrp="1"/>
          </p:cNvSpPr>
          <p:nvPr>
            <p:ph type="body" sz="quarter" idx="37" hasCustomPrompt="1"/>
          </p:nvPr>
        </p:nvSpPr>
        <p:spPr bwMode="auto">
          <a:xfrm>
            <a:off x="4295997" y="2226085"/>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79705"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endParaRPr lang="de-DE"/>
          </a:p>
          <a:p>
            <a:pPr lvl="1"/>
            <a:r>
              <a:rPr lang="de-DE"/>
              <a:t>Second level</a:t>
            </a:r>
            <a:endParaRPr lang="de-DE"/>
          </a:p>
          <a:p>
            <a:pPr lvl="2"/>
            <a:r>
              <a:rPr lang="de-DE"/>
              <a:t>Third level</a:t>
            </a:r>
            <a:endParaRPr lang="de-DE"/>
          </a:p>
          <a:p>
            <a:pPr lvl="3"/>
            <a:r>
              <a:rPr lang="de-DE"/>
              <a:t>Fourth level</a:t>
            </a:r>
            <a:endParaRPr lang="de-DE"/>
          </a:p>
        </p:txBody>
      </p:sp>
      <p:sp>
        <p:nvSpPr>
          <p:cNvPr id="15" name="Textplatzhalter 12"/>
          <p:cNvSpPr>
            <a:spLocks noGrp="1"/>
          </p:cNvSpPr>
          <p:nvPr>
            <p:ph type="body" sz="quarter" idx="38" hasCustomPrompt="1"/>
          </p:nvPr>
        </p:nvSpPr>
        <p:spPr bwMode="auto">
          <a:xfrm>
            <a:off x="8184632" y="2226086"/>
            <a:ext cx="3600000" cy="3076575"/>
          </a:xfrm>
          <a:prstGeom prst="rect">
            <a:avLst/>
          </a:prstGeom>
          <a:solidFill>
            <a:srgbClr val="E5E9EB"/>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79705"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endParaRPr lang="de-DE"/>
          </a:p>
          <a:p>
            <a:pPr lvl="1"/>
            <a:r>
              <a:rPr lang="de-DE"/>
              <a:t>Second level</a:t>
            </a:r>
            <a:endParaRPr lang="de-DE"/>
          </a:p>
          <a:p>
            <a:pPr lvl="2"/>
            <a:r>
              <a:rPr lang="de-DE"/>
              <a:t>Third level</a:t>
            </a:r>
            <a:endParaRPr lang="de-DE"/>
          </a:p>
          <a:p>
            <a:pPr lvl="3"/>
            <a:r>
              <a:rPr lang="de-DE"/>
              <a:t>Fourth level</a:t>
            </a:r>
            <a:endParaRPr lang="de-DE"/>
          </a:p>
        </p:txBody>
      </p:sp>
      <p:sp>
        <p:nvSpPr>
          <p:cNvPr id="2"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7" name="Title 6"/>
          <p:cNvSpPr>
            <a:spLocks noGrp="1"/>
          </p:cNvSpPr>
          <p:nvPr>
            <p:ph type="title" hasCustomPrompt="1"/>
          </p:nvPr>
        </p:nvSpPr>
        <p:spPr bwMode="auto">
          <a:xfrm>
            <a:off x="407987" y="644520"/>
            <a:ext cx="11376021" cy="387798"/>
          </a:xfrm>
        </p:spPr>
        <p:txBody>
          <a:bodyPr anchor="t"/>
          <a:lstStyle/>
          <a:p>
            <a:r>
              <a:rPr lang="en-US"/>
              <a:t>Headline in The Group Head Light 28pt, Deep Space Blue</a:t>
            </a:r>
            <a:endParaRPr lang="en-IN"/>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 Title and Vivid Green ">
    <p:spTree>
      <p:nvGrpSpPr>
        <p:cNvPr id="1" name=""/>
        <p:cNvGrpSpPr/>
        <p:nvPr/>
      </p:nvGrpSpPr>
      <p:grpSpPr>
        <a:xfrm>
          <a:off x="0" y="0"/>
          <a:ext cx="0" cy="0"/>
          <a:chOff x="0" y="0"/>
          <a:chExt cx="0" cy="0"/>
        </a:xfrm>
      </p:grpSpPr>
      <p:sp>
        <p:nvSpPr>
          <p:cNvPr id="6" name="Rechteck 5"/>
          <p:cNvSpPr/>
          <p:nvPr userDrawn="1"/>
        </p:nvSpPr>
        <p:spPr bwMode="auto">
          <a:xfrm>
            <a:off x="4405744" y="0"/>
            <a:ext cx="7786255" cy="6858000"/>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3" name="Datumsplatzhalter 2"/>
          <p:cNvSpPr>
            <a:spLocks noGrp="1"/>
          </p:cNvSpPr>
          <p:nvPr>
            <p:ph type="dt" sz="half" idx="10"/>
          </p:nvPr>
        </p:nvSpPr>
        <p:spPr bwMode="auto"/>
        <p:txBody>
          <a:bodyPr/>
          <a:lstStyle>
            <a:lvl1pPr>
              <a:defRPr>
                <a:solidFill>
                  <a:schemeClr val="accent5"/>
                </a:solidFill>
              </a:defRPr>
            </a:lvl1pPr>
          </a:lstStyle>
          <a:p>
            <a:fld id="{B3849067-F438-4780-8789-BC2F4A2AC1D0}" type="datetime1">
              <a:rPr lang="zh-CN" altLang="en-US" smtClean="0"/>
            </a:fld>
            <a:endParaRPr lang="en-US"/>
          </a:p>
        </p:txBody>
      </p:sp>
      <p:sp>
        <p:nvSpPr>
          <p:cNvPr id="4" name="Fußzeilenplatzhalter 3"/>
          <p:cNvSpPr>
            <a:spLocks noGrp="1"/>
          </p:cNvSpPr>
          <p:nvPr>
            <p:ph type="ftr" sz="quarter" idx="11"/>
          </p:nvPr>
        </p:nvSpPr>
        <p:spPr bwMode="auto"/>
        <p:txBody>
          <a:bodyPr/>
          <a:lstStyle>
            <a:lvl1pPr>
              <a:defRPr>
                <a:solidFill>
                  <a:schemeClr val="accent5"/>
                </a:solidFill>
              </a:defRPr>
            </a:lvl1pPr>
          </a:lstStyle>
          <a:p>
            <a:r>
              <a:rPr lang="en-US" smtClean="0"/>
              <a:t>Department VWA-DT  |  Hackathon Challenge Release  |  CSD-class</a:t>
            </a:r>
            <a:endParaRPr lang="en-US"/>
          </a:p>
        </p:txBody>
      </p:sp>
      <p:sp>
        <p:nvSpPr>
          <p:cNvPr id="5" name="Foliennummernplatzhalter 4"/>
          <p:cNvSpPr>
            <a:spLocks noGrp="1"/>
          </p:cNvSpPr>
          <p:nvPr>
            <p:ph type="sldNum" sz="quarter" idx="12"/>
          </p:nvPr>
        </p:nvSpPr>
        <p:spPr bwMode="auto"/>
        <p:txBody>
          <a:bodyPr/>
          <a:lstStyle>
            <a:lvl1pPr>
              <a:defRPr>
                <a:solidFill>
                  <a:schemeClr val="accent5"/>
                </a:solidFill>
              </a:defRPr>
            </a:lvl1pPr>
          </a:lstStyle>
          <a:p>
            <a:fld id="{53C98C43-8B83-4748-BA0D-B0C90A16569F}" type="slidenum">
              <a:rPr lang="en-US" smtClean="0"/>
            </a:fld>
            <a:endParaRPr lang="en-US"/>
          </a:p>
        </p:txBody>
      </p:sp>
      <p:sp>
        <p:nvSpPr>
          <p:cNvPr id="7" name="Textplatzhalter 6"/>
          <p:cNvSpPr>
            <a:spLocks noGrp="1"/>
          </p:cNvSpPr>
          <p:nvPr>
            <p:ph type="body" sz="quarter" idx="13" hasCustomPrompt="1"/>
          </p:nvPr>
        </p:nvSpPr>
        <p:spPr bwMode="auto">
          <a:xfrm>
            <a:off x="406800" y="5309284"/>
            <a:ext cx="3735709"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p:txBody>
      </p:sp>
      <p:sp>
        <p:nvSpPr>
          <p:cNvPr id="9" name="Textplatzhalter 8"/>
          <p:cNvSpPr>
            <a:spLocks noGrp="1"/>
          </p:cNvSpPr>
          <p:nvPr>
            <p:ph type="body" sz="quarter" idx="14" hasCustomPrompt="1"/>
          </p:nvPr>
        </p:nvSpPr>
        <p:spPr bwMode="auto">
          <a:xfrm>
            <a:off x="406400" y="1844675"/>
            <a:ext cx="3735709" cy="553998"/>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10" name="Title 6"/>
          <p:cNvSpPr>
            <a:spLocks noGrp="1"/>
          </p:cNvSpPr>
          <p:nvPr>
            <p:ph type="title" hasCustomPrompt="1"/>
          </p:nvPr>
        </p:nvSpPr>
        <p:spPr bwMode="auto">
          <a:xfrm>
            <a:off x="407988" y="644520"/>
            <a:ext cx="3734103" cy="1551194"/>
          </a:xfrm>
        </p:spPr>
        <p:txBody>
          <a:bodyPr anchor="t"/>
          <a:lstStyle/>
          <a:p>
            <a:r>
              <a:rPr lang="en-US" dirty="0"/>
              <a:t>Headline in The Group Head Light 28pt, Deep Space Blue</a:t>
            </a:r>
            <a:endParaRPr lang="en-IN" dirty="0"/>
          </a:p>
        </p:txBody>
      </p:sp>
      <p:pic>
        <p:nvPicPr>
          <p:cNvPr id="11" name="Picture 10"/>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10105573" y="0"/>
            <a:ext cx="1678435" cy="651196"/>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 Title only White">
    <p:bg bwMode="gray">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730B166E-F85B-49AC-A835-15533AF661B8}"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2"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7" name="Title 6"/>
          <p:cNvSpPr>
            <a:spLocks noGrp="1"/>
          </p:cNvSpPr>
          <p:nvPr>
            <p:ph type="title" hasCustomPrompt="1"/>
          </p:nvPr>
        </p:nvSpPr>
        <p:spPr bwMode="auto">
          <a:xfrm>
            <a:off x="407987" y="644520"/>
            <a:ext cx="11376021" cy="387798"/>
          </a:xfrm>
        </p:spPr>
        <p:txBody>
          <a:bodyPr anchor="t"/>
          <a:lstStyle/>
          <a:p>
            <a:r>
              <a:rPr lang="en-US" dirty="0"/>
              <a:t>Headline in The Group Head Light 28pt, Deep Space Blue</a:t>
            </a:r>
            <a:endParaRPr lang="en-IN"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 Title only Deep Space Blue">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lvl1pPr>
              <a:defRPr>
                <a:solidFill>
                  <a:schemeClr val="accent4"/>
                </a:solidFill>
              </a:defRPr>
            </a:lvl1pPr>
          </a:lstStyle>
          <a:p>
            <a:fld id="{389EE1D8-256C-403B-AAB9-D49A7C5CF1A5}"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lvl1pPr>
              <a:defRPr>
                <a:solidFill>
                  <a:schemeClr val="accent4"/>
                </a:solidFill>
              </a:defRPr>
            </a:lvl1p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fld>
            <a:endParaRPr lang="en-US" noProof="0"/>
          </a:p>
        </p:txBody>
      </p:sp>
      <p:cxnSp>
        <p:nvCxnSpPr>
          <p:cNvPr id="16" name="Gerader Verbinder 15"/>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endParaRPr lang="en-US" noProof="0"/>
          </a:p>
        </p:txBody>
      </p:sp>
      <p:sp>
        <p:nvSpPr>
          <p:cNvPr id="6" name="Title 6"/>
          <p:cNvSpPr>
            <a:spLocks noGrp="1"/>
          </p:cNvSpPr>
          <p:nvPr>
            <p:ph type="title" hasCustomPrompt="1"/>
          </p:nvPr>
        </p:nvSpPr>
        <p:spPr bwMode="auto">
          <a:xfrm>
            <a:off x="407987" y="644520"/>
            <a:ext cx="11376021" cy="387798"/>
          </a:xfrm>
        </p:spPr>
        <p:txBody>
          <a:bodyPr anchor="t"/>
          <a:lstStyle>
            <a:lvl1pPr>
              <a:defRPr>
                <a:solidFill>
                  <a:schemeClr val="tx2"/>
                </a:solidFill>
              </a:defRPr>
            </a:lvl1pPr>
          </a:lstStyle>
          <a:p>
            <a:r>
              <a:rPr lang="en-US"/>
              <a:t>Headline in The Group Head Light 28pt, White</a:t>
            </a:r>
            <a:endParaRPr lang="en-IN"/>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 Deep Space Blue only">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lvl1pPr>
              <a:defRPr>
                <a:solidFill>
                  <a:schemeClr val="accent4"/>
                </a:solidFill>
              </a:defRPr>
            </a:lvl1pPr>
          </a:lstStyle>
          <a:p>
            <a:fld id="{946D372A-5D8A-40DC-B9B8-033BC970CB26}" type="datetime1">
              <a:rPr lang="zh-CN" altLang="en-US" smtClean="0"/>
            </a:fld>
            <a:endParaRPr lang="en-US"/>
          </a:p>
        </p:txBody>
      </p:sp>
      <p:sp>
        <p:nvSpPr>
          <p:cNvPr id="4" name="Fußzeilenplatzhalter 3"/>
          <p:cNvSpPr>
            <a:spLocks noGrp="1"/>
          </p:cNvSpPr>
          <p:nvPr>
            <p:ph type="ftr" sz="quarter" idx="11"/>
          </p:nvPr>
        </p:nvSpPr>
        <p:spPr bwMode="auto"/>
        <p:txBody>
          <a:bodyPr/>
          <a:lstStyle>
            <a:lvl1pPr>
              <a:defRPr>
                <a:solidFill>
                  <a:schemeClr val="accent4"/>
                </a:solidFill>
              </a:defRPr>
            </a:lvl1pPr>
          </a:lstStyle>
          <a:p>
            <a:r>
              <a:rPr lang="en-US" smtClean="0"/>
              <a:t>Department VWA-DT  |  Hackathon Challenge Release  |  CSD-class</a:t>
            </a:r>
            <a:endParaRPr lang="en-US"/>
          </a:p>
        </p:txBody>
      </p:sp>
      <p:sp>
        <p:nvSpPr>
          <p:cNvPr id="5" name="Foliennummernplatzhalter 4"/>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fld>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gradient 1">
    <p:bg bwMode="ltGray">
      <p:bgRef idx="1001">
        <a:schemeClr val="bg1"/>
      </p:bgRef>
    </p:bg>
    <p:spTree>
      <p:nvGrpSpPr>
        <p:cNvPr id="1" name=""/>
        <p:cNvGrpSpPr/>
        <p:nvPr/>
      </p:nvGrpSpPr>
      <p:grpSpPr>
        <a:xfrm>
          <a:off x="0" y="0"/>
          <a:ext cx="0" cy="0"/>
          <a:chOff x="0" y="0"/>
          <a:chExt cx="0" cy="0"/>
        </a:xfrm>
      </p:grpSpPr>
      <p:sp>
        <p:nvSpPr>
          <p:cNvPr id="8" name="Graphic 6"/>
          <p:cNvSpPr/>
          <p:nvPr/>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12" name="Graphic 7"/>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37000">
                <a:srgbClr val="183F49">
                  <a:alpha val="23000"/>
                </a:srgbClr>
              </a:gs>
              <a:gs pos="24000">
                <a:srgbClr val="0D323D">
                  <a:alpha val="0"/>
                </a:srgbClr>
              </a:gs>
              <a:gs pos="53000">
                <a:srgbClr val="224B55">
                  <a:alpha val="60000"/>
                </a:srgbClr>
              </a:gs>
              <a:gs pos="72000">
                <a:srgbClr val="7E989F">
                  <a:alpha val="45000"/>
                </a:srgbClr>
              </a:gs>
              <a:gs pos="100000">
                <a:srgbClr val="7E989F"/>
              </a:gs>
            </a:gsLst>
            <a:lin ang="180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endParaRPr lang="en-US" noProof="0"/>
          </a:p>
        </p:txBody>
      </p:sp>
      <p:sp>
        <p:nvSpPr>
          <p:cNvPr id="3" name="Untertitel 2"/>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endParaRPr lang="en-US" noProof="0"/>
          </a:p>
        </p:txBody>
      </p:sp>
      <p:sp>
        <p:nvSpPr>
          <p:cNvPr id="5" name="Textplatzhalter 8"/>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endParaRPr lang="en-US" sz="1200" cap="all" baseline="0"/>
          </a:p>
        </p:txBody>
      </p:sp>
      <p:sp>
        <p:nvSpPr>
          <p:cNvPr id="4" name="Rectangle 3"/>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pic>
        <p:nvPicPr>
          <p:cNvPr id="9" name="Picture 8"/>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9384083" y="-1333"/>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only">
    <p:bg bwMode="ltGray">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lvl1pPr>
              <a:defRPr>
                <a:solidFill>
                  <a:schemeClr val="accent4"/>
                </a:solidFill>
              </a:defRPr>
            </a:lvl1pPr>
          </a:lstStyle>
          <a:p>
            <a:fld id="{E3E09ADD-7DE1-4810-A542-EC6FB1136D95}"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lvl1pPr>
              <a:defRPr>
                <a:solidFill>
                  <a:schemeClr val="accent4"/>
                </a:solidFill>
              </a:defRPr>
            </a:lvl1p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fld>
            <a:endParaRPr lang="en-US" noProof="0"/>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2x images and text">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43D4565A-F098-4F5F-B1FF-434C7216BDB5}"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7" name="Textplatzhalter 6"/>
          <p:cNvSpPr>
            <a:spLocks noGrp="1"/>
          </p:cNvSpPr>
          <p:nvPr>
            <p:ph type="body" sz="quarter" idx="13" hasCustomPrompt="1"/>
          </p:nvPr>
        </p:nvSpPr>
        <p:spPr bwMode="auto">
          <a:xfrm>
            <a:off x="411199"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8" name="Textplatzhalter 6"/>
          <p:cNvSpPr>
            <a:spLocks noGrp="1"/>
          </p:cNvSpPr>
          <p:nvPr>
            <p:ph type="body" sz="quarter" idx="22" hasCustomPrompt="1"/>
          </p:nvPr>
        </p:nvSpPr>
        <p:spPr bwMode="auto">
          <a:xfrm>
            <a:off x="6389048"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6" name="Bildplatzhalter 7"/>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10" name="Bildplatzhalter 7"/>
          <p:cNvSpPr>
            <a:spLocks noGrp="1"/>
          </p:cNvSpPr>
          <p:nvPr>
            <p:ph type="pic" sz="quarter" idx="18" hasCustomPrompt="1"/>
          </p:nvPr>
        </p:nvSpPr>
        <p:spPr bwMode="auto">
          <a:xfrm>
            <a:off x="638904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9"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11" name="Title 6"/>
          <p:cNvSpPr>
            <a:spLocks noGrp="1"/>
          </p:cNvSpPr>
          <p:nvPr>
            <p:ph type="title" hasCustomPrompt="1"/>
          </p:nvPr>
        </p:nvSpPr>
        <p:spPr bwMode="auto">
          <a:xfrm>
            <a:off x="407987" y="644520"/>
            <a:ext cx="11376021" cy="387798"/>
          </a:xfrm>
        </p:spPr>
        <p:txBody>
          <a:bodyPr anchor="t"/>
          <a:lstStyle/>
          <a:p>
            <a:r>
              <a:rPr lang="en-US"/>
              <a:t>Headline in The Group Head Light 28pt, Deep Space Blue</a:t>
            </a:r>
            <a:endParaRPr lang="en-IN"/>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3x images and text">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9A3A9C72-703A-4EAB-AEF0-54A128D0FB7B}"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7" name="Textplatzhalter 6"/>
          <p:cNvSpPr>
            <a:spLocks noGrp="1"/>
          </p:cNvSpPr>
          <p:nvPr>
            <p:ph type="body" sz="quarter" idx="13" hasCustomPrompt="1"/>
          </p:nvPr>
        </p:nvSpPr>
        <p:spPr bwMode="auto">
          <a:xfrm>
            <a:off x="411199"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9" name="Bildplatzhalter 7"/>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10" name="Bildplatzhalter 7"/>
          <p:cNvSpPr>
            <a:spLocks noGrp="1"/>
          </p:cNvSpPr>
          <p:nvPr>
            <p:ph type="pic" sz="quarter" idx="18" hasCustomPrompt="1"/>
          </p:nvPr>
        </p:nvSpPr>
        <p:spPr bwMode="auto">
          <a:xfrm>
            <a:off x="433577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11" name="Bildplatzhalter 7"/>
          <p:cNvSpPr>
            <a:spLocks noGrp="1"/>
          </p:cNvSpPr>
          <p:nvPr>
            <p:ph type="pic" sz="quarter" idx="19" hasCustomPrompt="1"/>
          </p:nvPr>
        </p:nvSpPr>
        <p:spPr bwMode="auto">
          <a:xfrm>
            <a:off x="826356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6" name="Textplatzhalter 6"/>
          <p:cNvSpPr>
            <a:spLocks noGrp="1"/>
          </p:cNvSpPr>
          <p:nvPr>
            <p:ph type="body" sz="quarter" idx="21" hasCustomPrompt="1"/>
          </p:nvPr>
        </p:nvSpPr>
        <p:spPr bwMode="auto">
          <a:xfrm>
            <a:off x="4337383"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8" name="Textplatzhalter 6"/>
          <p:cNvSpPr>
            <a:spLocks noGrp="1"/>
          </p:cNvSpPr>
          <p:nvPr>
            <p:ph type="body" sz="quarter" idx="22" hasCustomPrompt="1"/>
          </p:nvPr>
        </p:nvSpPr>
        <p:spPr bwMode="auto">
          <a:xfrm>
            <a:off x="8263568"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12"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13" name="Title 6"/>
          <p:cNvSpPr>
            <a:spLocks noGrp="1"/>
          </p:cNvSpPr>
          <p:nvPr>
            <p:ph type="title" hasCustomPrompt="1"/>
          </p:nvPr>
        </p:nvSpPr>
        <p:spPr bwMode="auto">
          <a:xfrm>
            <a:off x="407987" y="644520"/>
            <a:ext cx="11376021" cy="387798"/>
          </a:xfrm>
        </p:spPr>
        <p:txBody>
          <a:bodyPr anchor="t"/>
          <a:lstStyle/>
          <a:p>
            <a:r>
              <a:rPr lang="en-US"/>
              <a:t>Headline in The Group Head Light 28pt, Deep Space Blue</a:t>
            </a:r>
            <a:endParaRPr lang="en-IN"/>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 Title, 4x images and text Deep Space Blue">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EC437062-41E0-48F1-9E27-4BF34DE2B44C}"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7" name="Textplatzhalter 6"/>
          <p:cNvSpPr>
            <a:spLocks noGrp="1"/>
          </p:cNvSpPr>
          <p:nvPr>
            <p:ph type="body" sz="quarter" idx="13" hasCustomPrompt="1"/>
          </p:nvPr>
        </p:nvSpPr>
        <p:spPr bwMode="auto">
          <a:xfrm>
            <a:off x="411199" y="3879895"/>
            <a:ext cx="2560320"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9" name="Bildplatzhalter 7"/>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10" name="Bildplatzhalter 7"/>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11" name="Bildplatzhalter 7"/>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12" name="Bildplatzhalter 7"/>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6" name="Textplatzhalter 6"/>
          <p:cNvSpPr>
            <a:spLocks noGrp="1"/>
          </p:cNvSpPr>
          <p:nvPr>
            <p:ph type="body" sz="quarter" idx="21" hasCustomPrompt="1"/>
          </p:nvPr>
        </p:nvSpPr>
        <p:spPr bwMode="auto">
          <a:xfrm>
            <a:off x="3357839"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8" name="Textplatzhalter 6"/>
          <p:cNvSpPr>
            <a:spLocks noGrp="1"/>
          </p:cNvSpPr>
          <p:nvPr>
            <p:ph type="body" sz="quarter" idx="22" hasCustomPrompt="1"/>
          </p:nvPr>
        </p:nvSpPr>
        <p:spPr bwMode="auto">
          <a:xfrm>
            <a:off x="6295335"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13" name="Textplatzhalter 6"/>
          <p:cNvSpPr>
            <a:spLocks noGrp="1"/>
          </p:cNvSpPr>
          <p:nvPr>
            <p:ph type="body" sz="quarter" idx="23" hasCustomPrompt="1"/>
          </p:nvPr>
        </p:nvSpPr>
        <p:spPr bwMode="auto">
          <a:xfrm>
            <a:off x="9232832"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14"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15" name="Title 6"/>
          <p:cNvSpPr>
            <a:spLocks noGrp="1"/>
          </p:cNvSpPr>
          <p:nvPr>
            <p:ph type="title" hasCustomPrompt="1"/>
          </p:nvPr>
        </p:nvSpPr>
        <p:spPr bwMode="auto">
          <a:xfrm>
            <a:off x="407987" y="644520"/>
            <a:ext cx="11376021" cy="387798"/>
          </a:xfrm>
        </p:spPr>
        <p:txBody>
          <a:bodyPr anchor="t"/>
          <a:lstStyle/>
          <a:p>
            <a:r>
              <a:rPr lang="en-US" dirty="0"/>
              <a:t>Headline in The Group Head Light 28pt, White</a:t>
            </a:r>
            <a:endParaRPr lang="en-IN"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4x images and text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10DE6694-91EE-4B0C-9E3C-CED68B155AFF}"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7" name="Textplatzhalter 6"/>
          <p:cNvSpPr>
            <a:spLocks noGrp="1"/>
          </p:cNvSpPr>
          <p:nvPr>
            <p:ph type="body" sz="quarter" idx="13" hasCustomPrompt="1"/>
          </p:nvPr>
        </p:nvSpPr>
        <p:spPr bwMode="auto">
          <a:xfrm>
            <a:off x="411199" y="3879895"/>
            <a:ext cx="2560320"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9" name="Bildplatzhalter 7"/>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endParaRPr lang="en-US" noProof="0"/>
          </a:p>
        </p:txBody>
      </p:sp>
      <p:sp>
        <p:nvSpPr>
          <p:cNvPr id="10" name="Bildplatzhalter 7"/>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endParaRPr lang="en-US" noProof="0"/>
          </a:p>
        </p:txBody>
      </p:sp>
      <p:sp>
        <p:nvSpPr>
          <p:cNvPr id="11" name="Bildplatzhalter 7"/>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endParaRPr lang="en-US" noProof="0"/>
          </a:p>
        </p:txBody>
      </p:sp>
      <p:sp>
        <p:nvSpPr>
          <p:cNvPr id="12" name="Bildplatzhalter 7"/>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endParaRPr lang="en-US" noProof="0"/>
          </a:p>
        </p:txBody>
      </p:sp>
      <p:sp>
        <p:nvSpPr>
          <p:cNvPr id="6" name="Textplatzhalter 6"/>
          <p:cNvSpPr>
            <a:spLocks noGrp="1"/>
          </p:cNvSpPr>
          <p:nvPr>
            <p:ph type="body" sz="quarter" idx="21" hasCustomPrompt="1"/>
          </p:nvPr>
        </p:nvSpPr>
        <p:spPr bwMode="auto">
          <a:xfrm>
            <a:off x="3357839"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8" name="Textplatzhalter 6"/>
          <p:cNvSpPr>
            <a:spLocks noGrp="1"/>
          </p:cNvSpPr>
          <p:nvPr>
            <p:ph type="body" sz="quarter" idx="22" hasCustomPrompt="1"/>
          </p:nvPr>
        </p:nvSpPr>
        <p:spPr bwMode="auto">
          <a:xfrm>
            <a:off x="6295335"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13" name="Textplatzhalter 6"/>
          <p:cNvSpPr>
            <a:spLocks noGrp="1"/>
          </p:cNvSpPr>
          <p:nvPr>
            <p:ph type="body" sz="quarter" idx="23" hasCustomPrompt="1"/>
          </p:nvPr>
        </p:nvSpPr>
        <p:spPr bwMode="auto">
          <a:xfrm>
            <a:off x="9232832"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15"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endParaRPr lang="en-US" noProof="0"/>
          </a:p>
        </p:txBody>
      </p:sp>
      <p:sp>
        <p:nvSpPr>
          <p:cNvPr id="16" name="Title 6"/>
          <p:cNvSpPr>
            <a:spLocks noGrp="1"/>
          </p:cNvSpPr>
          <p:nvPr>
            <p:ph type="title" hasCustomPrompt="1"/>
          </p:nvPr>
        </p:nvSpPr>
        <p:spPr bwMode="auto">
          <a:xfrm>
            <a:off x="407987" y="644520"/>
            <a:ext cx="11376021" cy="387798"/>
          </a:xfrm>
        </p:spPr>
        <p:txBody>
          <a:bodyPr anchor="t"/>
          <a:lstStyle>
            <a:lvl1pPr>
              <a:defRPr>
                <a:solidFill>
                  <a:schemeClr val="tx1"/>
                </a:solidFill>
              </a:defRPr>
            </a:lvl1pPr>
          </a:lstStyle>
          <a:p>
            <a:r>
              <a:rPr lang="en-US" dirty="0"/>
              <a:t>Headline in The Group Head Light 28pt, Deep Space Blue</a:t>
            </a:r>
            <a:endParaRPr lang="en-IN" dirty="0"/>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10x images and text">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021CA131-EA9F-4F56-B6CB-312130D6DCBC}"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7" name="Textplatzhalter 6"/>
          <p:cNvSpPr>
            <a:spLocks noGrp="1"/>
          </p:cNvSpPr>
          <p:nvPr>
            <p:ph type="body" sz="quarter" idx="13" hasCustomPrompt="1"/>
          </p:nvPr>
        </p:nvSpPr>
        <p:spPr bwMode="auto">
          <a:xfrm>
            <a:off x="411199"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9" name="Bildplatzhalter 7"/>
          <p:cNvSpPr>
            <a:spLocks noGrp="1"/>
          </p:cNvSpPr>
          <p:nvPr>
            <p:ph type="pic" sz="quarter" idx="17" hasCustomPrompt="1"/>
          </p:nvPr>
        </p:nvSpPr>
        <p:spPr bwMode="auto">
          <a:xfrm>
            <a:off x="411199"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endParaRPr lang="en-US" noProof="0"/>
          </a:p>
        </p:txBody>
      </p:sp>
      <p:sp>
        <p:nvSpPr>
          <p:cNvPr id="10" name="Bildplatzhalter 7"/>
          <p:cNvSpPr>
            <a:spLocks noGrp="1"/>
          </p:cNvSpPr>
          <p:nvPr>
            <p:ph type="pic" sz="quarter" idx="18" hasCustomPrompt="1"/>
          </p:nvPr>
        </p:nvSpPr>
        <p:spPr bwMode="auto">
          <a:xfrm>
            <a:off x="2769935"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endParaRPr lang="en-US" noProof="0"/>
          </a:p>
        </p:txBody>
      </p:sp>
      <p:sp>
        <p:nvSpPr>
          <p:cNvPr id="11" name="Bildplatzhalter 7"/>
          <p:cNvSpPr>
            <a:spLocks noGrp="1"/>
          </p:cNvSpPr>
          <p:nvPr>
            <p:ph type="pic" sz="quarter" idx="19" hasCustomPrompt="1"/>
          </p:nvPr>
        </p:nvSpPr>
        <p:spPr bwMode="auto">
          <a:xfrm>
            <a:off x="5128671"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endParaRPr lang="en-US" noProof="0"/>
          </a:p>
        </p:txBody>
      </p:sp>
      <p:sp>
        <p:nvSpPr>
          <p:cNvPr id="12" name="Bildplatzhalter 7"/>
          <p:cNvSpPr>
            <a:spLocks noGrp="1"/>
          </p:cNvSpPr>
          <p:nvPr>
            <p:ph type="pic" sz="quarter" idx="20" hasCustomPrompt="1"/>
          </p:nvPr>
        </p:nvSpPr>
        <p:spPr bwMode="auto">
          <a:xfrm>
            <a:off x="9846143"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endParaRPr lang="en-US" noProof="0"/>
          </a:p>
        </p:txBody>
      </p:sp>
      <p:sp>
        <p:nvSpPr>
          <p:cNvPr id="6" name="Textplatzhalter 6"/>
          <p:cNvSpPr>
            <a:spLocks noGrp="1"/>
          </p:cNvSpPr>
          <p:nvPr>
            <p:ph type="body" sz="quarter" idx="21" hasCustomPrompt="1"/>
          </p:nvPr>
        </p:nvSpPr>
        <p:spPr bwMode="auto">
          <a:xfrm>
            <a:off x="2769935"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8" name="Textplatzhalter 6"/>
          <p:cNvSpPr>
            <a:spLocks noGrp="1"/>
          </p:cNvSpPr>
          <p:nvPr>
            <p:ph type="body" sz="quarter" idx="22" hasCustomPrompt="1"/>
          </p:nvPr>
        </p:nvSpPr>
        <p:spPr bwMode="auto">
          <a:xfrm>
            <a:off x="5128671"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13" name="Textplatzhalter 6"/>
          <p:cNvSpPr>
            <a:spLocks noGrp="1"/>
          </p:cNvSpPr>
          <p:nvPr>
            <p:ph type="body" sz="quarter" idx="23" hasCustomPrompt="1"/>
          </p:nvPr>
        </p:nvSpPr>
        <p:spPr bwMode="auto">
          <a:xfrm>
            <a:off x="9846143"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2" name="Bildplatzhalter 7"/>
          <p:cNvSpPr>
            <a:spLocks noGrp="1"/>
          </p:cNvSpPr>
          <p:nvPr>
            <p:ph type="pic" sz="quarter" idx="24" hasCustomPrompt="1"/>
          </p:nvPr>
        </p:nvSpPr>
        <p:spPr bwMode="auto">
          <a:xfrm>
            <a:off x="7487407"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endParaRPr lang="en-US" noProof="0"/>
          </a:p>
        </p:txBody>
      </p:sp>
      <p:sp>
        <p:nvSpPr>
          <p:cNvPr id="14" name="Textplatzhalter 6"/>
          <p:cNvSpPr>
            <a:spLocks noGrp="1"/>
          </p:cNvSpPr>
          <p:nvPr>
            <p:ph type="body" sz="quarter" idx="25" hasCustomPrompt="1"/>
          </p:nvPr>
        </p:nvSpPr>
        <p:spPr bwMode="auto">
          <a:xfrm>
            <a:off x="7487407"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26" name="Textplatzhalter 6"/>
          <p:cNvSpPr>
            <a:spLocks noGrp="1"/>
          </p:cNvSpPr>
          <p:nvPr>
            <p:ph type="body" sz="quarter" idx="26" hasCustomPrompt="1"/>
          </p:nvPr>
        </p:nvSpPr>
        <p:spPr bwMode="auto">
          <a:xfrm>
            <a:off x="411199"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27" name="Bildplatzhalter 7"/>
          <p:cNvSpPr>
            <a:spLocks noGrp="1"/>
          </p:cNvSpPr>
          <p:nvPr>
            <p:ph type="pic" sz="quarter" idx="27" hasCustomPrompt="1"/>
          </p:nvPr>
        </p:nvSpPr>
        <p:spPr bwMode="auto">
          <a:xfrm>
            <a:off x="411199"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endParaRPr lang="en-US" noProof="0"/>
          </a:p>
        </p:txBody>
      </p:sp>
      <p:sp>
        <p:nvSpPr>
          <p:cNvPr id="28" name="Bildplatzhalter 7"/>
          <p:cNvSpPr>
            <a:spLocks noGrp="1"/>
          </p:cNvSpPr>
          <p:nvPr>
            <p:ph type="pic" sz="quarter" idx="28" hasCustomPrompt="1"/>
          </p:nvPr>
        </p:nvSpPr>
        <p:spPr bwMode="auto">
          <a:xfrm>
            <a:off x="2769935"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endParaRPr lang="en-US" noProof="0"/>
          </a:p>
        </p:txBody>
      </p:sp>
      <p:sp>
        <p:nvSpPr>
          <p:cNvPr id="29" name="Bildplatzhalter 7"/>
          <p:cNvSpPr>
            <a:spLocks noGrp="1"/>
          </p:cNvSpPr>
          <p:nvPr>
            <p:ph type="pic" sz="quarter" idx="29" hasCustomPrompt="1"/>
          </p:nvPr>
        </p:nvSpPr>
        <p:spPr bwMode="auto">
          <a:xfrm>
            <a:off x="5128671"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endParaRPr lang="en-US" noProof="0"/>
          </a:p>
        </p:txBody>
      </p:sp>
      <p:sp>
        <p:nvSpPr>
          <p:cNvPr id="30" name="Bildplatzhalter 7"/>
          <p:cNvSpPr>
            <a:spLocks noGrp="1"/>
          </p:cNvSpPr>
          <p:nvPr>
            <p:ph type="pic" sz="quarter" idx="30" hasCustomPrompt="1"/>
          </p:nvPr>
        </p:nvSpPr>
        <p:spPr bwMode="auto">
          <a:xfrm>
            <a:off x="9846143"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endParaRPr lang="en-US" noProof="0"/>
          </a:p>
        </p:txBody>
      </p:sp>
      <p:sp>
        <p:nvSpPr>
          <p:cNvPr id="31" name="Textplatzhalter 6"/>
          <p:cNvSpPr>
            <a:spLocks noGrp="1"/>
          </p:cNvSpPr>
          <p:nvPr>
            <p:ph type="body" sz="quarter" idx="31" hasCustomPrompt="1"/>
          </p:nvPr>
        </p:nvSpPr>
        <p:spPr bwMode="auto">
          <a:xfrm>
            <a:off x="2769935"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32" name="Textplatzhalter 6"/>
          <p:cNvSpPr>
            <a:spLocks noGrp="1"/>
          </p:cNvSpPr>
          <p:nvPr>
            <p:ph type="body" sz="quarter" idx="32" hasCustomPrompt="1"/>
          </p:nvPr>
        </p:nvSpPr>
        <p:spPr bwMode="auto">
          <a:xfrm>
            <a:off x="5128671"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33" name="Textplatzhalter 6"/>
          <p:cNvSpPr>
            <a:spLocks noGrp="1"/>
          </p:cNvSpPr>
          <p:nvPr>
            <p:ph type="body" sz="quarter" idx="33" hasCustomPrompt="1"/>
          </p:nvPr>
        </p:nvSpPr>
        <p:spPr bwMode="auto">
          <a:xfrm>
            <a:off x="9846143"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34" name="Bildplatzhalter 7"/>
          <p:cNvSpPr>
            <a:spLocks noGrp="1"/>
          </p:cNvSpPr>
          <p:nvPr>
            <p:ph type="pic" sz="quarter" idx="34" hasCustomPrompt="1"/>
          </p:nvPr>
        </p:nvSpPr>
        <p:spPr bwMode="auto">
          <a:xfrm>
            <a:off x="7487407"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endParaRPr lang="en-US" noProof="0"/>
          </a:p>
        </p:txBody>
      </p:sp>
      <p:sp>
        <p:nvSpPr>
          <p:cNvPr id="35" name="Textplatzhalter 6"/>
          <p:cNvSpPr>
            <a:spLocks noGrp="1"/>
          </p:cNvSpPr>
          <p:nvPr>
            <p:ph type="body" sz="quarter" idx="35" hasCustomPrompt="1"/>
          </p:nvPr>
        </p:nvSpPr>
        <p:spPr bwMode="auto">
          <a:xfrm>
            <a:off x="7487407"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17"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18" name="Title 6"/>
          <p:cNvSpPr>
            <a:spLocks noGrp="1"/>
          </p:cNvSpPr>
          <p:nvPr>
            <p:ph type="title" hasCustomPrompt="1"/>
          </p:nvPr>
        </p:nvSpPr>
        <p:spPr bwMode="auto">
          <a:xfrm>
            <a:off x="407987" y="644520"/>
            <a:ext cx="11376021" cy="387798"/>
          </a:xfrm>
        </p:spPr>
        <p:txBody>
          <a:bodyPr anchor="t"/>
          <a:lstStyle/>
          <a:p>
            <a:r>
              <a:rPr lang="en-US" dirty="0"/>
              <a:t>Headline in The Group Head Light 28pt, Deep Space Blue</a:t>
            </a:r>
            <a:endParaRPr lang="en-IN"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 Title, text and graph">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E4835ECD-31AA-42F4-B178-CB74B37F7782}"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7" name="Textplatzhalter 6"/>
          <p:cNvSpPr>
            <a:spLocks noGrp="1"/>
          </p:cNvSpPr>
          <p:nvPr>
            <p:ph type="body" sz="quarter" idx="13" hasCustomPrompt="1"/>
          </p:nvPr>
        </p:nvSpPr>
        <p:spPr bwMode="auto">
          <a:xfrm>
            <a:off x="406800" y="1848473"/>
            <a:ext cx="5544739" cy="1143903"/>
          </a:xfrm>
        </p:spPr>
        <p:txBody>
          <a:bodyPr bIns="0" anchor="t" anchorCtr="0">
            <a:spAutoFit/>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p:txBody>
      </p:sp>
      <p:sp>
        <p:nvSpPr>
          <p:cNvPr id="6" name="Textplatzhalter 2"/>
          <p:cNvSpPr>
            <a:spLocks noGrp="1"/>
          </p:cNvSpPr>
          <p:nvPr>
            <p:ph type="body" sz="quarter" idx="19" hasCustomPrompt="1"/>
          </p:nvPr>
        </p:nvSpPr>
        <p:spPr bwMode="auto">
          <a:xfrm>
            <a:off x="6240452" y="1848473"/>
            <a:ext cx="5545905" cy="215444"/>
          </a:xfrm>
        </p:spPr>
        <p:txBody>
          <a:bodyPr wrap="square">
            <a:spAutoFit/>
          </a:bodyPr>
          <a:lstStyle>
            <a:lvl1pPr marL="0" indent="0">
              <a:spcBef>
                <a:spcPts val="0"/>
              </a:spcBef>
              <a:buFont typeface="The Group TEXT" panose="00000500000000000000" pitchFamily="2" charset="0"/>
              <a:buNone/>
              <a:defRPr sz="1400" b="1">
                <a:solidFill>
                  <a:schemeClr val="accent2"/>
                </a:solidFill>
              </a:defRPr>
            </a:lvl1pPr>
            <a:lvl2pPr marL="0" indent="0">
              <a:spcBef>
                <a:spcPts val="0"/>
              </a:spcBef>
              <a:buFont typeface="The Group TEXT" panose="00000500000000000000" pitchFamily="2" charset="0"/>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vl6pPr marL="0" indent="0">
              <a:spcBef>
                <a:spcPts val="0"/>
              </a:spcBef>
              <a:buNone/>
              <a:defRPr sz="1400" b="1"/>
            </a:lvl6pPr>
            <a:lvl7pPr marL="0" indent="0">
              <a:spcBef>
                <a:spcPts val="0"/>
              </a:spcBef>
              <a:buNone/>
              <a:defRPr sz="1400" b="1"/>
            </a:lvl7pPr>
            <a:lvl8pPr marL="0" indent="0">
              <a:spcBef>
                <a:spcPts val="0"/>
              </a:spcBef>
              <a:buNone/>
              <a:defRPr sz="1400" b="1"/>
            </a:lvl8pPr>
            <a:lvl9pPr marL="0" indent="0">
              <a:spcBef>
                <a:spcPts val="0"/>
              </a:spcBef>
              <a:buNone/>
              <a:defRPr sz="1400" b="1"/>
            </a:lvl9pPr>
          </a:lstStyle>
          <a:p>
            <a:pPr lvl="0"/>
            <a:r>
              <a:rPr lang="en-US" noProof="0"/>
              <a:t>Click to edit chart title</a:t>
            </a:r>
            <a:endParaRPr lang="en-US" noProof="0"/>
          </a:p>
        </p:txBody>
      </p:sp>
      <p:sp>
        <p:nvSpPr>
          <p:cNvPr id="8" name="Textplatzhalter 2"/>
          <p:cNvSpPr>
            <a:spLocks noGrp="1"/>
          </p:cNvSpPr>
          <p:nvPr>
            <p:ph type="body" sz="quarter" idx="20" hasCustomPrompt="1"/>
          </p:nvPr>
        </p:nvSpPr>
        <p:spPr bwMode="auto">
          <a:xfrm>
            <a:off x="6238480" y="6330076"/>
            <a:ext cx="5550301" cy="123111"/>
          </a:xfrm>
        </p:spPr>
        <p:txBody>
          <a:bodyPr wrap="square" anchor="b" anchorCtr="0">
            <a:spAutoFit/>
          </a:bodyPr>
          <a:lstStyle>
            <a:lvl1pPr marL="0" indent="0">
              <a:spcBef>
                <a:spcPts val="0"/>
              </a:spcBef>
              <a:buFont typeface="The Group TEXT" panose="00000500000000000000" pitchFamily="2" charset="0"/>
              <a:buNone/>
              <a:defRPr sz="800" b="0"/>
            </a:lvl1pPr>
            <a:lvl2pPr marL="0" indent="0">
              <a:spcBef>
                <a:spcPts val="0"/>
              </a:spcBef>
              <a:buFont typeface="The Group TEXT" panose="00000500000000000000" pitchFamily="2" charset="0"/>
              <a:buNone/>
              <a:defRPr sz="800" b="0"/>
            </a:lvl2pPr>
            <a:lvl3pPr marL="0" indent="0">
              <a:spcBef>
                <a:spcPts val="0"/>
              </a:spcBef>
              <a:buNone/>
              <a:defRPr sz="800" b="0"/>
            </a:lvl3pPr>
            <a:lvl4pPr marL="0" indent="0">
              <a:spcBef>
                <a:spcPts val="0"/>
              </a:spcBef>
              <a:buNone/>
              <a:defRPr sz="800" b="0"/>
            </a:lvl4pPr>
            <a:lvl5pPr marL="0" indent="0">
              <a:spcBef>
                <a:spcPts val="0"/>
              </a:spcBef>
              <a:buNone/>
              <a:defRPr sz="800" b="0"/>
            </a:lvl5pPr>
            <a:lvl6pPr marL="0" indent="0">
              <a:spcBef>
                <a:spcPts val="0"/>
              </a:spcBef>
              <a:buNone/>
              <a:defRPr sz="800" b="0"/>
            </a:lvl6pPr>
            <a:lvl7pPr marL="0" indent="0">
              <a:spcBef>
                <a:spcPts val="0"/>
              </a:spcBef>
              <a:buNone/>
              <a:defRPr sz="800" b="0"/>
            </a:lvl7pPr>
            <a:lvl8pPr marL="0" indent="0">
              <a:spcBef>
                <a:spcPts val="0"/>
              </a:spcBef>
              <a:buNone/>
              <a:defRPr sz="800" b="0"/>
            </a:lvl8pPr>
            <a:lvl9pPr marL="0" indent="0">
              <a:spcBef>
                <a:spcPts val="0"/>
              </a:spcBef>
              <a:buNone/>
              <a:defRPr sz="800" b="0"/>
            </a:lvl9pPr>
          </a:lstStyle>
          <a:p>
            <a:pPr lvl="0"/>
            <a:r>
              <a:rPr lang="en-US" noProof="0"/>
              <a:t>Click to edit footnote/source</a:t>
            </a:r>
            <a:endParaRPr lang="en-US" noProof="0"/>
          </a:p>
        </p:txBody>
      </p:sp>
      <p:sp>
        <p:nvSpPr>
          <p:cNvPr id="11" name="Textplatzhalter 2"/>
          <p:cNvSpPr>
            <a:spLocks noGrp="1"/>
          </p:cNvSpPr>
          <p:nvPr>
            <p:ph type="body" sz="quarter" idx="21" hasCustomPrompt="1"/>
          </p:nvPr>
        </p:nvSpPr>
        <p:spPr bwMode="auto">
          <a:xfrm>
            <a:off x="6240484" y="2117611"/>
            <a:ext cx="5548256" cy="215444"/>
          </a:xfrm>
        </p:spPr>
        <p:txBody>
          <a:bodyPr wrap="square">
            <a:spAutoFit/>
          </a:bodyPr>
          <a:lstStyle>
            <a:lvl1pPr marL="0" indent="0">
              <a:spcBef>
                <a:spcPts val="0"/>
              </a:spcBef>
              <a:buFont typeface="The Group TEXT" panose="00000500000000000000" pitchFamily="2" charset="0"/>
              <a:buNone/>
              <a:defRPr sz="1400" b="0">
                <a:solidFill>
                  <a:schemeClr val="accent2"/>
                </a:solidFill>
              </a:defRPr>
            </a:lvl1pPr>
            <a:lvl2pPr marL="0" indent="0">
              <a:spcBef>
                <a:spcPts val="0"/>
              </a:spcBef>
              <a:buFont typeface="The Group TEXT" panose="00000500000000000000" pitchFamily="2" charset="0"/>
              <a:buNone/>
              <a:defRPr sz="1400" b="0"/>
            </a:lvl2pPr>
            <a:lvl3pPr marL="0" indent="0">
              <a:spcBef>
                <a:spcPts val="0"/>
              </a:spcBef>
              <a:buNone/>
              <a:defRPr sz="1400" b="0"/>
            </a:lvl3pPr>
            <a:lvl4pPr marL="0" indent="0">
              <a:spcBef>
                <a:spcPts val="0"/>
              </a:spcBef>
              <a:buNone/>
              <a:defRPr sz="1400" b="0"/>
            </a:lvl4pPr>
            <a:lvl5pPr marL="0" indent="0">
              <a:spcBef>
                <a:spcPts val="0"/>
              </a:spcBef>
              <a:buNone/>
              <a:defRPr sz="1400" b="0"/>
            </a:lvl5pPr>
            <a:lvl6pPr marL="0" indent="0">
              <a:spcBef>
                <a:spcPts val="0"/>
              </a:spcBef>
              <a:buNone/>
              <a:defRPr sz="1400" b="0"/>
            </a:lvl6pPr>
            <a:lvl7pPr marL="0" indent="0">
              <a:spcBef>
                <a:spcPts val="0"/>
              </a:spcBef>
              <a:buNone/>
              <a:defRPr sz="1400" b="0"/>
            </a:lvl7pPr>
            <a:lvl8pPr marL="0" indent="0">
              <a:spcBef>
                <a:spcPts val="0"/>
              </a:spcBef>
              <a:buNone/>
              <a:defRPr sz="1400" b="0"/>
            </a:lvl8pPr>
            <a:lvl9pPr marL="0" indent="0">
              <a:spcBef>
                <a:spcPts val="0"/>
              </a:spcBef>
              <a:buNone/>
              <a:defRPr sz="1400" b="0"/>
            </a:lvl9pPr>
          </a:lstStyle>
          <a:p>
            <a:pPr lvl="0"/>
            <a:r>
              <a:rPr lang="en-US" noProof="0"/>
              <a:t>Click to edit unit measure</a:t>
            </a:r>
            <a:endParaRPr lang="en-US" noProof="0"/>
          </a:p>
        </p:txBody>
      </p:sp>
      <p:sp>
        <p:nvSpPr>
          <p:cNvPr id="13" name="Diagrammplatzhalter 12"/>
          <p:cNvSpPr>
            <a:spLocks noGrp="1"/>
          </p:cNvSpPr>
          <p:nvPr>
            <p:ph type="chart" sz="quarter" idx="22" hasCustomPrompt="1"/>
          </p:nvPr>
        </p:nvSpPr>
        <p:spPr bwMode="auto">
          <a:xfrm>
            <a:off x="6240462" y="2386750"/>
            <a:ext cx="5546689" cy="3909276"/>
          </a:xfrm>
        </p:spPr>
        <p:txBody>
          <a:bodyPr/>
          <a:lstStyle>
            <a:lvl1pPr>
              <a:spcBef>
                <a:spcPts val="0"/>
              </a:spcBef>
              <a:defRPr sz="1400" b="0">
                <a:solidFill>
                  <a:schemeClr val="tx2"/>
                </a:solidFill>
              </a:defRPr>
            </a:lvl1pPr>
          </a:lstStyle>
          <a:p>
            <a:r>
              <a:rPr lang="en-US" noProof="0"/>
              <a:t>Add chart by clicking on icon</a:t>
            </a:r>
            <a:endParaRPr lang="en-US" noProof="0"/>
          </a:p>
        </p:txBody>
      </p:sp>
      <p:sp>
        <p:nvSpPr>
          <p:cNvPr id="9"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10" name="Title 6"/>
          <p:cNvSpPr>
            <a:spLocks noGrp="1"/>
          </p:cNvSpPr>
          <p:nvPr>
            <p:ph type="title" hasCustomPrompt="1"/>
          </p:nvPr>
        </p:nvSpPr>
        <p:spPr bwMode="auto">
          <a:xfrm>
            <a:off x="407987" y="644520"/>
            <a:ext cx="11376021" cy="387798"/>
          </a:xfrm>
        </p:spPr>
        <p:txBody>
          <a:bodyPr anchor="t"/>
          <a:lstStyle/>
          <a:p>
            <a:r>
              <a:rPr lang="en-US"/>
              <a:t>Headline in The Group Head Light 28pt, Deep Space Blue</a:t>
            </a:r>
            <a:endParaRPr lang="en-IN"/>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olkswagen Group brands on Deep Space Blue">
    <p:bg>
      <p:bgRef idx="1001">
        <a:schemeClr val="bg2"/>
      </p:bgRef>
    </p:bg>
    <p:spTree>
      <p:nvGrpSpPr>
        <p:cNvPr id="1" name=""/>
        <p:cNvGrpSpPr/>
        <p:nvPr/>
      </p:nvGrpSpPr>
      <p:grpSpPr>
        <a:xfrm>
          <a:off x="0" y="0"/>
          <a:ext cx="0" cy="0"/>
          <a:chOff x="0" y="0"/>
          <a:chExt cx="0" cy="0"/>
        </a:xfrm>
      </p:grpSpPr>
      <p:sp>
        <p:nvSpPr>
          <p:cNvPr id="34" name="Freeform 33"/>
          <p:cNvSpPr/>
          <p:nvPr userDrawn="1"/>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3" name="Freeform 32"/>
          <p:cNvSpPr/>
          <p:nvPr userDrawn="1"/>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5" name="Freeform 34"/>
          <p:cNvSpPr/>
          <p:nvPr userDrawn="1"/>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6" name="Freeform 35"/>
          <p:cNvSpPr/>
          <p:nvPr userDrawn="1"/>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7" name="Freeform 36"/>
          <p:cNvSpPr/>
          <p:nvPr userDrawn="1"/>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8" name="Freeform 37"/>
          <p:cNvSpPr/>
          <p:nvPr userDrawn="1"/>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9" name="Freeform 38"/>
          <p:cNvSpPr/>
          <p:nvPr userDrawn="1"/>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0" name="Freeform 39"/>
          <p:cNvSpPr/>
          <p:nvPr userDrawn="1"/>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1" name="Freeform 40"/>
          <p:cNvSpPr/>
          <p:nvPr userDrawn="1"/>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2" name="Freeform 41"/>
          <p:cNvSpPr/>
          <p:nvPr userDrawn="1"/>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2" name="Freeform 61"/>
          <p:cNvSpPr/>
          <p:nvPr userDrawn="1"/>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3" name="Freeform 62"/>
          <p:cNvSpPr/>
          <p:nvPr userDrawn="1"/>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4" name="Freeform 63"/>
          <p:cNvSpPr/>
          <p:nvPr userDrawn="1"/>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5" name="Freeform 64"/>
          <p:cNvSpPr/>
          <p:nvPr userDrawn="1"/>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6" name="Freeform 65"/>
          <p:cNvSpPr/>
          <p:nvPr userDrawn="1"/>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67" name="Graphic 79"/>
          <p:cNvGrpSpPr/>
          <p:nvPr userDrawn="1"/>
        </p:nvGrpSpPr>
        <p:grpSpPr>
          <a:xfrm>
            <a:off x="4004901" y="3163569"/>
            <a:ext cx="1036080" cy="530860"/>
            <a:chOff x="-9711099" y="3163569"/>
            <a:chExt cx="1036080" cy="530860"/>
          </a:xfrm>
          <a:solidFill>
            <a:srgbClr val="FFFFFF"/>
          </a:solidFill>
        </p:grpSpPr>
        <p:sp>
          <p:nvSpPr>
            <p:cNvPr id="68" name="Freeform 67"/>
            <p:cNvSpPr/>
            <p:nvPr/>
          </p:nvSpPr>
          <p:spPr>
            <a:xfrm>
              <a:off x="-9628504" y="3585209"/>
              <a:ext cx="99695" cy="107950"/>
            </a:xfrm>
            <a:custGeom>
              <a:avLst/>
              <a:gdLst>
                <a:gd name="connsiteX0" fmla="*/ 79142 w 99695"/>
                <a:gd name="connsiteY0" fmla="*/ 49678 h 107950"/>
                <a:gd name="connsiteX1" fmla="*/ 91207 w 99695"/>
                <a:gd name="connsiteY1" fmla="*/ 26183 h 107950"/>
                <a:gd name="connsiteX2" fmla="*/ 57552 w 99695"/>
                <a:gd name="connsiteY2" fmla="*/ -1122 h 107950"/>
                <a:gd name="connsiteX3" fmla="*/ -868 w 99695"/>
                <a:gd name="connsiteY3" fmla="*/ -1122 h 107950"/>
                <a:gd name="connsiteX4" fmla="*/ -868 w 99695"/>
                <a:gd name="connsiteY4" fmla="*/ 106828 h 107950"/>
                <a:gd name="connsiteX5" fmla="*/ 65172 w 99695"/>
                <a:gd name="connsiteY5" fmla="*/ 106828 h 107950"/>
                <a:gd name="connsiteX6" fmla="*/ 84222 w 99695"/>
                <a:gd name="connsiteY6" fmla="*/ 102383 h 107950"/>
                <a:gd name="connsiteX7" fmla="*/ 98827 w 99695"/>
                <a:gd name="connsiteY7" fmla="*/ 76348 h 107950"/>
                <a:gd name="connsiteX8" fmla="*/ 79142 w 99695"/>
                <a:gd name="connsiteY8" fmla="*/ 49678 h 107950"/>
                <a:gd name="connsiteX9" fmla="*/ 20087 w 99695"/>
                <a:gd name="connsiteY9" fmla="*/ 17293 h 107950"/>
                <a:gd name="connsiteX10" fmla="*/ 20087 w 99695"/>
                <a:gd name="connsiteY10" fmla="*/ 17293 h 107950"/>
                <a:gd name="connsiteX11" fmla="*/ 56917 w 99695"/>
                <a:gd name="connsiteY11" fmla="*/ 17293 h 107950"/>
                <a:gd name="connsiteX12" fmla="*/ 70252 w 99695"/>
                <a:gd name="connsiteY12" fmla="*/ 29358 h 107950"/>
                <a:gd name="connsiteX13" fmla="*/ 64537 w 99695"/>
                <a:gd name="connsiteY13" fmla="*/ 40153 h 107950"/>
                <a:gd name="connsiteX14" fmla="*/ 57552 w 99695"/>
                <a:gd name="connsiteY14" fmla="*/ 42058 h 107950"/>
                <a:gd name="connsiteX15" fmla="*/ 18817 w 99695"/>
                <a:gd name="connsiteY15" fmla="*/ 42058 h 107950"/>
                <a:gd name="connsiteX16" fmla="*/ 20087 w 99695"/>
                <a:gd name="connsiteY16" fmla="*/ 17293 h 107950"/>
                <a:gd name="connsiteX17" fmla="*/ 72792 w 99695"/>
                <a:gd name="connsiteY17" fmla="*/ 86508 h 107950"/>
                <a:gd name="connsiteX18" fmla="*/ 59457 w 99695"/>
                <a:gd name="connsiteY18" fmla="*/ 89683 h 107950"/>
                <a:gd name="connsiteX19" fmla="*/ 20087 w 99695"/>
                <a:gd name="connsiteY19" fmla="*/ 89683 h 107950"/>
                <a:gd name="connsiteX20" fmla="*/ 20087 w 99695"/>
                <a:gd name="connsiteY20" fmla="*/ 61108 h 107950"/>
                <a:gd name="connsiteX21" fmla="*/ 20087 w 99695"/>
                <a:gd name="connsiteY21" fmla="*/ 61108 h 107950"/>
                <a:gd name="connsiteX22" fmla="*/ 58822 w 99695"/>
                <a:gd name="connsiteY22" fmla="*/ 61108 h 107950"/>
                <a:gd name="connsiteX23" fmla="*/ 78507 w 99695"/>
                <a:gd name="connsiteY23" fmla="*/ 75713 h 107950"/>
                <a:gd name="connsiteX24" fmla="*/ 72792 w 99695"/>
                <a:gd name="connsiteY24" fmla="*/ 86508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695" h="107950">
                  <a:moveTo>
                    <a:pt x="79142" y="49678"/>
                  </a:moveTo>
                  <a:cubicBezTo>
                    <a:pt x="86127" y="45233"/>
                    <a:pt x="91207" y="36343"/>
                    <a:pt x="91207" y="26183"/>
                  </a:cubicBezTo>
                  <a:cubicBezTo>
                    <a:pt x="91207" y="12848"/>
                    <a:pt x="79777" y="-1122"/>
                    <a:pt x="57552" y="-1122"/>
                  </a:cubicBezTo>
                  <a:cubicBezTo>
                    <a:pt x="38502" y="-487"/>
                    <a:pt x="17547" y="-487"/>
                    <a:pt x="-868" y="-1122"/>
                  </a:cubicBezTo>
                  <a:cubicBezTo>
                    <a:pt x="-233" y="35073"/>
                    <a:pt x="-233" y="71268"/>
                    <a:pt x="-868" y="106828"/>
                  </a:cubicBezTo>
                  <a:lnTo>
                    <a:pt x="65172" y="106828"/>
                  </a:lnTo>
                  <a:cubicBezTo>
                    <a:pt x="72157" y="106828"/>
                    <a:pt x="78507" y="105558"/>
                    <a:pt x="84222" y="102383"/>
                  </a:cubicBezTo>
                  <a:cubicBezTo>
                    <a:pt x="93112" y="97938"/>
                    <a:pt x="98827" y="89048"/>
                    <a:pt x="98827" y="76348"/>
                  </a:cubicBezTo>
                  <a:cubicBezTo>
                    <a:pt x="98827" y="64283"/>
                    <a:pt x="91842" y="53488"/>
                    <a:pt x="79142" y="49678"/>
                  </a:cubicBezTo>
                  <a:moveTo>
                    <a:pt x="20087" y="17293"/>
                  </a:moveTo>
                  <a:lnTo>
                    <a:pt x="20087" y="17293"/>
                  </a:lnTo>
                  <a:cubicBezTo>
                    <a:pt x="30247" y="16658"/>
                    <a:pt x="48662" y="16658"/>
                    <a:pt x="56917" y="17293"/>
                  </a:cubicBezTo>
                  <a:cubicBezTo>
                    <a:pt x="66442" y="17928"/>
                    <a:pt x="70252" y="22373"/>
                    <a:pt x="70252" y="29358"/>
                  </a:cubicBezTo>
                  <a:cubicBezTo>
                    <a:pt x="70252" y="33803"/>
                    <a:pt x="68347" y="37613"/>
                    <a:pt x="64537" y="40153"/>
                  </a:cubicBezTo>
                  <a:cubicBezTo>
                    <a:pt x="62632" y="41423"/>
                    <a:pt x="60727" y="42058"/>
                    <a:pt x="57552" y="42058"/>
                  </a:cubicBezTo>
                  <a:cubicBezTo>
                    <a:pt x="48662" y="42693"/>
                    <a:pt x="28342" y="42693"/>
                    <a:pt x="18817" y="42058"/>
                  </a:cubicBezTo>
                  <a:cubicBezTo>
                    <a:pt x="20087" y="33803"/>
                    <a:pt x="20087" y="25548"/>
                    <a:pt x="20087" y="17293"/>
                  </a:cubicBezTo>
                  <a:moveTo>
                    <a:pt x="72792" y="86508"/>
                  </a:moveTo>
                  <a:cubicBezTo>
                    <a:pt x="69617" y="88413"/>
                    <a:pt x="65172" y="89683"/>
                    <a:pt x="59457" y="89683"/>
                  </a:cubicBezTo>
                  <a:cubicBezTo>
                    <a:pt x="47392" y="90318"/>
                    <a:pt x="33422" y="90318"/>
                    <a:pt x="20087" y="89683"/>
                  </a:cubicBezTo>
                  <a:cubicBezTo>
                    <a:pt x="19452" y="80158"/>
                    <a:pt x="19452" y="71268"/>
                    <a:pt x="20087" y="61108"/>
                  </a:cubicBezTo>
                  <a:lnTo>
                    <a:pt x="20087" y="61108"/>
                  </a:lnTo>
                  <a:cubicBezTo>
                    <a:pt x="32787" y="60473"/>
                    <a:pt x="47392" y="60473"/>
                    <a:pt x="58822" y="61108"/>
                  </a:cubicBezTo>
                  <a:cubicBezTo>
                    <a:pt x="71522" y="61743"/>
                    <a:pt x="78507" y="66823"/>
                    <a:pt x="78507" y="75713"/>
                  </a:cubicBezTo>
                  <a:cubicBezTo>
                    <a:pt x="78507" y="80158"/>
                    <a:pt x="76602" y="83968"/>
                    <a:pt x="72792" y="86508"/>
                  </a:cubicBezTo>
                </a:path>
              </a:pathLst>
            </a:custGeom>
            <a:solidFill>
              <a:srgbClr val="FFFFFF"/>
            </a:solidFill>
            <a:ln w="6350" cap="flat">
              <a:noFill/>
              <a:prstDash val="solid"/>
              <a:miter/>
            </a:ln>
          </p:spPr>
          <p:txBody>
            <a:bodyPr rtlCol="0" anchor="ctr"/>
            <a:lstStyle/>
            <a:p>
              <a:endParaRPr lang="en-GB"/>
            </a:p>
          </p:txBody>
        </p:sp>
        <p:sp>
          <p:nvSpPr>
            <p:cNvPr id="69" name="Freeform 68"/>
            <p:cNvSpPr/>
            <p:nvPr/>
          </p:nvSpPr>
          <p:spPr>
            <a:xfrm>
              <a:off x="-9112250" y="3585844"/>
              <a:ext cx="88900" cy="107950"/>
            </a:xfrm>
            <a:custGeom>
              <a:avLst/>
              <a:gdLst>
                <a:gd name="connsiteX0" fmla="*/ 19452 w 88900"/>
                <a:gd name="connsiteY0" fmla="*/ 88414 h 107950"/>
                <a:gd name="connsiteX1" fmla="*/ 19452 w 88900"/>
                <a:gd name="connsiteY1" fmla="*/ -1122 h 107950"/>
                <a:gd name="connsiteX2" fmla="*/ -868 w 88900"/>
                <a:gd name="connsiteY2" fmla="*/ -1122 h 107950"/>
                <a:gd name="connsiteX3" fmla="*/ -868 w 88900"/>
                <a:gd name="connsiteY3" fmla="*/ -1122 h 107950"/>
                <a:gd name="connsiteX4" fmla="*/ -868 w 88900"/>
                <a:gd name="connsiteY4" fmla="*/ -1122 h 107950"/>
                <a:gd name="connsiteX5" fmla="*/ -868 w 88900"/>
                <a:gd name="connsiteY5" fmla="*/ 106828 h 107950"/>
                <a:gd name="connsiteX6" fmla="*/ 88032 w 88900"/>
                <a:gd name="connsiteY6" fmla="*/ 106828 h 107950"/>
                <a:gd name="connsiteX7" fmla="*/ 88032 w 88900"/>
                <a:gd name="connsiteY7" fmla="*/ 106828 h 107950"/>
                <a:gd name="connsiteX8" fmla="*/ 88032 w 88900"/>
                <a:gd name="connsiteY8" fmla="*/ 106828 h 107950"/>
                <a:gd name="connsiteX9" fmla="*/ 88032 w 88900"/>
                <a:gd name="connsiteY9" fmla="*/ 87778 h 107950"/>
                <a:gd name="connsiteX10" fmla="*/ 19452 w 88900"/>
                <a:gd name="connsiteY1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900" h="107950">
                  <a:moveTo>
                    <a:pt x="19452" y="88414"/>
                  </a:moveTo>
                  <a:cubicBezTo>
                    <a:pt x="18817" y="58568"/>
                    <a:pt x="18817" y="28723"/>
                    <a:pt x="19452" y="-1122"/>
                  </a:cubicBezTo>
                  <a:cubicBezTo>
                    <a:pt x="12467" y="-1122"/>
                    <a:pt x="5482" y="-1122"/>
                    <a:pt x="-868" y="-1122"/>
                  </a:cubicBezTo>
                  <a:lnTo>
                    <a:pt x="-868" y="-1122"/>
                  </a:lnTo>
                  <a:lnTo>
                    <a:pt x="-868" y="-1122"/>
                  </a:lnTo>
                  <a:cubicBezTo>
                    <a:pt x="-233" y="35073"/>
                    <a:pt x="-233" y="71268"/>
                    <a:pt x="-868" y="106828"/>
                  </a:cubicBezTo>
                  <a:cubicBezTo>
                    <a:pt x="28977" y="106193"/>
                    <a:pt x="58187" y="106193"/>
                    <a:pt x="88032" y="106828"/>
                  </a:cubicBezTo>
                  <a:lnTo>
                    <a:pt x="88032" y="106828"/>
                  </a:lnTo>
                  <a:lnTo>
                    <a:pt x="88032" y="106828"/>
                  </a:lnTo>
                  <a:cubicBezTo>
                    <a:pt x="88032" y="100478"/>
                    <a:pt x="88032" y="94128"/>
                    <a:pt x="88032" y="87778"/>
                  </a:cubicBezTo>
                  <a:cubicBezTo>
                    <a:pt x="65172" y="88414"/>
                    <a:pt x="42312" y="88414"/>
                    <a:pt x="19452" y="88414"/>
                  </a:cubicBezTo>
                </a:path>
              </a:pathLst>
            </a:custGeom>
            <a:solidFill>
              <a:srgbClr val="FFFFFF"/>
            </a:solidFill>
            <a:ln w="6350" cap="flat">
              <a:noFill/>
              <a:prstDash val="solid"/>
              <a:miter/>
            </a:ln>
          </p:spPr>
          <p:txBody>
            <a:bodyPr rtlCol="0" anchor="ctr"/>
            <a:lstStyle/>
            <a:p>
              <a:endParaRPr lang="en-GB"/>
            </a:p>
          </p:txBody>
        </p:sp>
        <p:sp>
          <p:nvSpPr>
            <p:cNvPr id="70" name="Freeform 69"/>
            <p:cNvSpPr/>
            <p:nvPr/>
          </p:nvSpPr>
          <p:spPr>
            <a:xfrm>
              <a:off x="-9373870" y="3585844"/>
              <a:ext cx="100329" cy="107950"/>
            </a:xfrm>
            <a:custGeom>
              <a:avLst/>
              <a:gdLst>
                <a:gd name="connsiteX0" fmla="*/ 81047 w 100329"/>
                <a:gd name="connsiteY0" fmla="*/ -1122 h 107950"/>
                <a:gd name="connsiteX1" fmla="*/ 81047 w 100329"/>
                <a:gd name="connsiteY1" fmla="*/ -1122 h 107950"/>
                <a:gd name="connsiteX2" fmla="*/ 81047 w 100329"/>
                <a:gd name="connsiteY2" fmla="*/ -1122 h 107950"/>
                <a:gd name="connsiteX3" fmla="*/ 81047 w 100329"/>
                <a:gd name="connsiteY3" fmla="*/ 71268 h 107950"/>
                <a:gd name="connsiteX4" fmla="*/ 18182 w 100329"/>
                <a:gd name="connsiteY4" fmla="*/ -1122 h 107950"/>
                <a:gd name="connsiteX5" fmla="*/ -868 w 100329"/>
                <a:gd name="connsiteY5" fmla="*/ -1122 h 107950"/>
                <a:gd name="connsiteX6" fmla="*/ -868 w 100329"/>
                <a:gd name="connsiteY6" fmla="*/ -1122 h 107950"/>
                <a:gd name="connsiteX7" fmla="*/ -868 w 100329"/>
                <a:gd name="connsiteY7" fmla="*/ -1122 h 107950"/>
                <a:gd name="connsiteX8" fmla="*/ -868 w 100329"/>
                <a:gd name="connsiteY8" fmla="*/ 106828 h 107950"/>
                <a:gd name="connsiteX9" fmla="*/ 17547 w 100329"/>
                <a:gd name="connsiteY9" fmla="*/ 106828 h 107950"/>
                <a:gd name="connsiteX10" fmla="*/ 17547 w 100329"/>
                <a:gd name="connsiteY10" fmla="*/ 106828 h 107950"/>
                <a:gd name="connsiteX11" fmla="*/ 17547 w 100329"/>
                <a:gd name="connsiteY11" fmla="*/ 106828 h 107950"/>
                <a:gd name="connsiteX12" fmla="*/ 17547 w 100329"/>
                <a:gd name="connsiteY12" fmla="*/ 29993 h 107950"/>
                <a:gd name="connsiteX13" fmla="*/ 83587 w 100329"/>
                <a:gd name="connsiteY13" fmla="*/ 106828 h 107950"/>
                <a:gd name="connsiteX14" fmla="*/ 99462 w 100329"/>
                <a:gd name="connsiteY14" fmla="*/ 106828 h 107950"/>
                <a:gd name="connsiteX15" fmla="*/ 99462 w 100329"/>
                <a:gd name="connsiteY15" fmla="*/ 106828 h 107950"/>
                <a:gd name="connsiteX16" fmla="*/ 99462 w 100329"/>
                <a:gd name="connsiteY16" fmla="*/ 106828 h 107950"/>
                <a:gd name="connsiteX17" fmla="*/ 99462 w 100329"/>
                <a:gd name="connsiteY17" fmla="*/ -1122 h 107950"/>
                <a:gd name="connsiteX18" fmla="*/ 81047 w 100329"/>
                <a:gd name="connsiteY18"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329" h="107950">
                  <a:moveTo>
                    <a:pt x="81047" y="-1122"/>
                  </a:moveTo>
                  <a:lnTo>
                    <a:pt x="81047" y="-1122"/>
                  </a:lnTo>
                  <a:lnTo>
                    <a:pt x="81047" y="-1122"/>
                  </a:lnTo>
                  <a:cubicBezTo>
                    <a:pt x="81682" y="23008"/>
                    <a:pt x="81682" y="47139"/>
                    <a:pt x="81047" y="71268"/>
                  </a:cubicBezTo>
                  <a:cubicBezTo>
                    <a:pt x="59457" y="47139"/>
                    <a:pt x="38502" y="23008"/>
                    <a:pt x="18182" y="-1122"/>
                  </a:cubicBezTo>
                  <a:cubicBezTo>
                    <a:pt x="11832" y="-1122"/>
                    <a:pt x="5482" y="-486"/>
                    <a:pt x="-868" y="-1122"/>
                  </a:cubicBezTo>
                  <a:lnTo>
                    <a:pt x="-868" y="-1122"/>
                  </a:lnTo>
                  <a:lnTo>
                    <a:pt x="-868" y="-1122"/>
                  </a:lnTo>
                  <a:cubicBezTo>
                    <a:pt x="-233" y="35073"/>
                    <a:pt x="-233" y="70633"/>
                    <a:pt x="-868" y="106828"/>
                  </a:cubicBezTo>
                  <a:cubicBezTo>
                    <a:pt x="5482" y="106828"/>
                    <a:pt x="11832" y="106828"/>
                    <a:pt x="17547" y="106828"/>
                  </a:cubicBezTo>
                  <a:lnTo>
                    <a:pt x="17547" y="106828"/>
                  </a:lnTo>
                  <a:lnTo>
                    <a:pt x="17547" y="106828"/>
                  </a:lnTo>
                  <a:cubicBezTo>
                    <a:pt x="16912" y="81428"/>
                    <a:pt x="16912" y="56028"/>
                    <a:pt x="17547" y="29993"/>
                  </a:cubicBezTo>
                  <a:cubicBezTo>
                    <a:pt x="40407" y="56028"/>
                    <a:pt x="62632" y="81428"/>
                    <a:pt x="83587" y="106828"/>
                  </a:cubicBezTo>
                  <a:cubicBezTo>
                    <a:pt x="88667" y="106828"/>
                    <a:pt x="93747" y="106828"/>
                    <a:pt x="99462" y="106828"/>
                  </a:cubicBezTo>
                  <a:lnTo>
                    <a:pt x="99462" y="106828"/>
                  </a:lnTo>
                  <a:lnTo>
                    <a:pt x="99462" y="106828"/>
                  </a:lnTo>
                  <a:cubicBezTo>
                    <a:pt x="98827" y="70633"/>
                    <a:pt x="98827" y="34439"/>
                    <a:pt x="99462" y="-1122"/>
                  </a:cubicBezTo>
                  <a:cubicBezTo>
                    <a:pt x="93112" y="-1122"/>
                    <a:pt x="87397" y="-1122"/>
                    <a:pt x="81047" y="-1122"/>
                  </a:cubicBezTo>
                </a:path>
              </a:pathLst>
            </a:custGeom>
            <a:solidFill>
              <a:srgbClr val="FFFFFF"/>
            </a:solidFill>
            <a:ln w="6350" cap="flat">
              <a:noFill/>
              <a:prstDash val="solid"/>
              <a:miter/>
            </a:ln>
          </p:spPr>
          <p:txBody>
            <a:bodyPr rtlCol="0" anchor="ctr"/>
            <a:lstStyle/>
            <a:p>
              <a:endParaRPr lang="en-GB"/>
            </a:p>
          </p:txBody>
        </p:sp>
        <p:sp>
          <p:nvSpPr>
            <p:cNvPr id="71" name="Freeform 70"/>
            <p:cNvSpPr/>
            <p:nvPr/>
          </p:nvSpPr>
          <p:spPr>
            <a:xfrm>
              <a:off x="-9498329" y="3585844"/>
              <a:ext cx="94614" cy="107950"/>
            </a:xfrm>
            <a:custGeom>
              <a:avLst/>
              <a:gdLst>
                <a:gd name="connsiteX0" fmla="*/ 20087 w 94614"/>
                <a:gd name="connsiteY0" fmla="*/ 88414 h 107950"/>
                <a:gd name="connsiteX1" fmla="*/ 20087 w 94614"/>
                <a:gd name="connsiteY1" fmla="*/ 61108 h 107950"/>
                <a:gd name="connsiteX2" fmla="*/ 69617 w 94614"/>
                <a:gd name="connsiteY2" fmla="*/ 61108 h 107950"/>
                <a:gd name="connsiteX3" fmla="*/ 69617 w 94614"/>
                <a:gd name="connsiteY3" fmla="*/ 61108 h 107950"/>
                <a:gd name="connsiteX4" fmla="*/ 69617 w 94614"/>
                <a:gd name="connsiteY4" fmla="*/ 61108 h 107950"/>
                <a:gd name="connsiteX5" fmla="*/ 69617 w 94614"/>
                <a:gd name="connsiteY5" fmla="*/ 42058 h 107950"/>
                <a:gd name="connsiteX6" fmla="*/ 20087 w 94614"/>
                <a:gd name="connsiteY6" fmla="*/ 42058 h 107950"/>
                <a:gd name="connsiteX7" fmla="*/ 20087 w 94614"/>
                <a:gd name="connsiteY7" fmla="*/ 17928 h 107950"/>
                <a:gd name="connsiteX8" fmla="*/ 92477 w 94614"/>
                <a:gd name="connsiteY8" fmla="*/ 17928 h 107950"/>
                <a:gd name="connsiteX9" fmla="*/ 92477 w 94614"/>
                <a:gd name="connsiteY9" fmla="*/ 17928 h 107950"/>
                <a:gd name="connsiteX10" fmla="*/ 92477 w 94614"/>
                <a:gd name="connsiteY10" fmla="*/ 17928 h 107950"/>
                <a:gd name="connsiteX11" fmla="*/ 92477 w 94614"/>
                <a:gd name="connsiteY11" fmla="*/ -1122 h 107950"/>
                <a:gd name="connsiteX12" fmla="*/ -868 w 94614"/>
                <a:gd name="connsiteY12" fmla="*/ -1122 h 107950"/>
                <a:gd name="connsiteX13" fmla="*/ -868 w 94614"/>
                <a:gd name="connsiteY13" fmla="*/ -1122 h 107950"/>
                <a:gd name="connsiteX14" fmla="*/ -868 w 94614"/>
                <a:gd name="connsiteY14" fmla="*/ -1122 h 107950"/>
                <a:gd name="connsiteX15" fmla="*/ -868 w 94614"/>
                <a:gd name="connsiteY15" fmla="*/ 106828 h 107950"/>
                <a:gd name="connsiteX16" fmla="*/ 93747 w 94614"/>
                <a:gd name="connsiteY16" fmla="*/ 106828 h 107950"/>
                <a:gd name="connsiteX17" fmla="*/ 93747 w 94614"/>
                <a:gd name="connsiteY17" fmla="*/ 106828 h 107950"/>
                <a:gd name="connsiteX18" fmla="*/ 93747 w 94614"/>
                <a:gd name="connsiteY18" fmla="*/ 106828 h 107950"/>
                <a:gd name="connsiteX19" fmla="*/ 93747 w 94614"/>
                <a:gd name="connsiteY19" fmla="*/ 87778 h 107950"/>
                <a:gd name="connsiteX20" fmla="*/ 20087 w 94614"/>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614" h="107950">
                  <a:moveTo>
                    <a:pt x="20087" y="88414"/>
                  </a:moveTo>
                  <a:cubicBezTo>
                    <a:pt x="19452" y="79523"/>
                    <a:pt x="19452" y="70633"/>
                    <a:pt x="20087" y="61108"/>
                  </a:cubicBezTo>
                  <a:cubicBezTo>
                    <a:pt x="36597" y="60473"/>
                    <a:pt x="53107" y="60473"/>
                    <a:pt x="69617" y="61108"/>
                  </a:cubicBezTo>
                  <a:lnTo>
                    <a:pt x="69617" y="61108"/>
                  </a:lnTo>
                  <a:lnTo>
                    <a:pt x="69617" y="61108"/>
                  </a:lnTo>
                  <a:cubicBezTo>
                    <a:pt x="69617" y="54758"/>
                    <a:pt x="69617" y="48408"/>
                    <a:pt x="69617" y="42058"/>
                  </a:cubicBezTo>
                  <a:cubicBezTo>
                    <a:pt x="53107" y="42693"/>
                    <a:pt x="36597" y="42693"/>
                    <a:pt x="20087" y="42058"/>
                  </a:cubicBezTo>
                  <a:cubicBezTo>
                    <a:pt x="19452" y="33803"/>
                    <a:pt x="19452" y="25548"/>
                    <a:pt x="20087" y="17928"/>
                  </a:cubicBezTo>
                  <a:cubicBezTo>
                    <a:pt x="44217" y="17293"/>
                    <a:pt x="68347" y="17293"/>
                    <a:pt x="92477" y="17928"/>
                  </a:cubicBezTo>
                  <a:lnTo>
                    <a:pt x="92477" y="17928"/>
                  </a:lnTo>
                  <a:lnTo>
                    <a:pt x="92477" y="17928"/>
                  </a:lnTo>
                  <a:cubicBezTo>
                    <a:pt x="92477" y="11578"/>
                    <a:pt x="92477" y="5228"/>
                    <a:pt x="92477" y="-1122"/>
                  </a:cubicBezTo>
                  <a:cubicBezTo>
                    <a:pt x="61997" y="-486"/>
                    <a:pt x="30882" y="-486"/>
                    <a:pt x="-868" y="-1122"/>
                  </a:cubicBezTo>
                  <a:lnTo>
                    <a:pt x="-868" y="-1122"/>
                  </a:lnTo>
                  <a:lnTo>
                    <a:pt x="-868" y="-1122"/>
                  </a:lnTo>
                  <a:cubicBezTo>
                    <a:pt x="-233" y="35073"/>
                    <a:pt x="-233" y="71268"/>
                    <a:pt x="-868" y="106828"/>
                  </a:cubicBezTo>
                  <a:cubicBezTo>
                    <a:pt x="30882" y="106193"/>
                    <a:pt x="61997" y="106193"/>
                    <a:pt x="93747" y="106828"/>
                  </a:cubicBezTo>
                  <a:lnTo>
                    <a:pt x="93747" y="106828"/>
                  </a:lnTo>
                  <a:lnTo>
                    <a:pt x="93747" y="106828"/>
                  </a:lnTo>
                  <a:cubicBezTo>
                    <a:pt x="93747" y="100478"/>
                    <a:pt x="93747" y="94128"/>
                    <a:pt x="93747" y="87778"/>
                  </a:cubicBezTo>
                  <a:cubicBezTo>
                    <a:pt x="68982" y="88414"/>
                    <a:pt x="44852" y="88414"/>
                    <a:pt x="20087" y="88414"/>
                  </a:cubicBezTo>
                </a:path>
              </a:pathLst>
            </a:custGeom>
            <a:solidFill>
              <a:srgbClr val="FFFFFF"/>
            </a:solidFill>
            <a:ln w="6350" cap="flat">
              <a:noFill/>
              <a:prstDash val="solid"/>
              <a:miter/>
            </a:ln>
          </p:spPr>
          <p:txBody>
            <a:bodyPr rtlCol="0" anchor="ctr"/>
            <a:lstStyle/>
            <a:p>
              <a:endParaRPr lang="en-GB"/>
            </a:p>
          </p:txBody>
        </p:sp>
        <p:sp>
          <p:nvSpPr>
            <p:cNvPr id="72" name="Freeform 71"/>
            <p:cNvSpPr/>
            <p:nvPr/>
          </p:nvSpPr>
          <p:spPr>
            <a:xfrm>
              <a:off x="-8870950" y="3585844"/>
              <a:ext cx="119379" cy="107950"/>
            </a:xfrm>
            <a:custGeom>
              <a:avLst/>
              <a:gdLst>
                <a:gd name="connsiteX0" fmla="*/ 118512 w 119379"/>
                <a:gd name="connsiteY0" fmla="*/ -1122 h 107950"/>
                <a:gd name="connsiteX1" fmla="*/ 93112 w 119379"/>
                <a:gd name="connsiteY1" fmla="*/ -1122 h 107950"/>
                <a:gd name="connsiteX2" fmla="*/ 93112 w 119379"/>
                <a:gd name="connsiteY2" fmla="*/ -1122 h 107950"/>
                <a:gd name="connsiteX3" fmla="*/ 93112 w 119379"/>
                <a:gd name="connsiteY3" fmla="*/ -1122 h 107950"/>
                <a:gd name="connsiteX4" fmla="*/ 58822 w 119379"/>
                <a:gd name="connsiteY4" fmla="*/ 40789 h 107950"/>
                <a:gd name="connsiteX5" fmla="*/ 24532 w 119379"/>
                <a:gd name="connsiteY5" fmla="*/ -1122 h 107950"/>
                <a:gd name="connsiteX6" fmla="*/ -868 w 119379"/>
                <a:gd name="connsiteY6" fmla="*/ -1122 h 107950"/>
                <a:gd name="connsiteX7" fmla="*/ -868 w 119379"/>
                <a:gd name="connsiteY7" fmla="*/ -1122 h 107950"/>
                <a:gd name="connsiteX8" fmla="*/ -868 w 119379"/>
                <a:gd name="connsiteY8" fmla="*/ -1122 h 107950"/>
                <a:gd name="connsiteX9" fmla="*/ 48662 w 119379"/>
                <a:gd name="connsiteY9" fmla="*/ 60473 h 107950"/>
                <a:gd name="connsiteX10" fmla="*/ 48662 w 119379"/>
                <a:gd name="connsiteY10" fmla="*/ 106828 h 107950"/>
                <a:gd name="connsiteX11" fmla="*/ 68982 w 119379"/>
                <a:gd name="connsiteY11" fmla="*/ 106828 h 107950"/>
                <a:gd name="connsiteX12" fmla="*/ 68982 w 119379"/>
                <a:gd name="connsiteY12" fmla="*/ 106828 h 107950"/>
                <a:gd name="connsiteX13" fmla="*/ 68982 w 119379"/>
                <a:gd name="connsiteY13" fmla="*/ 106828 h 107950"/>
                <a:gd name="connsiteX14" fmla="*/ 68982 w 119379"/>
                <a:gd name="connsiteY14" fmla="*/ 60473 h 107950"/>
                <a:gd name="connsiteX15" fmla="*/ 118512 w 119379"/>
                <a:gd name="connsiteY15"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379" h="107950">
                  <a:moveTo>
                    <a:pt x="118512" y="-1122"/>
                  </a:moveTo>
                  <a:cubicBezTo>
                    <a:pt x="110257" y="-1122"/>
                    <a:pt x="102002" y="-1122"/>
                    <a:pt x="93112" y="-1122"/>
                  </a:cubicBezTo>
                  <a:lnTo>
                    <a:pt x="93112" y="-1122"/>
                  </a:lnTo>
                  <a:lnTo>
                    <a:pt x="93112" y="-1122"/>
                  </a:lnTo>
                  <a:cubicBezTo>
                    <a:pt x="82317" y="12848"/>
                    <a:pt x="70887" y="26818"/>
                    <a:pt x="58822" y="40789"/>
                  </a:cubicBezTo>
                  <a:cubicBezTo>
                    <a:pt x="46757" y="26818"/>
                    <a:pt x="35327" y="12848"/>
                    <a:pt x="24532" y="-1122"/>
                  </a:cubicBezTo>
                  <a:cubicBezTo>
                    <a:pt x="16277" y="-1122"/>
                    <a:pt x="8022" y="-1122"/>
                    <a:pt x="-868" y="-1122"/>
                  </a:cubicBezTo>
                  <a:lnTo>
                    <a:pt x="-868" y="-1122"/>
                  </a:lnTo>
                  <a:lnTo>
                    <a:pt x="-868" y="-1122"/>
                  </a:lnTo>
                  <a:cubicBezTo>
                    <a:pt x="16277" y="19198"/>
                    <a:pt x="32787" y="40153"/>
                    <a:pt x="48662" y="60473"/>
                  </a:cubicBezTo>
                  <a:cubicBezTo>
                    <a:pt x="49297" y="76348"/>
                    <a:pt x="49297" y="91589"/>
                    <a:pt x="48662" y="106828"/>
                  </a:cubicBezTo>
                  <a:cubicBezTo>
                    <a:pt x="55647" y="106828"/>
                    <a:pt x="61997" y="106828"/>
                    <a:pt x="68982" y="106828"/>
                  </a:cubicBezTo>
                  <a:lnTo>
                    <a:pt x="68982" y="106828"/>
                  </a:lnTo>
                  <a:lnTo>
                    <a:pt x="68982" y="106828"/>
                  </a:lnTo>
                  <a:cubicBezTo>
                    <a:pt x="68347" y="91589"/>
                    <a:pt x="68347" y="75714"/>
                    <a:pt x="68982" y="60473"/>
                  </a:cubicBezTo>
                  <a:cubicBezTo>
                    <a:pt x="84857" y="40153"/>
                    <a:pt x="101367" y="19198"/>
                    <a:pt x="118512" y="-1122"/>
                  </a:cubicBezTo>
                </a:path>
              </a:pathLst>
            </a:custGeom>
            <a:solidFill>
              <a:srgbClr val="FFFFFF"/>
            </a:solidFill>
            <a:ln w="6350" cap="flat">
              <a:noFill/>
              <a:prstDash val="solid"/>
              <a:miter/>
            </a:ln>
          </p:spPr>
          <p:txBody>
            <a:bodyPr rtlCol="0" anchor="ctr"/>
            <a:lstStyle/>
            <a:p>
              <a:endParaRPr lang="en-GB"/>
            </a:p>
          </p:txBody>
        </p:sp>
        <p:sp>
          <p:nvSpPr>
            <p:cNvPr id="73" name="Freeform 72"/>
            <p:cNvSpPr/>
            <p:nvPr/>
          </p:nvSpPr>
          <p:spPr>
            <a:xfrm>
              <a:off x="-8993504" y="3585844"/>
              <a:ext cx="91439" cy="107950"/>
            </a:xfrm>
            <a:custGeom>
              <a:avLst/>
              <a:gdLst>
                <a:gd name="connsiteX0" fmla="*/ 19452 w 91439"/>
                <a:gd name="connsiteY0" fmla="*/ 88414 h 107950"/>
                <a:gd name="connsiteX1" fmla="*/ 19452 w 91439"/>
                <a:gd name="connsiteY1" fmla="*/ 61108 h 107950"/>
                <a:gd name="connsiteX2" fmla="*/ 67712 w 91439"/>
                <a:gd name="connsiteY2" fmla="*/ 61108 h 107950"/>
                <a:gd name="connsiteX3" fmla="*/ 67712 w 91439"/>
                <a:gd name="connsiteY3" fmla="*/ 61108 h 107950"/>
                <a:gd name="connsiteX4" fmla="*/ 67712 w 91439"/>
                <a:gd name="connsiteY4" fmla="*/ 61108 h 107950"/>
                <a:gd name="connsiteX5" fmla="*/ 67712 w 91439"/>
                <a:gd name="connsiteY5" fmla="*/ 42058 h 107950"/>
                <a:gd name="connsiteX6" fmla="*/ 19452 w 91439"/>
                <a:gd name="connsiteY6" fmla="*/ 42058 h 107950"/>
                <a:gd name="connsiteX7" fmla="*/ 19452 w 91439"/>
                <a:gd name="connsiteY7" fmla="*/ 17928 h 107950"/>
                <a:gd name="connsiteX8" fmla="*/ 89302 w 91439"/>
                <a:gd name="connsiteY8" fmla="*/ 17928 h 107950"/>
                <a:gd name="connsiteX9" fmla="*/ 89302 w 91439"/>
                <a:gd name="connsiteY9" fmla="*/ 17928 h 107950"/>
                <a:gd name="connsiteX10" fmla="*/ 89302 w 91439"/>
                <a:gd name="connsiteY10" fmla="*/ 17928 h 107950"/>
                <a:gd name="connsiteX11" fmla="*/ 89302 w 91439"/>
                <a:gd name="connsiteY11" fmla="*/ -1122 h 107950"/>
                <a:gd name="connsiteX12" fmla="*/ -868 w 91439"/>
                <a:gd name="connsiteY12" fmla="*/ -1122 h 107950"/>
                <a:gd name="connsiteX13" fmla="*/ -868 w 91439"/>
                <a:gd name="connsiteY13" fmla="*/ -1122 h 107950"/>
                <a:gd name="connsiteX14" fmla="*/ -868 w 91439"/>
                <a:gd name="connsiteY14" fmla="*/ -1122 h 107950"/>
                <a:gd name="connsiteX15" fmla="*/ -868 w 91439"/>
                <a:gd name="connsiteY15" fmla="*/ 106828 h 107950"/>
                <a:gd name="connsiteX16" fmla="*/ 90572 w 91439"/>
                <a:gd name="connsiteY16" fmla="*/ 106828 h 107950"/>
                <a:gd name="connsiteX17" fmla="*/ 90572 w 91439"/>
                <a:gd name="connsiteY17" fmla="*/ 106828 h 107950"/>
                <a:gd name="connsiteX18" fmla="*/ 90572 w 91439"/>
                <a:gd name="connsiteY18" fmla="*/ 106828 h 107950"/>
                <a:gd name="connsiteX19" fmla="*/ 90572 w 91439"/>
                <a:gd name="connsiteY19" fmla="*/ 87778 h 107950"/>
                <a:gd name="connsiteX20" fmla="*/ 19452 w 91439"/>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39" h="107950">
                  <a:moveTo>
                    <a:pt x="19452" y="88414"/>
                  </a:moveTo>
                  <a:cubicBezTo>
                    <a:pt x="18817" y="79523"/>
                    <a:pt x="18817" y="70633"/>
                    <a:pt x="19452" y="61108"/>
                  </a:cubicBezTo>
                  <a:cubicBezTo>
                    <a:pt x="35327" y="60473"/>
                    <a:pt x="51837" y="60473"/>
                    <a:pt x="67712" y="61108"/>
                  </a:cubicBezTo>
                  <a:lnTo>
                    <a:pt x="67712" y="61108"/>
                  </a:lnTo>
                  <a:lnTo>
                    <a:pt x="67712" y="61108"/>
                  </a:lnTo>
                  <a:cubicBezTo>
                    <a:pt x="67712" y="54758"/>
                    <a:pt x="67712" y="48408"/>
                    <a:pt x="67712" y="42058"/>
                  </a:cubicBezTo>
                  <a:cubicBezTo>
                    <a:pt x="51837" y="42693"/>
                    <a:pt x="35327" y="42693"/>
                    <a:pt x="19452" y="42058"/>
                  </a:cubicBezTo>
                  <a:cubicBezTo>
                    <a:pt x="18817" y="33803"/>
                    <a:pt x="18817" y="25548"/>
                    <a:pt x="19452" y="17928"/>
                  </a:cubicBezTo>
                  <a:cubicBezTo>
                    <a:pt x="42947" y="17293"/>
                    <a:pt x="66442" y="17293"/>
                    <a:pt x="89302" y="17928"/>
                  </a:cubicBezTo>
                  <a:lnTo>
                    <a:pt x="89302" y="17928"/>
                  </a:lnTo>
                  <a:lnTo>
                    <a:pt x="89302" y="17928"/>
                  </a:lnTo>
                  <a:cubicBezTo>
                    <a:pt x="89302" y="11578"/>
                    <a:pt x="89302" y="5228"/>
                    <a:pt x="89302" y="-1122"/>
                  </a:cubicBezTo>
                  <a:cubicBezTo>
                    <a:pt x="59457" y="-486"/>
                    <a:pt x="29612" y="-486"/>
                    <a:pt x="-868" y="-1122"/>
                  </a:cubicBezTo>
                  <a:lnTo>
                    <a:pt x="-868" y="-1122"/>
                  </a:lnTo>
                  <a:lnTo>
                    <a:pt x="-868" y="-1122"/>
                  </a:lnTo>
                  <a:cubicBezTo>
                    <a:pt x="-233" y="35073"/>
                    <a:pt x="-233" y="71268"/>
                    <a:pt x="-868" y="106828"/>
                  </a:cubicBezTo>
                  <a:cubicBezTo>
                    <a:pt x="29612" y="106193"/>
                    <a:pt x="60092" y="106193"/>
                    <a:pt x="90572" y="106828"/>
                  </a:cubicBezTo>
                  <a:lnTo>
                    <a:pt x="90572" y="106828"/>
                  </a:lnTo>
                  <a:lnTo>
                    <a:pt x="90572" y="106828"/>
                  </a:lnTo>
                  <a:cubicBezTo>
                    <a:pt x="90572" y="100478"/>
                    <a:pt x="90572" y="94128"/>
                    <a:pt x="90572" y="87778"/>
                  </a:cubicBezTo>
                  <a:cubicBezTo>
                    <a:pt x="67077" y="88414"/>
                    <a:pt x="43582" y="88414"/>
                    <a:pt x="19452" y="88414"/>
                  </a:cubicBezTo>
                </a:path>
              </a:pathLst>
            </a:custGeom>
            <a:solidFill>
              <a:srgbClr val="FFFFFF"/>
            </a:solidFill>
            <a:ln w="6350" cap="flat">
              <a:noFill/>
              <a:prstDash val="solid"/>
              <a:miter/>
            </a:ln>
          </p:spPr>
          <p:txBody>
            <a:bodyPr rtlCol="0" anchor="ctr"/>
            <a:lstStyle/>
            <a:p>
              <a:endParaRPr lang="en-GB"/>
            </a:p>
          </p:txBody>
        </p:sp>
        <p:sp>
          <p:nvSpPr>
            <p:cNvPr id="74" name="Freeform 73"/>
            <p:cNvSpPr/>
            <p:nvPr/>
          </p:nvSpPr>
          <p:spPr>
            <a:xfrm>
              <a:off x="-9239884" y="3585844"/>
              <a:ext cx="99694" cy="108585"/>
            </a:xfrm>
            <a:custGeom>
              <a:avLst/>
              <a:gdLst>
                <a:gd name="connsiteX0" fmla="*/ -868 w 99694"/>
                <a:gd name="connsiteY0" fmla="*/ -1122 h 108585"/>
                <a:gd name="connsiteX1" fmla="*/ -868 w 99694"/>
                <a:gd name="connsiteY1" fmla="*/ -1122 h 108585"/>
                <a:gd name="connsiteX2" fmla="*/ -868 w 99694"/>
                <a:gd name="connsiteY2" fmla="*/ -1122 h 108585"/>
                <a:gd name="connsiteX3" fmla="*/ -868 w 99694"/>
                <a:gd name="connsiteY3" fmla="*/ 17928 h 108585"/>
                <a:gd name="connsiteX4" fmla="*/ 38502 w 99694"/>
                <a:gd name="connsiteY4" fmla="*/ 17928 h 108585"/>
                <a:gd name="connsiteX5" fmla="*/ 38502 w 99694"/>
                <a:gd name="connsiteY5" fmla="*/ 107464 h 108585"/>
                <a:gd name="connsiteX6" fmla="*/ 59457 w 99694"/>
                <a:gd name="connsiteY6" fmla="*/ 107464 h 108585"/>
                <a:gd name="connsiteX7" fmla="*/ 59457 w 99694"/>
                <a:gd name="connsiteY7" fmla="*/ 107464 h 108585"/>
                <a:gd name="connsiteX8" fmla="*/ 59457 w 99694"/>
                <a:gd name="connsiteY8" fmla="*/ 107464 h 108585"/>
                <a:gd name="connsiteX9" fmla="*/ 59457 w 99694"/>
                <a:gd name="connsiteY9" fmla="*/ 17928 h 108585"/>
                <a:gd name="connsiteX10" fmla="*/ 98827 w 99694"/>
                <a:gd name="connsiteY10" fmla="*/ 17928 h 108585"/>
                <a:gd name="connsiteX11" fmla="*/ 98827 w 99694"/>
                <a:gd name="connsiteY11" fmla="*/ 17928 h 108585"/>
                <a:gd name="connsiteX12" fmla="*/ 98827 w 99694"/>
                <a:gd name="connsiteY12" fmla="*/ 17928 h 108585"/>
                <a:gd name="connsiteX13" fmla="*/ 98827 w 99694"/>
                <a:gd name="connsiteY13" fmla="*/ -1122 h 108585"/>
                <a:gd name="connsiteX14" fmla="*/ -868 w 99694"/>
                <a:gd name="connsiteY14" fmla="*/ -1122 h 10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694" h="108585">
                  <a:moveTo>
                    <a:pt x="-868" y="-1122"/>
                  </a:moveTo>
                  <a:lnTo>
                    <a:pt x="-868" y="-1122"/>
                  </a:lnTo>
                  <a:lnTo>
                    <a:pt x="-868" y="-1122"/>
                  </a:lnTo>
                  <a:cubicBezTo>
                    <a:pt x="-868" y="5228"/>
                    <a:pt x="-868" y="11578"/>
                    <a:pt x="-868" y="17928"/>
                  </a:cubicBezTo>
                  <a:cubicBezTo>
                    <a:pt x="12467" y="17293"/>
                    <a:pt x="25802" y="17293"/>
                    <a:pt x="38502" y="17928"/>
                  </a:cubicBezTo>
                  <a:cubicBezTo>
                    <a:pt x="39137" y="47773"/>
                    <a:pt x="39137" y="77618"/>
                    <a:pt x="38502" y="107464"/>
                  </a:cubicBezTo>
                  <a:cubicBezTo>
                    <a:pt x="45487" y="107464"/>
                    <a:pt x="52472" y="107464"/>
                    <a:pt x="59457" y="107464"/>
                  </a:cubicBezTo>
                  <a:lnTo>
                    <a:pt x="59457" y="107464"/>
                  </a:lnTo>
                  <a:lnTo>
                    <a:pt x="59457" y="107464"/>
                  </a:lnTo>
                  <a:cubicBezTo>
                    <a:pt x="58822" y="77618"/>
                    <a:pt x="58822" y="47773"/>
                    <a:pt x="59457" y="17928"/>
                  </a:cubicBezTo>
                  <a:cubicBezTo>
                    <a:pt x="72792" y="17293"/>
                    <a:pt x="85492" y="17293"/>
                    <a:pt x="98827" y="17928"/>
                  </a:cubicBezTo>
                  <a:lnTo>
                    <a:pt x="98827" y="17928"/>
                  </a:lnTo>
                  <a:lnTo>
                    <a:pt x="98827" y="17928"/>
                  </a:lnTo>
                  <a:cubicBezTo>
                    <a:pt x="98827" y="11578"/>
                    <a:pt x="98827" y="5228"/>
                    <a:pt x="98827" y="-1122"/>
                  </a:cubicBezTo>
                  <a:cubicBezTo>
                    <a:pt x="65172" y="-486"/>
                    <a:pt x="32152" y="-486"/>
                    <a:pt x="-868" y="-1122"/>
                  </a:cubicBezTo>
                </a:path>
              </a:pathLst>
            </a:custGeom>
            <a:solidFill>
              <a:srgbClr val="FFFFFF"/>
            </a:solidFill>
            <a:ln w="6350" cap="flat">
              <a:noFill/>
              <a:prstDash val="solid"/>
              <a:miter/>
            </a:ln>
          </p:spPr>
          <p:txBody>
            <a:bodyPr rtlCol="0" anchor="ctr"/>
            <a:lstStyle/>
            <a:p>
              <a:endParaRPr lang="en-GB"/>
            </a:p>
          </p:txBody>
        </p:sp>
        <p:sp>
          <p:nvSpPr>
            <p:cNvPr id="75" name="Freeform 74"/>
            <p:cNvSpPr/>
            <p:nvPr/>
          </p:nvSpPr>
          <p:spPr>
            <a:xfrm>
              <a:off x="-9273540" y="3244163"/>
              <a:ext cx="164465" cy="158820"/>
            </a:xfrm>
            <a:custGeom>
              <a:avLst/>
              <a:gdLst>
                <a:gd name="connsiteX0" fmla="*/ 138832 w 164465"/>
                <a:gd name="connsiteY0" fmla="*/ 75130 h 158820"/>
                <a:gd name="connsiteX1" fmla="*/ 136927 w 164465"/>
                <a:gd name="connsiteY1" fmla="*/ 73225 h 158820"/>
                <a:gd name="connsiteX2" fmla="*/ 139467 w 164465"/>
                <a:gd name="connsiteY2" fmla="*/ 70685 h 158820"/>
                <a:gd name="connsiteX3" fmla="*/ 158517 w 164465"/>
                <a:gd name="connsiteY3" fmla="*/ 40205 h 158820"/>
                <a:gd name="connsiteX4" fmla="*/ 78507 w 164465"/>
                <a:gd name="connsiteY4" fmla="*/ -1070 h 158820"/>
                <a:gd name="connsiteX5" fmla="*/ 7387 w 164465"/>
                <a:gd name="connsiteY5" fmla="*/ 21790 h 158820"/>
                <a:gd name="connsiteX6" fmla="*/ -868 w 164465"/>
                <a:gd name="connsiteY6" fmla="*/ 31315 h 158820"/>
                <a:gd name="connsiteX7" fmla="*/ 2307 w 164465"/>
                <a:gd name="connsiteY7" fmla="*/ 35760 h 158820"/>
                <a:gd name="connsiteX8" fmla="*/ 9292 w 164465"/>
                <a:gd name="connsiteY8" fmla="*/ 42745 h 158820"/>
                <a:gd name="connsiteX9" fmla="*/ 9292 w 164465"/>
                <a:gd name="connsiteY9" fmla="*/ 117040 h 158820"/>
                <a:gd name="connsiteX10" fmla="*/ 2942 w 164465"/>
                <a:gd name="connsiteY10" fmla="*/ 124025 h 158820"/>
                <a:gd name="connsiteX11" fmla="*/ -233 w 164465"/>
                <a:gd name="connsiteY11" fmla="*/ 128470 h 158820"/>
                <a:gd name="connsiteX12" fmla="*/ 9292 w 164465"/>
                <a:gd name="connsiteY12" fmla="*/ 136725 h 158820"/>
                <a:gd name="connsiteX13" fmla="*/ 82317 w 164465"/>
                <a:gd name="connsiteY13" fmla="*/ 157680 h 158820"/>
                <a:gd name="connsiteX14" fmla="*/ 163597 w 164465"/>
                <a:gd name="connsiteY14" fmla="*/ 111325 h 158820"/>
                <a:gd name="connsiteX15" fmla="*/ 138832 w 164465"/>
                <a:gd name="connsiteY15" fmla="*/ 75130 h 158820"/>
                <a:gd name="connsiteX16" fmla="*/ 80412 w 164465"/>
                <a:gd name="connsiteY16" fmla="*/ 9725 h 158820"/>
                <a:gd name="connsiteX17" fmla="*/ 115972 w 164465"/>
                <a:gd name="connsiteY17" fmla="*/ 40205 h 158820"/>
                <a:gd name="connsiteX18" fmla="*/ 82317 w 164465"/>
                <a:gd name="connsiteY18" fmla="*/ 71320 h 158820"/>
                <a:gd name="connsiteX19" fmla="*/ 48027 w 164465"/>
                <a:gd name="connsiteY19" fmla="*/ 40840 h 158820"/>
                <a:gd name="connsiteX20" fmla="*/ 80412 w 164465"/>
                <a:gd name="connsiteY20" fmla="*/ 9725 h 158820"/>
                <a:gd name="connsiteX21" fmla="*/ 84222 w 164465"/>
                <a:gd name="connsiteY21" fmla="*/ 146885 h 158820"/>
                <a:gd name="connsiteX22" fmla="*/ 47392 w 164465"/>
                <a:gd name="connsiteY22" fmla="*/ 113230 h 158820"/>
                <a:gd name="connsiteX23" fmla="*/ 82317 w 164465"/>
                <a:gd name="connsiteY23" fmla="*/ 79575 h 158820"/>
                <a:gd name="connsiteX24" fmla="*/ 120417 w 164465"/>
                <a:gd name="connsiteY24" fmla="*/ 112595 h 158820"/>
                <a:gd name="connsiteX25" fmla="*/ 84222 w 164465"/>
                <a:gd name="connsiteY25" fmla="*/ 146885 h 158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4465" h="158820">
                  <a:moveTo>
                    <a:pt x="138832" y="75130"/>
                  </a:moveTo>
                  <a:cubicBezTo>
                    <a:pt x="138197" y="74495"/>
                    <a:pt x="137562" y="74495"/>
                    <a:pt x="136927" y="73225"/>
                  </a:cubicBezTo>
                  <a:cubicBezTo>
                    <a:pt x="136927" y="72590"/>
                    <a:pt x="137562" y="71955"/>
                    <a:pt x="139467" y="70685"/>
                  </a:cubicBezTo>
                  <a:cubicBezTo>
                    <a:pt x="147722" y="65605"/>
                    <a:pt x="159152" y="58620"/>
                    <a:pt x="158517" y="40205"/>
                  </a:cubicBezTo>
                  <a:cubicBezTo>
                    <a:pt x="157882" y="19885"/>
                    <a:pt x="133752" y="-2340"/>
                    <a:pt x="78507" y="-1070"/>
                  </a:cubicBezTo>
                  <a:cubicBezTo>
                    <a:pt x="50567" y="-435"/>
                    <a:pt x="23262" y="8455"/>
                    <a:pt x="7387" y="21790"/>
                  </a:cubicBezTo>
                  <a:cubicBezTo>
                    <a:pt x="4847" y="23695"/>
                    <a:pt x="-868" y="28775"/>
                    <a:pt x="-868" y="31315"/>
                  </a:cubicBezTo>
                  <a:cubicBezTo>
                    <a:pt x="-868" y="32585"/>
                    <a:pt x="402" y="33855"/>
                    <a:pt x="2307" y="35760"/>
                  </a:cubicBezTo>
                  <a:cubicBezTo>
                    <a:pt x="4847" y="38300"/>
                    <a:pt x="9292" y="42745"/>
                    <a:pt x="9292" y="42745"/>
                  </a:cubicBezTo>
                  <a:lnTo>
                    <a:pt x="9292" y="117040"/>
                  </a:lnTo>
                  <a:cubicBezTo>
                    <a:pt x="7387" y="118945"/>
                    <a:pt x="5482" y="120850"/>
                    <a:pt x="2942" y="124025"/>
                  </a:cubicBezTo>
                  <a:cubicBezTo>
                    <a:pt x="1672" y="125295"/>
                    <a:pt x="-233" y="126565"/>
                    <a:pt x="-233" y="128470"/>
                  </a:cubicBezTo>
                  <a:cubicBezTo>
                    <a:pt x="-233" y="130375"/>
                    <a:pt x="6752" y="134820"/>
                    <a:pt x="9292" y="136725"/>
                  </a:cubicBezTo>
                  <a:cubicBezTo>
                    <a:pt x="19452" y="144980"/>
                    <a:pt x="46122" y="156410"/>
                    <a:pt x="82317" y="157680"/>
                  </a:cubicBezTo>
                  <a:cubicBezTo>
                    <a:pt x="127402" y="158315"/>
                    <a:pt x="162962" y="142440"/>
                    <a:pt x="163597" y="111325"/>
                  </a:cubicBezTo>
                  <a:cubicBezTo>
                    <a:pt x="162962" y="92275"/>
                    <a:pt x="146452" y="80210"/>
                    <a:pt x="138832" y="75130"/>
                  </a:cubicBezTo>
                  <a:moveTo>
                    <a:pt x="80412" y="9725"/>
                  </a:moveTo>
                  <a:cubicBezTo>
                    <a:pt x="92477" y="9725"/>
                    <a:pt x="116607" y="10995"/>
                    <a:pt x="115972" y="40205"/>
                  </a:cubicBezTo>
                  <a:cubicBezTo>
                    <a:pt x="115337" y="64335"/>
                    <a:pt x="101367" y="71955"/>
                    <a:pt x="82317" y="71320"/>
                  </a:cubicBezTo>
                  <a:cubicBezTo>
                    <a:pt x="62632" y="70685"/>
                    <a:pt x="48662" y="64970"/>
                    <a:pt x="48027" y="40840"/>
                  </a:cubicBezTo>
                  <a:cubicBezTo>
                    <a:pt x="47392" y="14170"/>
                    <a:pt x="67712" y="9725"/>
                    <a:pt x="80412" y="9725"/>
                  </a:cubicBezTo>
                  <a:moveTo>
                    <a:pt x="84222" y="146885"/>
                  </a:moveTo>
                  <a:cubicBezTo>
                    <a:pt x="62632" y="146250"/>
                    <a:pt x="48662" y="139900"/>
                    <a:pt x="47392" y="113230"/>
                  </a:cubicBezTo>
                  <a:cubicBezTo>
                    <a:pt x="46122" y="85290"/>
                    <a:pt x="67712" y="79575"/>
                    <a:pt x="82317" y="79575"/>
                  </a:cubicBezTo>
                  <a:cubicBezTo>
                    <a:pt x="95017" y="79575"/>
                    <a:pt x="121052" y="80845"/>
                    <a:pt x="120417" y="112595"/>
                  </a:cubicBezTo>
                  <a:cubicBezTo>
                    <a:pt x="119782" y="139900"/>
                    <a:pt x="104542" y="147520"/>
                    <a:pt x="84222" y="146885"/>
                  </a:cubicBezTo>
                </a:path>
              </a:pathLst>
            </a:custGeom>
            <a:solidFill>
              <a:srgbClr val="FFFFFF"/>
            </a:solidFill>
            <a:ln w="6350" cap="flat">
              <a:noFill/>
              <a:prstDash val="solid"/>
              <a:miter/>
            </a:ln>
          </p:spPr>
          <p:txBody>
            <a:bodyPr rtlCol="0" anchor="ctr"/>
            <a:lstStyle/>
            <a:p>
              <a:endParaRPr lang="en-GB"/>
            </a:p>
          </p:txBody>
        </p:sp>
        <p:sp>
          <p:nvSpPr>
            <p:cNvPr id="76" name="Freeform 75"/>
            <p:cNvSpPr/>
            <p:nvPr/>
          </p:nvSpPr>
          <p:spPr>
            <a:xfrm>
              <a:off x="-9107170" y="3369944"/>
              <a:ext cx="99695" cy="96520"/>
            </a:xfrm>
            <a:custGeom>
              <a:avLst/>
              <a:gdLst>
                <a:gd name="connsiteX0" fmla="*/ 39137 w 99695"/>
                <a:gd name="connsiteY0" fmla="*/ 65553 h 96520"/>
                <a:gd name="connsiteX1" fmla="*/ -868 w 99695"/>
                <a:gd name="connsiteY1" fmla="*/ 88414 h 96520"/>
                <a:gd name="connsiteX2" fmla="*/ 1037 w 99695"/>
                <a:gd name="connsiteY2" fmla="*/ 91589 h 96520"/>
                <a:gd name="connsiteX3" fmla="*/ 2307 w 99695"/>
                <a:gd name="connsiteY3" fmla="*/ 95398 h 96520"/>
                <a:gd name="connsiteX4" fmla="*/ 43582 w 99695"/>
                <a:gd name="connsiteY4" fmla="*/ 71903 h 96520"/>
                <a:gd name="connsiteX5" fmla="*/ 98827 w 99695"/>
                <a:gd name="connsiteY5" fmla="*/ -1122 h 96520"/>
                <a:gd name="connsiteX6" fmla="*/ 90572 w 99695"/>
                <a:gd name="connsiteY6" fmla="*/ -486 h 96520"/>
                <a:gd name="connsiteX7" fmla="*/ 39137 w 99695"/>
                <a:gd name="connsiteY7" fmla="*/ 65553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695" h="96520">
                  <a:moveTo>
                    <a:pt x="39137" y="65553"/>
                  </a:moveTo>
                  <a:cubicBezTo>
                    <a:pt x="27072" y="74443"/>
                    <a:pt x="13737" y="82064"/>
                    <a:pt x="-868" y="88414"/>
                  </a:cubicBezTo>
                  <a:lnTo>
                    <a:pt x="1037" y="91589"/>
                  </a:lnTo>
                  <a:cubicBezTo>
                    <a:pt x="1037" y="91589"/>
                    <a:pt x="1672" y="92858"/>
                    <a:pt x="2307" y="95398"/>
                  </a:cubicBezTo>
                  <a:cubicBezTo>
                    <a:pt x="16912" y="89048"/>
                    <a:pt x="30882" y="80793"/>
                    <a:pt x="43582" y="71903"/>
                  </a:cubicBezTo>
                  <a:cubicBezTo>
                    <a:pt x="70252" y="52218"/>
                    <a:pt x="89302" y="26183"/>
                    <a:pt x="98827" y="-1122"/>
                  </a:cubicBezTo>
                  <a:cubicBezTo>
                    <a:pt x="96287" y="-486"/>
                    <a:pt x="93747" y="-486"/>
                    <a:pt x="90572" y="-486"/>
                  </a:cubicBezTo>
                  <a:cubicBezTo>
                    <a:pt x="81047" y="24278"/>
                    <a:pt x="63902" y="47139"/>
                    <a:pt x="39137" y="65553"/>
                  </a:cubicBezTo>
                </a:path>
              </a:pathLst>
            </a:custGeom>
            <a:solidFill>
              <a:srgbClr val="FFFFFF"/>
            </a:solidFill>
            <a:ln w="6350" cap="flat">
              <a:noFill/>
              <a:prstDash val="solid"/>
              <a:miter/>
            </a:ln>
          </p:spPr>
          <p:txBody>
            <a:bodyPr rtlCol="0" anchor="ctr"/>
            <a:lstStyle/>
            <a:p>
              <a:endParaRPr lang="en-GB"/>
            </a:p>
          </p:txBody>
        </p:sp>
        <p:sp>
          <p:nvSpPr>
            <p:cNvPr id="77" name="Freeform 76"/>
            <p:cNvSpPr/>
            <p:nvPr/>
          </p:nvSpPr>
          <p:spPr>
            <a:xfrm>
              <a:off x="-9278620" y="3163569"/>
              <a:ext cx="174625" cy="22225"/>
            </a:xfrm>
            <a:custGeom>
              <a:avLst/>
              <a:gdLst>
                <a:gd name="connsiteX0" fmla="*/ 84857 w 174625"/>
                <a:gd name="connsiteY0" fmla="*/ 6498 h 22225"/>
                <a:gd name="connsiteX1" fmla="*/ 166137 w 174625"/>
                <a:gd name="connsiteY1" fmla="*/ 21103 h 22225"/>
                <a:gd name="connsiteX2" fmla="*/ 173757 w 174625"/>
                <a:gd name="connsiteY2" fmla="*/ 16023 h 22225"/>
                <a:gd name="connsiteX3" fmla="*/ 84857 w 174625"/>
                <a:gd name="connsiteY3" fmla="*/ -1122 h 22225"/>
                <a:gd name="connsiteX4" fmla="*/ -868 w 174625"/>
                <a:gd name="connsiteY4" fmla="*/ 14753 h 22225"/>
                <a:gd name="connsiteX5" fmla="*/ 7387 w 174625"/>
                <a:gd name="connsiteY5" fmla="*/ 19833 h 22225"/>
                <a:gd name="connsiteX6" fmla="*/ 84857 w 174625"/>
                <a:gd name="connsiteY6" fmla="*/ 649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625" h="22225">
                  <a:moveTo>
                    <a:pt x="84857" y="6498"/>
                  </a:moveTo>
                  <a:cubicBezTo>
                    <a:pt x="113432" y="6498"/>
                    <a:pt x="141372" y="11578"/>
                    <a:pt x="166137" y="21103"/>
                  </a:cubicBezTo>
                  <a:cubicBezTo>
                    <a:pt x="168042" y="19198"/>
                    <a:pt x="171217" y="17293"/>
                    <a:pt x="173757" y="16023"/>
                  </a:cubicBezTo>
                  <a:cubicBezTo>
                    <a:pt x="146452" y="4593"/>
                    <a:pt x="115972" y="-1122"/>
                    <a:pt x="84857" y="-1122"/>
                  </a:cubicBezTo>
                  <a:cubicBezTo>
                    <a:pt x="53742" y="-1122"/>
                    <a:pt x="25167" y="4593"/>
                    <a:pt x="-868" y="14753"/>
                  </a:cubicBezTo>
                  <a:cubicBezTo>
                    <a:pt x="1672" y="16023"/>
                    <a:pt x="4847" y="17293"/>
                    <a:pt x="7387" y="19833"/>
                  </a:cubicBezTo>
                  <a:cubicBezTo>
                    <a:pt x="30882" y="11578"/>
                    <a:pt x="57552" y="6498"/>
                    <a:pt x="84857" y="6498"/>
                  </a:cubicBezTo>
                </a:path>
              </a:pathLst>
            </a:custGeom>
            <a:solidFill>
              <a:srgbClr val="FFFFFF"/>
            </a:solidFill>
            <a:ln w="6350" cap="flat">
              <a:noFill/>
              <a:prstDash val="solid"/>
              <a:miter/>
            </a:ln>
          </p:spPr>
          <p:txBody>
            <a:bodyPr rtlCol="0" anchor="ctr"/>
            <a:lstStyle/>
            <a:p>
              <a:endParaRPr lang="en-GB"/>
            </a:p>
          </p:txBody>
        </p:sp>
        <p:sp>
          <p:nvSpPr>
            <p:cNvPr id="78" name="Freeform 77"/>
            <p:cNvSpPr/>
            <p:nvPr/>
          </p:nvSpPr>
          <p:spPr>
            <a:xfrm>
              <a:off x="-9381490" y="3366769"/>
              <a:ext cx="105410" cy="102870"/>
            </a:xfrm>
            <a:custGeom>
              <a:avLst/>
              <a:gdLst>
                <a:gd name="connsiteX0" fmla="*/ 8022 w 105410"/>
                <a:gd name="connsiteY0" fmla="*/ 783 h 102870"/>
                <a:gd name="connsiteX1" fmla="*/ -868 w 105410"/>
                <a:gd name="connsiteY1" fmla="*/ -1122 h 102870"/>
                <a:gd name="connsiteX2" fmla="*/ 55012 w 105410"/>
                <a:gd name="connsiteY2" fmla="*/ 75078 h 102870"/>
                <a:gd name="connsiteX3" fmla="*/ 102002 w 105410"/>
                <a:gd name="connsiteY3" fmla="*/ 101748 h 102870"/>
                <a:gd name="connsiteX4" fmla="*/ 103907 w 105410"/>
                <a:gd name="connsiteY4" fmla="*/ 95398 h 102870"/>
                <a:gd name="connsiteX5" fmla="*/ 104542 w 105410"/>
                <a:gd name="connsiteY5" fmla="*/ 94764 h 102870"/>
                <a:gd name="connsiteX6" fmla="*/ 60092 w 105410"/>
                <a:gd name="connsiteY6" fmla="*/ 69364 h 102870"/>
                <a:gd name="connsiteX7" fmla="*/ 8022 w 105410"/>
                <a:gd name="connsiteY7" fmla="*/ 783 h 10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410" h="102870">
                  <a:moveTo>
                    <a:pt x="8022" y="783"/>
                  </a:moveTo>
                  <a:cubicBezTo>
                    <a:pt x="3577" y="783"/>
                    <a:pt x="1037" y="-486"/>
                    <a:pt x="-868" y="-1122"/>
                  </a:cubicBezTo>
                  <a:cubicBezTo>
                    <a:pt x="8657" y="28089"/>
                    <a:pt x="27707" y="54758"/>
                    <a:pt x="55012" y="75078"/>
                  </a:cubicBezTo>
                  <a:cubicBezTo>
                    <a:pt x="68982" y="85873"/>
                    <a:pt x="84857" y="94764"/>
                    <a:pt x="102002" y="101748"/>
                  </a:cubicBezTo>
                  <a:cubicBezTo>
                    <a:pt x="102002" y="99843"/>
                    <a:pt x="102637" y="97939"/>
                    <a:pt x="103907" y="95398"/>
                  </a:cubicBezTo>
                  <a:cubicBezTo>
                    <a:pt x="103907" y="95398"/>
                    <a:pt x="104542" y="94764"/>
                    <a:pt x="104542" y="94764"/>
                  </a:cubicBezTo>
                  <a:cubicBezTo>
                    <a:pt x="88667" y="88414"/>
                    <a:pt x="73427" y="79523"/>
                    <a:pt x="60092" y="69364"/>
                  </a:cubicBezTo>
                  <a:cubicBezTo>
                    <a:pt x="35327" y="50314"/>
                    <a:pt x="17547" y="26818"/>
                    <a:pt x="8022" y="783"/>
                  </a:cubicBezTo>
                </a:path>
              </a:pathLst>
            </a:custGeom>
            <a:solidFill>
              <a:srgbClr val="FFFFFF"/>
            </a:solidFill>
            <a:ln w="6350" cap="flat">
              <a:noFill/>
              <a:prstDash val="solid"/>
              <a:miter/>
            </a:ln>
          </p:spPr>
          <p:txBody>
            <a:bodyPr rtlCol="0" anchor="ctr"/>
            <a:lstStyle/>
            <a:p>
              <a:endParaRPr lang="en-GB"/>
            </a:p>
          </p:txBody>
        </p:sp>
        <p:sp>
          <p:nvSpPr>
            <p:cNvPr id="79" name="Freeform 78"/>
            <p:cNvSpPr/>
            <p:nvPr/>
          </p:nvSpPr>
          <p:spPr>
            <a:xfrm>
              <a:off x="-9126220" y="3364230"/>
              <a:ext cx="102235" cy="91439"/>
            </a:xfrm>
            <a:custGeom>
              <a:avLst/>
              <a:gdLst>
                <a:gd name="connsiteX0" fmla="*/ 101367 w 102235"/>
                <a:gd name="connsiteY0" fmla="*/ 3958 h 91439"/>
                <a:gd name="connsiteX1" fmla="*/ 86762 w 102235"/>
                <a:gd name="connsiteY1" fmla="*/ -1122 h 91439"/>
                <a:gd name="connsiteX2" fmla="*/ 85492 w 102235"/>
                <a:gd name="connsiteY2" fmla="*/ 2688 h 91439"/>
                <a:gd name="connsiteX3" fmla="*/ 72157 w 102235"/>
                <a:gd name="connsiteY3" fmla="*/ 9038 h 91439"/>
                <a:gd name="connsiteX4" fmla="*/ 69617 w 102235"/>
                <a:gd name="connsiteY4" fmla="*/ 9038 h 91439"/>
                <a:gd name="connsiteX5" fmla="*/ 63902 w 102235"/>
                <a:gd name="connsiteY5" fmla="*/ 7767 h 91439"/>
                <a:gd name="connsiteX6" fmla="*/ 61362 w 102235"/>
                <a:gd name="connsiteY6" fmla="*/ 7133 h 91439"/>
                <a:gd name="connsiteX7" fmla="*/ -868 w 102235"/>
                <a:gd name="connsiteY7" fmla="*/ 59203 h 91439"/>
                <a:gd name="connsiteX8" fmla="*/ -233 w 102235"/>
                <a:gd name="connsiteY8" fmla="*/ 63013 h 91439"/>
                <a:gd name="connsiteX9" fmla="*/ 15642 w 102235"/>
                <a:gd name="connsiteY9" fmla="*/ 90317 h 91439"/>
                <a:gd name="connsiteX10" fmla="*/ 53742 w 102235"/>
                <a:gd name="connsiteY10" fmla="*/ 67458 h 91439"/>
                <a:gd name="connsiteX11" fmla="*/ 101367 w 102235"/>
                <a:gd name="connsiteY11" fmla="*/ 3958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91439">
                  <a:moveTo>
                    <a:pt x="101367" y="3958"/>
                  </a:moveTo>
                  <a:cubicBezTo>
                    <a:pt x="96287" y="3323"/>
                    <a:pt x="91207" y="1417"/>
                    <a:pt x="86762" y="-1122"/>
                  </a:cubicBezTo>
                  <a:cubicBezTo>
                    <a:pt x="86127" y="148"/>
                    <a:pt x="86127" y="1417"/>
                    <a:pt x="85492" y="2688"/>
                  </a:cubicBezTo>
                  <a:cubicBezTo>
                    <a:pt x="82952" y="7767"/>
                    <a:pt x="77237" y="9038"/>
                    <a:pt x="72157" y="9038"/>
                  </a:cubicBezTo>
                  <a:cubicBezTo>
                    <a:pt x="71522" y="9038"/>
                    <a:pt x="70252" y="9038"/>
                    <a:pt x="69617" y="9038"/>
                  </a:cubicBezTo>
                  <a:cubicBezTo>
                    <a:pt x="67712" y="9038"/>
                    <a:pt x="65807" y="8403"/>
                    <a:pt x="63902" y="7767"/>
                  </a:cubicBezTo>
                  <a:cubicBezTo>
                    <a:pt x="63267" y="7767"/>
                    <a:pt x="62632" y="7133"/>
                    <a:pt x="61362" y="7133"/>
                  </a:cubicBezTo>
                  <a:cubicBezTo>
                    <a:pt x="48662" y="29358"/>
                    <a:pt x="26437" y="47773"/>
                    <a:pt x="-868" y="59203"/>
                  </a:cubicBezTo>
                  <a:cubicBezTo>
                    <a:pt x="-868" y="60473"/>
                    <a:pt x="-868" y="61742"/>
                    <a:pt x="-233" y="63013"/>
                  </a:cubicBezTo>
                  <a:lnTo>
                    <a:pt x="15642" y="90317"/>
                  </a:lnTo>
                  <a:cubicBezTo>
                    <a:pt x="29612" y="83967"/>
                    <a:pt x="42312" y="76348"/>
                    <a:pt x="53742" y="67458"/>
                  </a:cubicBezTo>
                  <a:cubicBezTo>
                    <a:pt x="75967" y="49678"/>
                    <a:pt x="92477" y="27453"/>
                    <a:pt x="101367" y="3958"/>
                  </a:cubicBezTo>
                </a:path>
              </a:pathLst>
            </a:custGeom>
            <a:solidFill>
              <a:srgbClr val="FFFFFF"/>
            </a:solidFill>
            <a:ln w="6350" cap="flat">
              <a:noFill/>
              <a:prstDash val="solid"/>
              <a:miter/>
            </a:ln>
          </p:spPr>
          <p:txBody>
            <a:bodyPr rtlCol="0" anchor="ctr"/>
            <a:lstStyle/>
            <a:p>
              <a:endParaRPr lang="en-GB"/>
            </a:p>
          </p:txBody>
        </p:sp>
        <p:sp>
          <p:nvSpPr>
            <p:cNvPr id="80" name="Freeform 79"/>
            <p:cNvSpPr/>
            <p:nvPr/>
          </p:nvSpPr>
          <p:spPr>
            <a:xfrm>
              <a:off x="-9307162" y="3178175"/>
              <a:ext cx="230440" cy="80009"/>
            </a:xfrm>
            <a:custGeom>
              <a:avLst/>
              <a:gdLst>
                <a:gd name="connsiteX0" fmla="*/ 30849 w 230440"/>
                <a:gd name="connsiteY0" fmla="*/ 38248 h 80009"/>
                <a:gd name="connsiteX1" fmla="*/ 20054 w 230440"/>
                <a:gd name="connsiteY1" fmla="*/ 49043 h 80009"/>
                <a:gd name="connsiteX2" fmla="*/ 13070 w 230440"/>
                <a:gd name="connsiteY2" fmla="*/ 55393 h 80009"/>
                <a:gd name="connsiteX3" fmla="*/ 11799 w 230440"/>
                <a:gd name="connsiteY3" fmla="*/ 56663 h 80009"/>
                <a:gd name="connsiteX4" fmla="*/ -265 w 230440"/>
                <a:gd name="connsiteY4" fmla="*/ 76983 h 80009"/>
                <a:gd name="connsiteX5" fmla="*/ 370 w 230440"/>
                <a:gd name="connsiteY5" fmla="*/ 77618 h 80009"/>
                <a:gd name="connsiteX6" fmla="*/ 1004 w 230440"/>
                <a:gd name="connsiteY6" fmla="*/ 78888 h 80009"/>
                <a:gd name="connsiteX7" fmla="*/ 114035 w 230440"/>
                <a:gd name="connsiteY7" fmla="*/ 35708 h 80009"/>
                <a:gd name="connsiteX8" fmla="*/ 227699 w 230440"/>
                <a:gd name="connsiteY8" fmla="*/ 78888 h 80009"/>
                <a:gd name="connsiteX9" fmla="*/ 228335 w 230440"/>
                <a:gd name="connsiteY9" fmla="*/ 77618 h 80009"/>
                <a:gd name="connsiteX10" fmla="*/ 228970 w 230440"/>
                <a:gd name="connsiteY10" fmla="*/ 76983 h 80009"/>
                <a:gd name="connsiteX11" fmla="*/ 216904 w 230440"/>
                <a:gd name="connsiteY11" fmla="*/ 56663 h 80009"/>
                <a:gd name="connsiteX12" fmla="*/ 215635 w 230440"/>
                <a:gd name="connsiteY12" fmla="*/ 55393 h 80009"/>
                <a:gd name="connsiteX13" fmla="*/ 208649 w 230440"/>
                <a:gd name="connsiteY13" fmla="*/ 49043 h 80009"/>
                <a:gd name="connsiteX14" fmla="*/ 197854 w 230440"/>
                <a:gd name="connsiteY14" fmla="*/ 38248 h 80009"/>
                <a:gd name="connsiteX15" fmla="*/ 197220 w 230440"/>
                <a:gd name="connsiteY15" fmla="*/ 36978 h 80009"/>
                <a:gd name="connsiteX16" fmla="*/ 188329 w 230440"/>
                <a:gd name="connsiteY16" fmla="*/ 17928 h 80009"/>
                <a:gd name="connsiteX17" fmla="*/ 189599 w 230440"/>
                <a:gd name="connsiteY17" fmla="*/ 12848 h 80009"/>
                <a:gd name="connsiteX18" fmla="*/ 112129 w 230440"/>
                <a:gd name="connsiteY18" fmla="*/ -1122 h 80009"/>
                <a:gd name="connsiteX19" fmla="*/ 39104 w 230440"/>
                <a:gd name="connsiteY19" fmla="*/ 10943 h 80009"/>
                <a:gd name="connsiteX20" fmla="*/ 41010 w 230440"/>
                <a:gd name="connsiteY20" fmla="*/ 17928 h 80009"/>
                <a:gd name="connsiteX21" fmla="*/ 32120 w 230440"/>
                <a:gd name="connsiteY21" fmla="*/ 36978 h 80009"/>
                <a:gd name="connsiteX22" fmla="*/ 30849 w 230440"/>
                <a:gd name="connsiteY22" fmla="*/ 38248 h 80009"/>
                <a:gd name="connsiteX23" fmla="*/ 30849 w 230440"/>
                <a:gd name="connsiteY23" fmla="*/ 38248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0440" h="80009">
                  <a:moveTo>
                    <a:pt x="30849" y="38248"/>
                  </a:moveTo>
                  <a:cubicBezTo>
                    <a:pt x="27674" y="42058"/>
                    <a:pt x="23865" y="45868"/>
                    <a:pt x="20054" y="49043"/>
                  </a:cubicBezTo>
                  <a:cubicBezTo>
                    <a:pt x="17515" y="50948"/>
                    <a:pt x="15610" y="53488"/>
                    <a:pt x="13070" y="55393"/>
                  </a:cubicBezTo>
                  <a:cubicBezTo>
                    <a:pt x="12435" y="56028"/>
                    <a:pt x="12435" y="56028"/>
                    <a:pt x="11799" y="56663"/>
                  </a:cubicBezTo>
                  <a:cubicBezTo>
                    <a:pt x="6720" y="61743"/>
                    <a:pt x="-3440" y="71268"/>
                    <a:pt x="-265" y="76983"/>
                  </a:cubicBezTo>
                  <a:cubicBezTo>
                    <a:pt x="-265" y="76983"/>
                    <a:pt x="-265" y="77618"/>
                    <a:pt x="370" y="77618"/>
                  </a:cubicBezTo>
                  <a:cubicBezTo>
                    <a:pt x="370" y="78253"/>
                    <a:pt x="1004" y="78253"/>
                    <a:pt x="1004" y="78888"/>
                  </a:cubicBezTo>
                  <a:cubicBezTo>
                    <a:pt x="27040" y="52853"/>
                    <a:pt x="68315" y="35708"/>
                    <a:pt x="114035" y="35708"/>
                  </a:cubicBezTo>
                  <a:cubicBezTo>
                    <a:pt x="160390" y="35708"/>
                    <a:pt x="201665" y="52853"/>
                    <a:pt x="227699" y="78888"/>
                  </a:cubicBezTo>
                  <a:cubicBezTo>
                    <a:pt x="227699" y="78253"/>
                    <a:pt x="228335" y="78253"/>
                    <a:pt x="228335" y="77618"/>
                  </a:cubicBezTo>
                  <a:cubicBezTo>
                    <a:pt x="228335" y="77618"/>
                    <a:pt x="228335" y="76983"/>
                    <a:pt x="228970" y="76983"/>
                  </a:cubicBezTo>
                  <a:cubicBezTo>
                    <a:pt x="232145" y="71268"/>
                    <a:pt x="221985" y="61743"/>
                    <a:pt x="216904" y="56663"/>
                  </a:cubicBezTo>
                  <a:cubicBezTo>
                    <a:pt x="216270" y="56028"/>
                    <a:pt x="215635" y="55393"/>
                    <a:pt x="215635" y="55393"/>
                  </a:cubicBezTo>
                  <a:cubicBezTo>
                    <a:pt x="213729" y="53488"/>
                    <a:pt x="211190" y="50948"/>
                    <a:pt x="208649" y="49043"/>
                  </a:cubicBezTo>
                  <a:cubicBezTo>
                    <a:pt x="204840" y="45868"/>
                    <a:pt x="201029" y="42058"/>
                    <a:pt x="197854" y="38248"/>
                  </a:cubicBezTo>
                  <a:lnTo>
                    <a:pt x="197220" y="36978"/>
                  </a:lnTo>
                  <a:cubicBezTo>
                    <a:pt x="193410" y="32533"/>
                    <a:pt x="187695" y="26183"/>
                    <a:pt x="188329" y="17928"/>
                  </a:cubicBezTo>
                  <a:cubicBezTo>
                    <a:pt x="188329" y="16023"/>
                    <a:pt x="188965" y="14118"/>
                    <a:pt x="189599" y="12848"/>
                  </a:cubicBezTo>
                  <a:cubicBezTo>
                    <a:pt x="165470" y="3958"/>
                    <a:pt x="139435" y="-1122"/>
                    <a:pt x="112129" y="-1122"/>
                  </a:cubicBezTo>
                  <a:cubicBezTo>
                    <a:pt x="86729" y="-1122"/>
                    <a:pt x="61965" y="3323"/>
                    <a:pt x="39104" y="10943"/>
                  </a:cubicBezTo>
                  <a:cubicBezTo>
                    <a:pt x="40374" y="12848"/>
                    <a:pt x="41010" y="15388"/>
                    <a:pt x="41010" y="17928"/>
                  </a:cubicBezTo>
                  <a:cubicBezTo>
                    <a:pt x="41645" y="26183"/>
                    <a:pt x="35929" y="32533"/>
                    <a:pt x="32120" y="36978"/>
                  </a:cubicBezTo>
                  <a:lnTo>
                    <a:pt x="30849" y="38248"/>
                  </a:lnTo>
                  <a:lnTo>
                    <a:pt x="30849" y="38248"/>
                  </a:lnTo>
                  <a:close/>
                </a:path>
              </a:pathLst>
            </a:custGeom>
            <a:solidFill>
              <a:srgbClr val="FFFFFF"/>
            </a:solidFill>
            <a:ln w="6350" cap="flat">
              <a:noFill/>
              <a:prstDash val="solid"/>
              <a:miter/>
            </a:ln>
          </p:spPr>
          <p:txBody>
            <a:bodyPr rtlCol="0" anchor="ctr"/>
            <a:lstStyle/>
            <a:p>
              <a:endParaRPr lang="en-GB"/>
            </a:p>
          </p:txBody>
        </p:sp>
        <p:sp>
          <p:nvSpPr>
            <p:cNvPr id="81" name="Freeform 80"/>
            <p:cNvSpPr/>
            <p:nvPr/>
          </p:nvSpPr>
          <p:spPr>
            <a:xfrm>
              <a:off x="-9364345" y="3361055"/>
              <a:ext cx="110490" cy="94614"/>
            </a:xfrm>
            <a:custGeom>
              <a:avLst/>
              <a:gdLst>
                <a:gd name="connsiteX0" fmla="*/ 109622 w 110490"/>
                <a:gd name="connsiteY0" fmla="*/ 61108 h 94614"/>
                <a:gd name="connsiteX1" fmla="*/ 41677 w 110490"/>
                <a:gd name="connsiteY1" fmla="*/ 3958 h 94614"/>
                <a:gd name="connsiteX2" fmla="*/ 30882 w 110490"/>
                <a:gd name="connsiteY2" fmla="*/ 6498 h 94614"/>
                <a:gd name="connsiteX3" fmla="*/ 26437 w 110490"/>
                <a:gd name="connsiteY3" fmla="*/ 5863 h 94614"/>
                <a:gd name="connsiteX4" fmla="*/ 20087 w 110490"/>
                <a:gd name="connsiteY4" fmla="*/ 2688 h 94614"/>
                <a:gd name="connsiteX5" fmla="*/ 16912 w 110490"/>
                <a:gd name="connsiteY5" fmla="*/ -1122 h 94614"/>
                <a:gd name="connsiteX6" fmla="*/ 1037 w 110490"/>
                <a:gd name="connsiteY6" fmla="*/ 3958 h 94614"/>
                <a:gd name="connsiteX7" fmla="*/ -868 w 110490"/>
                <a:gd name="connsiteY7" fmla="*/ 4592 h 94614"/>
                <a:gd name="connsiteX8" fmla="*/ 47392 w 110490"/>
                <a:gd name="connsiteY8" fmla="*/ 68728 h 94614"/>
                <a:gd name="connsiteX9" fmla="*/ 90572 w 110490"/>
                <a:gd name="connsiteY9" fmla="*/ 93492 h 94614"/>
                <a:gd name="connsiteX10" fmla="*/ 108352 w 110490"/>
                <a:gd name="connsiteY10" fmla="*/ 64283 h 94614"/>
                <a:gd name="connsiteX11" fmla="*/ 109622 w 110490"/>
                <a:gd name="connsiteY11" fmla="*/ 61108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490" h="94614">
                  <a:moveTo>
                    <a:pt x="109622" y="61108"/>
                  </a:moveTo>
                  <a:cubicBezTo>
                    <a:pt x="79142" y="49042"/>
                    <a:pt x="55012" y="28723"/>
                    <a:pt x="41677" y="3958"/>
                  </a:cubicBezTo>
                  <a:cubicBezTo>
                    <a:pt x="37867" y="5863"/>
                    <a:pt x="34692" y="6498"/>
                    <a:pt x="30882" y="6498"/>
                  </a:cubicBezTo>
                  <a:cubicBezTo>
                    <a:pt x="29612" y="6498"/>
                    <a:pt x="27707" y="6498"/>
                    <a:pt x="26437" y="5863"/>
                  </a:cubicBezTo>
                  <a:cubicBezTo>
                    <a:pt x="23897" y="5228"/>
                    <a:pt x="21992" y="3958"/>
                    <a:pt x="20087" y="2688"/>
                  </a:cubicBezTo>
                  <a:cubicBezTo>
                    <a:pt x="20087" y="2688"/>
                    <a:pt x="17547" y="783"/>
                    <a:pt x="16912" y="-1122"/>
                  </a:cubicBezTo>
                  <a:cubicBezTo>
                    <a:pt x="9292" y="2053"/>
                    <a:pt x="5482" y="2688"/>
                    <a:pt x="1037" y="3958"/>
                  </a:cubicBezTo>
                  <a:cubicBezTo>
                    <a:pt x="402" y="3958"/>
                    <a:pt x="-233" y="3958"/>
                    <a:pt x="-868" y="4592"/>
                  </a:cubicBezTo>
                  <a:cubicBezTo>
                    <a:pt x="8022" y="28723"/>
                    <a:pt x="24532" y="50948"/>
                    <a:pt x="47392" y="68728"/>
                  </a:cubicBezTo>
                  <a:cubicBezTo>
                    <a:pt x="60092" y="78888"/>
                    <a:pt x="74697" y="87142"/>
                    <a:pt x="90572" y="93492"/>
                  </a:cubicBezTo>
                  <a:cubicBezTo>
                    <a:pt x="95652" y="85873"/>
                    <a:pt x="103272" y="73173"/>
                    <a:pt x="108352" y="64283"/>
                  </a:cubicBezTo>
                  <a:cubicBezTo>
                    <a:pt x="108352" y="63648"/>
                    <a:pt x="108987" y="62378"/>
                    <a:pt x="109622" y="61108"/>
                  </a:cubicBezTo>
                </a:path>
              </a:pathLst>
            </a:custGeom>
            <a:solidFill>
              <a:srgbClr val="FFFFFF"/>
            </a:solidFill>
            <a:ln w="6350" cap="flat">
              <a:noFill/>
              <a:prstDash val="solid"/>
              <a:miter/>
            </a:ln>
          </p:spPr>
          <p:txBody>
            <a:bodyPr rtlCol="0" anchor="ctr"/>
            <a:lstStyle/>
            <a:p>
              <a:endParaRPr lang="en-GB"/>
            </a:p>
          </p:txBody>
        </p:sp>
        <p:sp>
          <p:nvSpPr>
            <p:cNvPr id="82" name="Freeform 81"/>
            <p:cNvSpPr/>
            <p:nvPr/>
          </p:nvSpPr>
          <p:spPr>
            <a:xfrm>
              <a:off x="-9179559" y="3433444"/>
              <a:ext cx="19222" cy="52766"/>
            </a:xfrm>
            <a:custGeom>
              <a:avLst/>
              <a:gdLst>
                <a:gd name="connsiteX0" fmla="*/ 10562 w 19222"/>
                <a:gd name="connsiteY0" fmla="*/ 148 h 52766"/>
                <a:gd name="connsiteX1" fmla="*/ 9927 w 19222"/>
                <a:gd name="connsiteY1" fmla="*/ -1122 h 52766"/>
                <a:gd name="connsiteX2" fmla="*/ -233 w 19222"/>
                <a:gd name="connsiteY2" fmla="*/ 148 h 52766"/>
                <a:gd name="connsiteX3" fmla="*/ -868 w 19222"/>
                <a:gd name="connsiteY3" fmla="*/ 2053 h 52766"/>
                <a:gd name="connsiteX4" fmla="*/ 1037 w 19222"/>
                <a:gd name="connsiteY4" fmla="*/ 36978 h 52766"/>
                <a:gd name="connsiteX5" fmla="*/ 2307 w 19222"/>
                <a:gd name="connsiteY5" fmla="*/ 45868 h 52766"/>
                <a:gd name="connsiteX6" fmla="*/ 11197 w 19222"/>
                <a:gd name="connsiteY6" fmla="*/ 51583 h 52766"/>
                <a:gd name="connsiteX7" fmla="*/ 18182 w 19222"/>
                <a:gd name="connsiteY7" fmla="*/ 44598 h 52766"/>
                <a:gd name="connsiteX8" fmla="*/ 16912 w 19222"/>
                <a:gd name="connsiteY8" fmla="*/ 33803 h 52766"/>
                <a:gd name="connsiteX9" fmla="*/ 10562 w 19222"/>
                <a:gd name="connsiteY9" fmla="*/ 148 h 5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22" h="52766">
                  <a:moveTo>
                    <a:pt x="10562" y="148"/>
                  </a:moveTo>
                  <a:cubicBezTo>
                    <a:pt x="10562" y="-486"/>
                    <a:pt x="9927" y="-486"/>
                    <a:pt x="9927" y="-1122"/>
                  </a:cubicBezTo>
                  <a:cubicBezTo>
                    <a:pt x="6752" y="-486"/>
                    <a:pt x="3577" y="-486"/>
                    <a:pt x="-233" y="148"/>
                  </a:cubicBezTo>
                  <a:cubicBezTo>
                    <a:pt x="-233" y="783"/>
                    <a:pt x="-868" y="1418"/>
                    <a:pt x="-868" y="2053"/>
                  </a:cubicBezTo>
                  <a:cubicBezTo>
                    <a:pt x="-868" y="4593"/>
                    <a:pt x="402" y="27453"/>
                    <a:pt x="1037" y="36978"/>
                  </a:cubicBezTo>
                  <a:cubicBezTo>
                    <a:pt x="1037" y="40153"/>
                    <a:pt x="1037" y="43328"/>
                    <a:pt x="2307" y="45868"/>
                  </a:cubicBezTo>
                  <a:cubicBezTo>
                    <a:pt x="2942" y="47773"/>
                    <a:pt x="8657" y="52218"/>
                    <a:pt x="11197" y="51583"/>
                  </a:cubicBezTo>
                  <a:cubicBezTo>
                    <a:pt x="14372" y="50948"/>
                    <a:pt x="17547" y="47139"/>
                    <a:pt x="18182" y="44598"/>
                  </a:cubicBezTo>
                  <a:cubicBezTo>
                    <a:pt x="18817" y="41423"/>
                    <a:pt x="17547" y="36978"/>
                    <a:pt x="16912" y="33803"/>
                  </a:cubicBezTo>
                  <a:cubicBezTo>
                    <a:pt x="15642" y="24914"/>
                    <a:pt x="11832" y="2689"/>
                    <a:pt x="10562" y="148"/>
                  </a:cubicBezTo>
                </a:path>
              </a:pathLst>
            </a:custGeom>
            <a:solidFill>
              <a:srgbClr val="FFFFFF"/>
            </a:solidFill>
            <a:ln w="6350" cap="flat">
              <a:noFill/>
              <a:prstDash val="solid"/>
              <a:miter/>
            </a:ln>
          </p:spPr>
          <p:txBody>
            <a:bodyPr rtlCol="0" anchor="ctr"/>
            <a:lstStyle/>
            <a:p>
              <a:endParaRPr lang="en-GB"/>
            </a:p>
          </p:txBody>
        </p:sp>
        <p:sp>
          <p:nvSpPr>
            <p:cNvPr id="83" name="Freeform 82"/>
            <p:cNvSpPr/>
            <p:nvPr/>
          </p:nvSpPr>
          <p:spPr>
            <a:xfrm>
              <a:off x="-9159875" y="3430269"/>
              <a:ext cx="24765" cy="52787"/>
            </a:xfrm>
            <a:custGeom>
              <a:avLst/>
              <a:gdLst>
                <a:gd name="connsiteX0" fmla="*/ 9292 w 24765"/>
                <a:gd name="connsiteY0" fmla="*/ -1122 h 52787"/>
                <a:gd name="connsiteX1" fmla="*/ 9292 w 24765"/>
                <a:gd name="connsiteY1" fmla="*/ -1122 h 52787"/>
                <a:gd name="connsiteX2" fmla="*/ -868 w 24765"/>
                <a:gd name="connsiteY2" fmla="*/ 783 h 52787"/>
                <a:gd name="connsiteX3" fmla="*/ -868 w 24765"/>
                <a:gd name="connsiteY3" fmla="*/ 2689 h 52787"/>
                <a:gd name="connsiteX4" fmla="*/ 6752 w 24765"/>
                <a:gd name="connsiteY4" fmla="*/ 38248 h 52787"/>
                <a:gd name="connsiteX5" fmla="*/ 9292 w 24765"/>
                <a:gd name="connsiteY5" fmla="*/ 47139 h 52787"/>
                <a:gd name="connsiteX6" fmla="*/ 18817 w 24765"/>
                <a:gd name="connsiteY6" fmla="*/ 51583 h 52787"/>
                <a:gd name="connsiteX7" fmla="*/ 23897 w 24765"/>
                <a:gd name="connsiteY7" fmla="*/ 43328 h 52787"/>
                <a:gd name="connsiteX8" fmla="*/ 21357 w 24765"/>
                <a:gd name="connsiteY8" fmla="*/ 32533 h 52787"/>
                <a:gd name="connsiteX9" fmla="*/ 9292 w 24765"/>
                <a:gd name="connsiteY9" fmla="*/ -1122 h 5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52787">
                  <a:moveTo>
                    <a:pt x="9292" y="-1122"/>
                  </a:moveTo>
                  <a:cubicBezTo>
                    <a:pt x="9292" y="-1122"/>
                    <a:pt x="9292" y="-1122"/>
                    <a:pt x="9292" y="-1122"/>
                  </a:cubicBezTo>
                  <a:cubicBezTo>
                    <a:pt x="6117" y="-486"/>
                    <a:pt x="2307" y="148"/>
                    <a:pt x="-868" y="783"/>
                  </a:cubicBezTo>
                  <a:cubicBezTo>
                    <a:pt x="-868" y="1418"/>
                    <a:pt x="-868" y="2053"/>
                    <a:pt x="-868" y="2689"/>
                  </a:cubicBezTo>
                  <a:cubicBezTo>
                    <a:pt x="-233" y="5228"/>
                    <a:pt x="4847" y="28089"/>
                    <a:pt x="6752" y="38248"/>
                  </a:cubicBezTo>
                  <a:cubicBezTo>
                    <a:pt x="7387" y="41423"/>
                    <a:pt x="8022" y="44598"/>
                    <a:pt x="9292" y="47139"/>
                  </a:cubicBezTo>
                  <a:cubicBezTo>
                    <a:pt x="10562" y="49043"/>
                    <a:pt x="16277" y="52218"/>
                    <a:pt x="18817" y="51583"/>
                  </a:cubicBezTo>
                  <a:cubicBezTo>
                    <a:pt x="21992" y="50314"/>
                    <a:pt x="23897" y="45868"/>
                    <a:pt x="23897" y="43328"/>
                  </a:cubicBezTo>
                  <a:cubicBezTo>
                    <a:pt x="23897" y="40153"/>
                    <a:pt x="22627" y="35708"/>
                    <a:pt x="21357" y="32533"/>
                  </a:cubicBezTo>
                  <a:cubicBezTo>
                    <a:pt x="18182" y="23643"/>
                    <a:pt x="11197" y="1418"/>
                    <a:pt x="9292" y="-1122"/>
                  </a:cubicBezTo>
                </a:path>
              </a:pathLst>
            </a:custGeom>
            <a:solidFill>
              <a:srgbClr val="FFFFFF"/>
            </a:solidFill>
            <a:ln w="6350" cap="flat">
              <a:noFill/>
              <a:prstDash val="solid"/>
              <a:miter/>
            </a:ln>
          </p:spPr>
          <p:txBody>
            <a:bodyPr rtlCol="0" anchor="ctr"/>
            <a:lstStyle/>
            <a:p>
              <a:endParaRPr lang="en-GB"/>
            </a:p>
          </p:txBody>
        </p:sp>
        <p:sp>
          <p:nvSpPr>
            <p:cNvPr id="84" name="Freeform 83"/>
            <p:cNvSpPr/>
            <p:nvPr/>
          </p:nvSpPr>
          <p:spPr>
            <a:xfrm>
              <a:off x="-9198257" y="3435984"/>
              <a:ext cx="16791" cy="53340"/>
            </a:xfrm>
            <a:custGeom>
              <a:avLst/>
              <a:gdLst>
                <a:gd name="connsiteX0" fmla="*/ 12114 w 16791"/>
                <a:gd name="connsiteY0" fmla="*/ 148 h 53340"/>
                <a:gd name="connsiteX1" fmla="*/ 11479 w 16791"/>
                <a:gd name="connsiteY1" fmla="*/ -1122 h 53340"/>
                <a:gd name="connsiteX2" fmla="*/ 7034 w 16791"/>
                <a:gd name="connsiteY2" fmla="*/ -1122 h 53340"/>
                <a:gd name="connsiteX3" fmla="*/ 1954 w 16791"/>
                <a:gd name="connsiteY3" fmla="*/ -1122 h 53340"/>
                <a:gd name="connsiteX4" fmla="*/ 1319 w 16791"/>
                <a:gd name="connsiteY4" fmla="*/ 783 h 53340"/>
                <a:gd name="connsiteX5" fmla="*/ -586 w 16791"/>
                <a:gd name="connsiteY5" fmla="*/ 35708 h 53340"/>
                <a:gd name="connsiteX6" fmla="*/ -586 w 16791"/>
                <a:gd name="connsiteY6" fmla="*/ 45233 h 53340"/>
                <a:gd name="connsiteX7" fmla="*/ 7669 w 16791"/>
                <a:gd name="connsiteY7" fmla="*/ 52218 h 53340"/>
                <a:gd name="connsiteX8" fmla="*/ 15289 w 16791"/>
                <a:gd name="connsiteY8" fmla="*/ 45868 h 53340"/>
                <a:gd name="connsiteX9" fmla="*/ 15924 w 16791"/>
                <a:gd name="connsiteY9" fmla="*/ 35073 h 53340"/>
                <a:gd name="connsiteX10" fmla="*/ 12114 w 16791"/>
                <a:gd name="connsiteY10" fmla="*/ 148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91" h="53340">
                  <a:moveTo>
                    <a:pt x="12114" y="148"/>
                  </a:moveTo>
                  <a:cubicBezTo>
                    <a:pt x="12114" y="-487"/>
                    <a:pt x="11479" y="-1122"/>
                    <a:pt x="11479" y="-1122"/>
                  </a:cubicBezTo>
                  <a:cubicBezTo>
                    <a:pt x="10209" y="-1122"/>
                    <a:pt x="8304" y="-1122"/>
                    <a:pt x="7034" y="-1122"/>
                  </a:cubicBezTo>
                  <a:cubicBezTo>
                    <a:pt x="5129" y="-1122"/>
                    <a:pt x="3224" y="-1122"/>
                    <a:pt x="1954" y="-1122"/>
                  </a:cubicBezTo>
                  <a:cubicBezTo>
                    <a:pt x="1954" y="-487"/>
                    <a:pt x="1319" y="148"/>
                    <a:pt x="1319" y="783"/>
                  </a:cubicBezTo>
                  <a:cubicBezTo>
                    <a:pt x="1319" y="3323"/>
                    <a:pt x="-586" y="26183"/>
                    <a:pt x="-586" y="35708"/>
                  </a:cubicBezTo>
                  <a:cubicBezTo>
                    <a:pt x="-586" y="38883"/>
                    <a:pt x="-1221" y="42058"/>
                    <a:pt x="-586" y="45233"/>
                  </a:cubicBezTo>
                  <a:cubicBezTo>
                    <a:pt x="49" y="47138"/>
                    <a:pt x="5129" y="52218"/>
                    <a:pt x="7669" y="52218"/>
                  </a:cubicBezTo>
                  <a:cubicBezTo>
                    <a:pt x="10844" y="52218"/>
                    <a:pt x="14654" y="49043"/>
                    <a:pt x="15289" y="45868"/>
                  </a:cubicBezTo>
                  <a:cubicBezTo>
                    <a:pt x="15924" y="42693"/>
                    <a:pt x="15924" y="38248"/>
                    <a:pt x="15924" y="35073"/>
                  </a:cubicBezTo>
                  <a:cubicBezTo>
                    <a:pt x="14019" y="26183"/>
                    <a:pt x="13384" y="3323"/>
                    <a:pt x="12114" y="148"/>
                  </a:cubicBezTo>
                </a:path>
              </a:pathLst>
            </a:custGeom>
            <a:solidFill>
              <a:srgbClr val="FFFFFF"/>
            </a:solidFill>
            <a:ln w="6350" cap="flat">
              <a:noFill/>
              <a:prstDash val="solid"/>
              <a:miter/>
            </a:ln>
          </p:spPr>
          <p:txBody>
            <a:bodyPr rtlCol="0" anchor="ctr"/>
            <a:lstStyle/>
            <a:p>
              <a:endParaRPr lang="en-GB"/>
            </a:p>
          </p:txBody>
        </p:sp>
        <p:sp>
          <p:nvSpPr>
            <p:cNvPr id="85" name="Freeform 84"/>
            <p:cNvSpPr/>
            <p:nvPr/>
          </p:nvSpPr>
          <p:spPr>
            <a:xfrm>
              <a:off x="-9223548" y="3432809"/>
              <a:ext cx="19958" cy="53422"/>
            </a:xfrm>
            <a:custGeom>
              <a:avLst/>
              <a:gdLst>
                <a:gd name="connsiteX0" fmla="*/ 18355 w 19958"/>
                <a:gd name="connsiteY0" fmla="*/ 148 h 53422"/>
                <a:gd name="connsiteX1" fmla="*/ 8195 w 19958"/>
                <a:gd name="connsiteY1" fmla="*/ -1122 h 53422"/>
                <a:gd name="connsiteX2" fmla="*/ 7560 w 19958"/>
                <a:gd name="connsiteY2" fmla="*/ 148 h 53422"/>
                <a:gd name="connsiteX3" fmla="*/ 575 w 19958"/>
                <a:gd name="connsiteY3" fmla="*/ 34438 h 53422"/>
                <a:gd name="connsiteX4" fmla="*/ -695 w 19958"/>
                <a:gd name="connsiteY4" fmla="*/ 43963 h 53422"/>
                <a:gd name="connsiteX5" fmla="*/ 6290 w 19958"/>
                <a:gd name="connsiteY5" fmla="*/ 52218 h 53422"/>
                <a:gd name="connsiteX6" fmla="*/ 14545 w 19958"/>
                <a:gd name="connsiteY6" fmla="*/ 47138 h 53422"/>
                <a:gd name="connsiteX7" fmla="*/ 16450 w 19958"/>
                <a:gd name="connsiteY7" fmla="*/ 36978 h 53422"/>
                <a:gd name="connsiteX8" fmla="*/ 18990 w 19958"/>
                <a:gd name="connsiteY8" fmla="*/ 2053 h 53422"/>
                <a:gd name="connsiteX9" fmla="*/ 18355 w 19958"/>
                <a:gd name="connsiteY9" fmla="*/ 148 h 5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58" h="53422">
                  <a:moveTo>
                    <a:pt x="18355" y="148"/>
                  </a:moveTo>
                  <a:cubicBezTo>
                    <a:pt x="15180" y="148"/>
                    <a:pt x="12005" y="-487"/>
                    <a:pt x="8195" y="-1122"/>
                  </a:cubicBezTo>
                  <a:cubicBezTo>
                    <a:pt x="8195" y="-487"/>
                    <a:pt x="7560" y="-487"/>
                    <a:pt x="7560" y="148"/>
                  </a:cubicBezTo>
                  <a:cubicBezTo>
                    <a:pt x="6925" y="2688"/>
                    <a:pt x="1845" y="24913"/>
                    <a:pt x="575" y="34438"/>
                  </a:cubicBezTo>
                  <a:cubicBezTo>
                    <a:pt x="-60" y="37613"/>
                    <a:pt x="-1330" y="40788"/>
                    <a:pt x="-695" y="43963"/>
                  </a:cubicBezTo>
                  <a:cubicBezTo>
                    <a:pt x="-695" y="45868"/>
                    <a:pt x="3750" y="51583"/>
                    <a:pt x="6290" y="52218"/>
                  </a:cubicBezTo>
                  <a:cubicBezTo>
                    <a:pt x="9465" y="52853"/>
                    <a:pt x="13275" y="49678"/>
                    <a:pt x="14545" y="47138"/>
                  </a:cubicBezTo>
                  <a:cubicBezTo>
                    <a:pt x="15815" y="43963"/>
                    <a:pt x="16450" y="39518"/>
                    <a:pt x="16450" y="36978"/>
                  </a:cubicBezTo>
                  <a:cubicBezTo>
                    <a:pt x="17085" y="28088"/>
                    <a:pt x="19625" y="5228"/>
                    <a:pt x="18990" y="2053"/>
                  </a:cubicBezTo>
                  <a:cubicBezTo>
                    <a:pt x="18355" y="1418"/>
                    <a:pt x="18355" y="783"/>
                    <a:pt x="18355" y="148"/>
                  </a:cubicBezTo>
                </a:path>
              </a:pathLst>
            </a:custGeom>
            <a:solidFill>
              <a:srgbClr val="FFFFFF"/>
            </a:solidFill>
            <a:ln w="6350" cap="flat">
              <a:noFill/>
              <a:prstDash val="solid"/>
              <a:miter/>
            </a:ln>
          </p:spPr>
          <p:txBody>
            <a:bodyPr rtlCol="0" anchor="ctr"/>
            <a:lstStyle/>
            <a:p>
              <a:endParaRPr lang="en-GB"/>
            </a:p>
          </p:txBody>
        </p:sp>
        <p:sp>
          <p:nvSpPr>
            <p:cNvPr id="86" name="Freeform 85"/>
            <p:cNvSpPr/>
            <p:nvPr/>
          </p:nvSpPr>
          <p:spPr>
            <a:xfrm>
              <a:off x="-9248775" y="3430269"/>
              <a:ext cx="27940" cy="53047"/>
            </a:xfrm>
            <a:custGeom>
              <a:avLst/>
              <a:gdLst>
                <a:gd name="connsiteX0" fmla="*/ 27072 w 27940"/>
                <a:gd name="connsiteY0" fmla="*/ 783 h 53047"/>
                <a:gd name="connsiteX1" fmla="*/ 16912 w 27940"/>
                <a:gd name="connsiteY1" fmla="*/ -1122 h 53047"/>
                <a:gd name="connsiteX2" fmla="*/ 16277 w 27940"/>
                <a:gd name="connsiteY2" fmla="*/ 148 h 53047"/>
                <a:gd name="connsiteX3" fmla="*/ 2307 w 27940"/>
                <a:gd name="connsiteY3" fmla="*/ 33168 h 53047"/>
                <a:gd name="connsiteX4" fmla="*/ -868 w 27940"/>
                <a:gd name="connsiteY4" fmla="*/ 42058 h 53047"/>
                <a:gd name="connsiteX5" fmla="*/ 4847 w 27940"/>
                <a:gd name="connsiteY5" fmla="*/ 51583 h 53047"/>
                <a:gd name="connsiteX6" fmla="*/ 14372 w 27940"/>
                <a:gd name="connsiteY6" fmla="*/ 48408 h 53047"/>
                <a:gd name="connsiteX7" fmla="*/ 18182 w 27940"/>
                <a:gd name="connsiteY7" fmla="*/ 38248 h 53047"/>
                <a:gd name="connsiteX8" fmla="*/ 27072 w 27940"/>
                <a:gd name="connsiteY8" fmla="*/ 3958 h 53047"/>
                <a:gd name="connsiteX9" fmla="*/ 27072 w 27940"/>
                <a:gd name="connsiteY9" fmla="*/ 783 h 53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40" h="53047">
                  <a:moveTo>
                    <a:pt x="27072" y="783"/>
                  </a:moveTo>
                  <a:cubicBezTo>
                    <a:pt x="23897" y="148"/>
                    <a:pt x="20087" y="-486"/>
                    <a:pt x="16912" y="-1122"/>
                  </a:cubicBezTo>
                  <a:cubicBezTo>
                    <a:pt x="16912" y="-486"/>
                    <a:pt x="16277" y="-486"/>
                    <a:pt x="16277" y="148"/>
                  </a:cubicBezTo>
                  <a:cubicBezTo>
                    <a:pt x="15007" y="2689"/>
                    <a:pt x="6117" y="24278"/>
                    <a:pt x="2307" y="33168"/>
                  </a:cubicBezTo>
                  <a:cubicBezTo>
                    <a:pt x="1037" y="36343"/>
                    <a:pt x="-233" y="38883"/>
                    <a:pt x="-868" y="42058"/>
                  </a:cubicBezTo>
                  <a:cubicBezTo>
                    <a:pt x="-868" y="44598"/>
                    <a:pt x="2307" y="50314"/>
                    <a:pt x="4847" y="51583"/>
                  </a:cubicBezTo>
                  <a:cubicBezTo>
                    <a:pt x="8022" y="52853"/>
                    <a:pt x="12467" y="50314"/>
                    <a:pt x="14372" y="48408"/>
                  </a:cubicBezTo>
                  <a:cubicBezTo>
                    <a:pt x="16277" y="45868"/>
                    <a:pt x="17547" y="41423"/>
                    <a:pt x="18182" y="38248"/>
                  </a:cubicBezTo>
                  <a:cubicBezTo>
                    <a:pt x="20087" y="29358"/>
                    <a:pt x="27072" y="6498"/>
                    <a:pt x="27072" y="3958"/>
                  </a:cubicBezTo>
                  <a:cubicBezTo>
                    <a:pt x="27072" y="2689"/>
                    <a:pt x="27072" y="2053"/>
                    <a:pt x="27072" y="783"/>
                  </a:cubicBezTo>
                </a:path>
              </a:pathLst>
            </a:custGeom>
            <a:solidFill>
              <a:srgbClr val="FFFFFF"/>
            </a:solidFill>
            <a:ln w="6350" cap="flat">
              <a:noFill/>
              <a:prstDash val="solid"/>
              <a:miter/>
            </a:ln>
          </p:spPr>
          <p:txBody>
            <a:bodyPr rtlCol="0" anchor="ctr"/>
            <a:lstStyle/>
            <a:p>
              <a:endParaRPr lang="en-GB"/>
            </a:p>
          </p:txBody>
        </p:sp>
        <p:sp>
          <p:nvSpPr>
            <p:cNvPr id="87" name="Freeform 86"/>
            <p:cNvSpPr/>
            <p:nvPr/>
          </p:nvSpPr>
          <p:spPr>
            <a:xfrm>
              <a:off x="-9270488" y="3424555"/>
              <a:ext cx="30603" cy="50040"/>
            </a:xfrm>
            <a:custGeom>
              <a:avLst/>
              <a:gdLst>
                <a:gd name="connsiteX0" fmla="*/ 29735 w 30603"/>
                <a:gd name="connsiteY0" fmla="*/ 2053 h 50040"/>
                <a:gd name="connsiteX1" fmla="*/ 20845 w 30603"/>
                <a:gd name="connsiteY1" fmla="*/ -1122 h 50040"/>
                <a:gd name="connsiteX2" fmla="*/ 20210 w 30603"/>
                <a:gd name="connsiteY2" fmla="*/ -487 h 50040"/>
                <a:gd name="connsiteX3" fmla="*/ 3065 w 30603"/>
                <a:gd name="connsiteY3" fmla="*/ 29992 h 50040"/>
                <a:gd name="connsiteX4" fmla="*/ -745 w 30603"/>
                <a:gd name="connsiteY4" fmla="*/ 38248 h 50040"/>
                <a:gd name="connsiteX5" fmla="*/ 3065 w 30603"/>
                <a:gd name="connsiteY5" fmla="*/ 48408 h 50040"/>
                <a:gd name="connsiteX6" fmla="*/ 11955 w 30603"/>
                <a:gd name="connsiteY6" fmla="*/ 46503 h 50040"/>
                <a:gd name="connsiteX7" fmla="*/ 17035 w 30603"/>
                <a:gd name="connsiteY7" fmla="*/ 36978 h 50040"/>
                <a:gd name="connsiteX8" fmla="*/ 29735 w 30603"/>
                <a:gd name="connsiteY8" fmla="*/ 4592 h 50040"/>
                <a:gd name="connsiteX9" fmla="*/ 29735 w 30603"/>
                <a:gd name="connsiteY9" fmla="*/ 2053 h 5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3" h="50040">
                  <a:moveTo>
                    <a:pt x="29735" y="2053"/>
                  </a:moveTo>
                  <a:cubicBezTo>
                    <a:pt x="26560" y="1417"/>
                    <a:pt x="23385" y="148"/>
                    <a:pt x="20845" y="-1122"/>
                  </a:cubicBezTo>
                  <a:cubicBezTo>
                    <a:pt x="20845" y="-1122"/>
                    <a:pt x="20210" y="-487"/>
                    <a:pt x="20210" y="-487"/>
                  </a:cubicBezTo>
                  <a:cubicBezTo>
                    <a:pt x="18940" y="1417"/>
                    <a:pt x="7510" y="21103"/>
                    <a:pt x="3065" y="29992"/>
                  </a:cubicBezTo>
                  <a:cubicBezTo>
                    <a:pt x="1795" y="32533"/>
                    <a:pt x="-110" y="35708"/>
                    <a:pt x="-745" y="38248"/>
                  </a:cubicBezTo>
                  <a:cubicBezTo>
                    <a:pt x="-1380" y="40153"/>
                    <a:pt x="525" y="47138"/>
                    <a:pt x="3065" y="48408"/>
                  </a:cubicBezTo>
                  <a:cubicBezTo>
                    <a:pt x="5605" y="49678"/>
                    <a:pt x="10050" y="48408"/>
                    <a:pt x="11955" y="46503"/>
                  </a:cubicBezTo>
                  <a:cubicBezTo>
                    <a:pt x="13860" y="43963"/>
                    <a:pt x="15765" y="40153"/>
                    <a:pt x="17035" y="36978"/>
                  </a:cubicBezTo>
                  <a:cubicBezTo>
                    <a:pt x="20210" y="28723"/>
                    <a:pt x="29100" y="7133"/>
                    <a:pt x="29735" y="4592"/>
                  </a:cubicBezTo>
                  <a:cubicBezTo>
                    <a:pt x="29100" y="3958"/>
                    <a:pt x="29735" y="3323"/>
                    <a:pt x="29735" y="2053"/>
                  </a:cubicBezTo>
                </a:path>
              </a:pathLst>
            </a:custGeom>
            <a:solidFill>
              <a:srgbClr val="FFFFFF"/>
            </a:solidFill>
            <a:ln w="6350" cap="flat">
              <a:noFill/>
              <a:prstDash val="solid"/>
              <a:miter/>
            </a:ln>
          </p:spPr>
          <p:txBody>
            <a:bodyPr rtlCol="0" anchor="ctr"/>
            <a:lstStyle/>
            <a:p>
              <a:endParaRPr lang="en-GB"/>
            </a:p>
          </p:txBody>
        </p:sp>
        <p:sp>
          <p:nvSpPr>
            <p:cNvPr id="88" name="Freeform 87"/>
            <p:cNvSpPr/>
            <p:nvPr/>
          </p:nvSpPr>
          <p:spPr>
            <a:xfrm>
              <a:off x="-9143365" y="3424555"/>
              <a:ext cx="30480" cy="49654"/>
            </a:xfrm>
            <a:custGeom>
              <a:avLst/>
              <a:gdLst>
                <a:gd name="connsiteX0" fmla="*/ 25802 w 30480"/>
                <a:gd name="connsiteY0" fmla="*/ 29992 h 49654"/>
                <a:gd name="connsiteX1" fmla="*/ 9292 w 30480"/>
                <a:gd name="connsiteY1" fmla="*/ -487 h 49654"/>
                <a:gd name="connsiteX2" fmla="*/ 8657 w 30480"/>
                <a:gd name="connsiteY2" fmla="*/ -1122 h 49654"/>
                <a:gd name="connsiteX3" fmla="*/ -868 w 30480"/>
                <a:gd name="connsiteY3" fmla="*/ 2053 h 49654"/>
                <a:gd name="connsiteX4" fmla="*/ -868 w 30480"/>
                <a:gd name="connsiteY4" fmla="*/ 3958 h 49654"/>
                <a:gd name="connsiteX5" fmla="*/ 11197 w 30480"/>
                <a:gd name="connsiteY5" fmla="*/ 36978 h 49654"/>
                <a:gd name="connsiteX6" fmla="*/ 15007 w 30480"/>
                <a:gd name="connsiteY6" fmla="*/ 45233 h 49654"/>
                <a:gd name="connsiteX7" fmla="*/ 25167 w 30480"/>
                <a:gd name="connsiteY7" fmla="*/ 48408 h 49654"/>
                <a:gd name="connsiteX8" fmla="*/ 29612 w 30480"/>
                <a:gd name="connsiteY8" fmla="*/ 39517 h 49654"/>
                <a:gd name="connsiteX9" fmla="*/ 25802 w 30480"/>
                <a:gd name="connsiteY9" fmla="*/ 29992 h 49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80" h="49654">
                  <a:moveTo>
                    <a:pt x="25802" y="29992"/>
                  </a:moveTo>
                  <a:cubicBezTo>
                    <a:pt x="21357" y="22373"/>
                    <a:pt x="11197" y="1417"/>
                    <a:pt x="9292" y="-487"/>
                  </a:cubicBezTo>
                  <a:cubicBezTo>
                    <a:pt x="9292" y="-487"/>
                    <a:pt x="8657" y="-1122"/>
                    <a:pt x="8657" y="-1122"/>
                  </a:cubicBezTo>
                  <a:cubicBezTo>
                    <a:pt x="5482" y="148"/>
                    <a:pt x="2307" y="783"/>
                    <a:pt x="-868" y="2053"/>
                  </a:cubicBezTo>
                  <a:cubicBezTo>
                    <a:pt x="-868" y="2688"/>
                    <a:pt x="-868" y="3958"/>
                    <a:pt x="-868" y="3958"/>
                  </a:cubicBezTo>
                  <a:cubicBezTo>
                    <a:pt x="-233" y="6498"/>
                    <a:pt x="7387" y="28088"/>
                    <a:pt x="11197" y="36978"/>
                  </a:cubicBezTo>
                  <a:cubicBezTo>
                    <a:pt x="12467" y="40153"/>
                    <a:pt x="13102" y="43328"/>
                    <a:pt x="15007" y="45233"/>
                  </a:cubicBezTo>
                  <a:cubicBezTo>
                    <a:pt x="16277" y="47138"/>
                    <a:pt x="22627" y="49042"/>
                    <a:pt x="25167" y="48408"/>
                  </a:cubicBezTo>
                  <a:cubicBezTo>
                    <a:pt x="28342" y="47138"/>
                    <a:pt x="29612" y="42692"/>
                    <a:pt x="29612" y="39517"/>
                  </a:cubicBezTo>
                  <a:cubicBezTo>
                    <a:pt x="29612" y="36978"/>
                    <a:pt x="27707" y="33167"/>
                    <a:pt x="25802" y="29992"/>
                  </a:cubicBezTo>
                </a:path>
              </a:pathLst>
            </a:custGeom>
            <a:solidFill>
              <a:srgbClr val="FFFFFF"/>
            </a:solidFill>
            <a:ln w="6350" cap="flat">
              <a:noFill/>
              <a:prstDash val="solid"/>
              <a:miter/>
            </a:ln>
          </p:spPr>
          <p:txBody>
            <a:bodyPr rtlCol="0" anchor="ctr"/>
            <a:lstStyle/>
            <a:p>
              <a:endParaRPr lang="en-GB"/>
            </a:p>
          </p:txBody>
        </p:sp>
        <p:sp>
          <p:nvSpPr>
            <p:cNvPr id="89" name="Freeform 88"/>
            <p:cNvSpPr/>
            <p:nvPr/>
          </p:nvSpPr>
          <p:spPr>
            <a:xfrm>
              <a:off x="-8985249" y="3214246"/>
              <a:ext cx="38734" cy="19331"/>
            </a:xfrm>
            <a:custGeom>
              <a:avLst/>
              <a:gdLst>
                <a:gd name="connsiteX0" fmla="*/ -233 w 38734"/>
                <a:gd name="connsiteY0" fmla="*/ 2812 h 19331"/>
                <a:gd name="connsiteX1" fmla="*/ 402 w 38734"/>
                <a:gd name="connsiteY1" fmla="*/ 9796 h 19331"/>
                <a:gd name="connsiteX2" fmla="*/ 17547 w 38734"/>
                <a:gd name="connsiteY2" fmla="*/ 15512 h 19331"/>
                <a:gd name="connsiteX3" fmla="*/ 29612 w 38734"/>
                <a:gd name="connsiteY3" fmla="*/ 18051 h 19331"/>
                <a:gd name="connsiteX4" fmla="*/ 37232 w 38734"/>
                <a:gd name="connsiteY4" fmla="*/ 14241 h 19331"/>
                <a:gd name="connsiteX5" fmla="*/ 35327 w 38734"/>
                <a:gd name="connsiteY5" fmla="*/ 5987 h 19331"/>
                <a:gd name="connsiteX6" fmla="*/ 21357 w 38734"/>
                <a:gd name="connsiteY6" fmla="*/ 2176 h 19331"/>
                <a:gd name="connsiteX7" fmla="*/ 4847 w 38734"/>
                <a:gd name="connsiteY7" fmla="*/ -999 h 19331"/>
                <a:gd name="connsiteX8" fmla="*/ -233 w 38734"/>
                <a:gd name="connsiteY8" fmla="*/ 2812 h 1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4" h="19331">
                  <a:moveTo>
                    <a:pt x="-233" y="2812"/>
                  </a:moveTo>
                  <a:cubicBezTo>
                    <a:pt x="-868" y="5351"/>
                    <a:pt x="-1503" y="7891"/>
                    <a:pt x="402" y="9796"/>
                  </a:cubicBezTo>
                  <a:cubicBezTo>
                    <a:pt x="2307" y="11701"/>
                    <a:pt x="14372" y="14876"/>
                    <a:pt x="17547" y="15512"/>
                  </a:cubicBezTo>
                  <a:cubicBezTo>
                    <a:pt x="21357" y="16781"/>
                    <a:pt x="25167" y="17416"/>
                    <a:pt x="29612" y="18051"/>
                  </a:cubicBezTo>
                  <a:cubicBezTo>
                    <a:pt x="33422" y="18687"/>
                    <a:pt x="36597" y="17416"/>
                    <a:pt x="37232" y="14241"/>
                  </a:cubicBezTo>
                  <a:cubicBezTo>
                    <a:pt x="38502" y="10431"/>
                    <a:pt x="37867" y="7891"/>
                    <a:pt x="35327" y="5987"/>
                  </a:cubicBezTo>
                  <a:cubicBezTo>
                    <a:pt x="34057" y="5351"/>
                    <a:pt x="28977" y="3446"/>
                    <a:pt x="21357" y="2176"/>
                  </a:cubicBezTo>
                  <a:cubicBezTo>
                    <a:pt x="14372" y="906"/>
                    <a:pt x="6752" y="-999"/>
                    <a:pt x="4847" y="-999"/>
                  </a:cubicBezTo>
                  <a:cubicBezTo>
                    <a:pt x="2942" y="-1634"/>
                    <a:pt x="1037" y="271"/>
                    <a:pt x="-233" y="2812"/>
                  </a:cubicBezTo>
                </a:path>
              </a:pathLst>
            </a:custGeom>
            <a:solidFill>
              <a:srgbClr val="FFFFFF"/>
            </a:solidFill>
            <a:ln w="6350" cap="flat">
              <a:noFill/>
              <a:prstDash val="solid"/>
              <a:miter/>
            </a:ln>
          </p:spPr>
          <p:txBody>
            <a:bodyPr rtlCol="0" anchor="ctr"/>
            <a:lstStyle/>
            <a:p>
              <a:endParaRPr lang="en-GB"/>
            </a:p>
          </p:txBody>
        </p:sp>
        <p:sp>
          <p:nvSpPr>
            <p:cNvPr id="90" name="Freeform 89"/>
            <p:cNvSpPr/>
            <p:nvPr/>
          </p:nvSpPr>
          <p:spPr>
            <a:xfrm>
              <a:off x="-9442450" y="3213734"/>
              <a:ext cx="38436" cy="16801"/>
            </a:xfrm>
            <a:custGeom>
              <a:avLst/>
              <a:gdLst>
                <a:gd name="connsiteX0" fmla="*/ 11197 w 38436"/>
                <a:gd name="connsiteY0" fmla="*/ 15388 h 16801"/>
                <a:gd name="connsiteX1" fmla="*/ 36597 w 38436"/>
                <a:gd name="connsiteY1" fmla="*/ 6498 h 16801"/>
                <a:gd name="connsiteX2" fmla="*/ 35962 w 38436"/>
                <a:gd name="connsiteY2" fmla="*/ 783 h 16801"/>
                <a:gd name="connsiteX3" fmla="*/ 30247 w 38436"/>
                <a:gd name="connsiteY3" fmla="*/ -1122 h 16801"/>
                <a:gd name="connsiteX4" fmla="*/ 4847 w 38436"/>
                <a:gd name="connsiteY4" fmla="*/ 3958 h 16801"/>
                <a:gd name="connsiteX5" fmla="*/ -868 w 38436"/>
                <a:gd name="connsiteY5" fmla="*/ 8403 h 16801"/>
                <a:gd name="connsiteX6" fmla="*/ -233 w 38436"/>
                <a:gd name="connsiteY6" fmla="*/ 11578 h 16801"/>
                <a:gd name="connsiteX7" fmla="*/ 11197 w 38436"/>
                <a:gd name="connsiteY7" fmla="*/ 15388 h 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6801">
                  <a:moveTo>
                    <a:pt x="11197" y="15388"/>
                  </a:moveTo>
                  <a:cubicBezTo>
                    <a:pt x="18182" y="13483"/>
                    <a:pt x="35327" y="8403"/>
                    <a:pt x="36597" y="6498"/>
                  </a:cubicBezTo>
                  <a:cubicBezTo>
                    <a:pt x="38502" y="4593"/>
                    <a:pt x="37232" y="2688"/>
                    <a:pt x="35962" y="783"/>
                  </a:cubicBezTo>
                  <a:cubicBezTo>
                    <a:pt x="34692" y="-1122"/>
                    <a:pt x="32152" y="-1122"/>
                    <a:pt x="30247" y="-1122"/>
                  </a:cubicBezTo>
                  <a:cubicBezTo>
                    <a:pt x="28342" y="-1122"/>
                    <a:pt x="6117" y="3323"/>
                    <a:pt x="4847" y="3958"/>
                  </a:cubicBezTo>
                  <a:cubicBezTo>
                    <a:pt x="2307" y="4593"/>
                    <a:pt x="-233" y="5863"/>
                    <a:pt x="-868" y="8403"/>
                  </a:cubicBezTo>
                  <a:cubicBezTo>
                    <a:pt x="-868" y="9673"/>
                    <a:pt x="-868" y="10943"/>
                    <a:pt x="-233" y="11578"/>
                  </a:cubicBezTo>
                  <a:cubicBezTo>
                    <a:pt x="402" y="13483"/>
                    <a:pt x="7387" y="16658"/>
                    <a:pt x="11197" y="15388"/>
                  </a:cubicBezTo>
                </a:path>
              </a:pathLst>
            </a:custGeom>
            <a:solidFill>
              <a:srgbClr val="FFFFFF"/>
            </a:solidFill>
            <a:ln w="6350" cap="flat">
              <a:noFill/>
              <a:prstDash val="solid"/>
              <a:miter/>
            </a:ln>
          </p:spPr>
          <p:txBody>
            <a:bodyPr rtlCol="0" anchor="ctr"/>
            <a:lstStyle/>
            <a:p>
              <a:endParaRPr lang="en-GB"/>
            </a:p>
          </p:txBody>
        </p:sp>
        <p:sp>
          <p:nvSpPr>
            <p:cNvPr id="91" name="Freeform 90"/>
            <p:cNvSpPr/>
            <p:nvPr/>
          </p:nvSpPr>
          <p:spPr>
            <a:xfrm>
              <a:off x="-8940925" y="3224530"/>
              <a:ext cx="222189" cy="30479"/>
            </a:xfrm>
            <a:custGeom>
              <a:avLst/>
              <a:gdLst>
                <a:gd name="connsiteX0" fmla="*/ 217697 w 222189"/>
                <a:gd name="connsiteY0" fmla="*/ 10942 h 30479"/>
                <a:gd name="connsiteX1" fmla="*/ 196107 w 222189"/>
                <a:gd name="connsiteY1" fmla="*/ 11578 h 30479"/>
                <a:gd name="connsiteX2" fmla="*/ 166262 w 222189"/>
                <a:gd name="connsiteY2" fmla="*/ 10308 h 30479"/>
                <a:gd name="connsiteX3" fmla="*/ 3067 w 222189"/>
                <a:gd name="connsiteY3" fmla="*/ -1122 h 30479"/>
                <a:gd name="connsiteX4" fmla="*/ -108 w 222189"/>
                <a:gd name="connsiteY4" fmla="*/ 5228 h 30479"/>
                <a:gd name="connsiteX5" fmla="*/ 2432 w 222189"/>
                <a:gd name="connsiteY5" fmla="*/ 6498 h 30479"/>
                <a:gd name="connsiteX6" fmla="*/ 138322 w 222189"/>
                <a:gd name="connsiteY6" fmla="*/ 25548 h 30479"/>
                <a:gd name="connsiteX7" fmla="*/ 190392 w 222189"/>
                <a:gd name="connsiteY7" fmla="*/ 29358 h 30479"/>
                <a:gd name="connsiteX8" fmla="*/ 190392 w 222189"/>
                <a:gd name="connsiteY8" fmla="*/ 29358 h 30479"/>
                <a:gd name="connsiteX9" fmla="*/ 217062 w 222189"/>
                <a:gd name="connsiteY9" fmla="*/ 21738 h 30479"/>
                <a:gd name="connsiteX10" fmla="*/ 220872 w 222189"/>
                <a:gd name="connsiteY10" fmla="*/ 15388 h 30479"/>
                <a:gd name="connsiteX11" fmla="*/ 217697 w 222189"/>
                <a:gd name="connsiteY11" fmla="*/ 1094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189" h="30479">
                  <a:moveTo>
                    <a:pt x="217697" y="10942"/>
                  </a:moveTo>
                  <a:cubicBezTo>
                    <a:pt x="216427" y="10942"/>
                    <a:pt x="202457" y="11578"/>
                    <a:pt x="196107" y="11578"/>
                  </a:cubicBezTo>
                  <a:cubicBezTo>
                    <a:pt x="185947" y="10942"/>
                    <a:pt x="176422" y="10942"/>
                    <a:pt x="166262" y="10308"/>
                  </a:cubicBezTo>
                  <a:cubicBezTo>
                    <a:pt x="129432" y="8403"/>
                    <a:pt x="8147" y="-1122"/>
                    <a:pt x="3067" y="-1122"/>
                  </a:cubicBezTo>
                  <a:cubicBezTo>
                    <a:pt x="-108" y="-1122"/>
                    <a:pt x="-2013" y="2688"/>
                    <a:pt x="-108" y="5228"/>
                  </a:cubicBezTo>
                  <a:cubicBezTo>
                    <a:pt x="527" y="5863"/>
                    <a:pt x="1162" y="6498"/>
                    <a:pt x="2432" y="6498"/>
                  </a:cubicBezTo>
                  <a:cubicBezTo>
                    <a:pt x="6242" y="7133"/>
                    <a:pt x="127527" y="24278"/>
                    <a:pt x="138322" y="25548"/>
                  </a:cubicBezTo>
                  <a:cubicBezTo>
                    <a:pt x="155467" y="27453"/>
                    <a:pt x="172612" y="29358"/>
                    <a:pt x="190392" y="29358"/>
                  </a:cubicBezTo>
                  <a:cubicBezTo>
                    <a:pt x="190392" y="29358"/>
                    <a:pt x="185947" y="29358"/>
                    <a:pt x="190392" y="29358"/>
                  </a:cubicBezTo>
                  <a:cubicBezTo>
                    <a:pt x="194202" y="29358"/>
                    <a:pt x="208807" y="24913"/>
                    <a:pt x="217062" y="21738"/>
                  </a:cubicBezTo>
                  <a:cubicBezTo>
                    <a:pt x="220237" y="20467"/>
                    <a:pt x="220872" y="18563"/>
                    <a:pt x="220872" y="15388"/>
                  </a:cubicBezTo>
                  <a:cubicBezTo>
                    <a:pt x="221507" y="12848"/>
                    <a:pt x="222142" y="10308"/>
                    <a:pt x="217697" y="10942"/>
                  </a:cubicBezTo>
                </a:path>
              </a:pathLst>
            </a:custGeom>
            <a:solidFill>
              <a:srgbClr val="FFFFFF"/>
            </a:solidFill>
            <a:ln w="6350" cap="flat">
              <a:noFill/>
              <a:prstDash val="solid"/>
              <a:miter/>
            </a:ln>
          </p:spPr>
          <p:txBody>
            <a:bodyPr rtlCol="0" anchor="ctr"/>
            <a:lstStyle/>
            <a:p>
              <a:endParaRPr lang="en-GB"/>
            </a:p>
          </p:txBody>
        </p:sp>
        <p:sp>
          <p:nvSpPr>
            <p:cNvPr id="92" name="Freeform 91"/>
            <p:cNvSpPr/>
            <p:nvPr/>
          </p:nvSpPr>
          <p:spPr>
            <a:xfrm>
              <a:off x="-9428360" y="3230200"/>
              <a:ext cx="36085" cy="22551"/>
            </a:xfrm>
            <a:custGeom>
              <a:avLst/>
              <a:gdLst>
                <a:gd name="connsiteX0" fmla="*/ 2187 w 36085"/>
                <a:gd name="connsiteY0" fmla="*/ 19243 h 22551"/>
                <a:gd name="connsiteX1" fmla="*/ 6632 w 36085"/>
                <a:gd name="connsiteY1" fmla="*/ 21147 h 22551"/>
                <a:gd name="connsiteX2" fmla="*/ 11077 w 36085"/>
                <a:gd name="connsiteY2" fmla="*/ 21147 h 22551"/>
                <a:gd name="connsiteX3" fmla="*/ 33937 w 36085"/>
                <a:gd name="connsiteY3" fmla="*/ 9718 h 22551"/>
                <a:gd name="connsiteX4" fmla="*/ 26317 w 36085"/>
                <a:gd name="connsiteY4" fmla="*/ -1078 h 22551"/>
                <a:gd name="connsiteX5" fmla="*/ 282 w 36085"/>
                <a:gd name="connsiteY5" fmla="*/ 9083 h 22551"/>
                <a:gd name="connsiteX6" fmla="*/ 917 w 36085"/>
                <a:gd name="connsiteY6" fmla="*/ 17337 h 22551"/>
                <a:gd name="connsiteX7" fmla="*/ 2187 w 36085"/>
                <a:gd name="connsiteY7" fmla="*/ 19243 h 22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85" h="22551">
                  <a:moveTo>
                    <a:pt x="2187" y="19243"/>
                  </a:moveTo>
                  <a:cubicBezTo>
                    <a:pt x="3457" y="19877"/>
                    <a:pt x="5362" y="21147"/>
                    <a:pt x="6632" y="21147"/>
                  </a:cubicBezTo>
                  <a:cubicBezTo>
                    <a:pt x="7902" y="21147"/>
                    <a:pt x="9172" y="21783"/>
                    <a:pt x="11077" y="21147"/>
                  </a:cubicBezTo>
                  <a:cubicBezTo>
                    <a:pt x="12347" y="21147"/>
                    <a:pt x="32667" y="10987"/>
                    <a:pt x="33937" y="9718"/>
                  </a:cubicBezTo>
                  <a:cubicBezTo>
                    <a:pt x="38382" y="4637"/>
                    <a:pt x="30127" y="-1713"/>
                    <a:pt x="26317" y="-1078"/>
                  </a:cubicBezTo>
                  <a:cubicBezTo>
                    <a:pt x="19967" y="193"/>
                    <a:pt x="2187" y="6543"/>
                    <a:pt x="282" y="9083"/>
                  </a:cubicBezTo>
                  <a:cubicBezTo>
                    <a:pt x="-1623" y="10987"/>
                    <a:pt x="-988" y="15433"/>
                    <a:pt x="917" y="17337"/>
                  </a:cubicBezTo>
                  <a:cubicBezTo>
                    <a:pt x="917" y="17972"/>
                    <a:pt x="1552" y="18608"/>
                    <a:pt x="2187" y="19243"/>
                  </a:cubicBezTo>
                </a:path>
              </a:pathLst>
            </a:custGeom>
            <a:solidFill>
              <a:srgbClr val="FFFFFF"/>
            </a:solidFill>
            <a:ln w="6350" cap="flat">
              <a:noFill/>
              <a:prstDash val="solid"/>
              <a:miter/>
            </a:ln>
          </p:spPr>
          <p:txBody>
            <a:bodyPr rtlCol="0" anchor="ctr"/>
            <a:lstStyle/>
            <a:p>
              <a:endParaRPr lang="en-GB"/>
            </a:p>
          </p:txBody>
        </p:sp>
        <p:sp>
          <p:nvSpPr>
            <p:cNvPr id="93" name="Freeform 92"/>
            <p:cNvSpPr/>
            <p:nvPr/>
          </p:nvSpPr>
          <p:spPr>
            <a:xfrm>
              <a:off x="-8996084" y="3233040"/>
              <a:ext cx="38645" cy="19626"/>
            </a:xfrm>
            <a:custGeom>
              <a:avLst/>
              <a:gdLst>
                <a:gd name="connsiteX0" fmla="*/ 34732 w 38645"/>
                <a:gd name="connsiteY0" fmla="*/ 17038 h 19626"/>
                <a:gd name="connsiteX1" fmla="*/ 37272 w 38645"/>
                <a:gd name="connsiteY1" fmla="*/ 13228 h 19626"/>
                <a:gd name="connsiteX2" fmla="*/ 27747 w 38645"/>
                <a:gd name="connsiteY2" fmla="*/ 4338 h 19626"/>
                <a:gd name="connsiteX3" fmla="*/ 9967 w 38645"/>
                <a:gd name="connsiteY3" fmla="*/ -742 h 19626"/>
                <a:gd name="connsiteX4" fmla="*/ 2347 w 38645"/>
                <a:gd name="connsiteY4" fmla="*/ 528 h 19626"/>
                <a:gd name="connsiteX5" fmla="*/ -193 w 38645"/>
                <a:gd name="connsiteY5" fmla="*/ 6243 h 19626"/>
                <a:gd name="connsiteX6" fmla="*/ 21397 w 38645"/>
                <a:gd name="connsiteY6" fmla="*/ 17038 h 19626"/>
                <a:gd name="connsiteX7" fmla="*/ 34732 w 38645"/>
                <a:gd name="connsiteY7" fmla="*/ 17038 h 1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45" h="19626">
                  <a:moveTo>
                    <a:pt x="34732" y="17038"/>
                  </a:moveTo>
                  <a:cubicBezTo>
                    <a:pt x="36002" y="16403"/>
                    <a:pt x="36637" y="15133"/>
                    <a:pt x="37272" y="13228"/>
                  </a:cubicBezTo>
                  <a:cubicBezTo>
                    <a:pt x="39812" y="8148"/>
                    <a:pt x="32192" y="6243"/>
                    <a:pt x="27747" y="4338"/>
                  </a:cubicBezTo>
                  <a:cubicBezTo>
                    <a:pt x="22032" y="2433"/>
                    <a:pt x="18857" y="1798"/>
                    <a:pt x="9967" y="-742"/>
                  </a:cubicBezTo>
                  <a:cubicBezTo>
                    <a:pt x="7427" y="-1377"/>
                    <a:pt x="4252" y="-1377"/>
                    <a:pt x="2347" y="528"/>
                  </a:cubicBezTo>
                  <a:cubicBezTo>
                    <a:pt x="442" y="1798"/>
                    <a:pt x="-2098" y="3703"/>
                    <a:pt x="-193" y="6243"/>
                  </a:cubicBezTo>
                  <a:cubicBezTo>
                    <a:pt x="1077" y="8148"/>
                    <a:pt x="16952" y="15133"/>
                    <a:pt x="21397" y="17038"/>
                  </a:cubicBezTo>
                  <a:cubicBezTo>
                    <a:pt x="25207" y="18308"/>
                    <a:pt x="30922" y="19578"/>
                    <a:pt x="34732" y="17038"/>
                  </a:cubicBezTo>
                </a:path>
              </a:pathLst>
            </a:custGeom>
            <a:solidFill>
              <a:srgbClr val="FFFFFF"/>
            </a:solidFill>
            <a:ln w="6350" cap="flat">
              <a:noFill/>
              <a:prstDash val="solid"/>
              <a:miter/>
            </a:ln>
          </p:spPr>
          <p:txBody>
            <a:bodyPr rtlCol="0" anchor="ctr"/>
            <a:lstStyle/>
            <a:p>
              <a:endParaRPr lang="en-GB"/>
            </a:p>
          </p:txBody>
        </p:sp>
        <p:sp>
          <p:nvSpPr>
            <p:cNvPr id="94" name="Freeform 93"/>
            <p:cNvSpPr/>
            <p:nvPr/>
          </p:nvSpPr>
          <p:spPr>
            <a:xfrm>
              <a:off x="-9411360" y="3247360"/>
              <a:ext cx="35868" cy="24990"/>
            </a:xfrm>
            <a:custGeom>
              <a:avLst/>
              <a:gdLst>
                <a:gd name="connsiteX0" fmla="*/ 1698 w 35868"/>
                <a:gd name="connsiteY0" fmla="*/ 22402 h 24990"/>
                <a:gd name="connsiteX1" fmla="*/ 13128 w 35868"/>
                <a:gd name="connsiteY1" fmla="*/ 22402 h 24990"/>
                <a:gd name="connsiteX2" fmla="*/ 20748 w 35868"/>
                <a:gd name="connsiteY2" fmla="*/ 17322 h 24990"/>
                <a:gd name="connsiteX3" fmla="*/ 34083 w 35868"/>
                <a:gd name="connsiteY3" fmla="*/ 7162 h 24990"/>
                <a:gd name="connsiteX4" fmla="*/ 32178 w 35868"/>
                <a:gd name="connsiteY4" fmla="*/ 812 h 24990"/>
                <a:gd name="connsiteX5" fmla="*/ 20113 w 35868"/>
                <a:gd name="connsiteY5" fmla="*/ 812 h 24990"/>
                <a:gd name="connsiteX6" fmla="*/ 13763 w 35868"/>
                <a:gd name="connsiteY6" fmla="*/ 3987 h 24990"/>
                <a:gd name="connsiteX7" fmla="*/ 7413 w 35868"/>
                <a:gd name="connsiteY7" fmla="*/ 8432 h 24990"/>
                <a:gd name="connsiteX8" fmla="*/ 2968 w 35868"/>
                <a:gd name="connsiteY8" fmla="*/ 11607 h 24990"/>
                <a:gd name="connsiteX9" fmla="*/ -207 w 35868"/>
                <a:gd name="connsiteY9" fmla="*/ 14782 h 24990"/>
                <a:gd name="connsiteX10" fmla="*/ 1063 w 35868"/>
                <a:gd name="connsiteY10" fmla="*/ 21767 h 24990"/>
                <a:gd name="connsiteX11" fmla="*/ 1698 w 35868"/>
                <a:gd name="connsiteY11" fmla="*/ 22402 h 24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68" h="24990">
                  <a:moveTo>
                    <a:pt x="1698" y="22402"/>
                  </a:moveTo>
                  <a:cubicBezTo>
                    <a:pt x="3603" y="23672"/>
                    <a:pt x="9318" y="24942"/>
                    <a:pt x="13128" y="22402"/>
                  </a:cubicBezTo>
                  <a:cubicBezTo>
                    <a:pt x="13763" y="21767"/>
                    <a:pt x="16938" y="19862"/>
                    <a:pt x="20748" y="17322"/>
                  </a:cubicBezTo>
                  <a:cubicBezTo>
                    <a:pt x="26463" y="13512"/>
                    <a:pt x="32813" y="8432"/>
                    <a:pt x="34083" y="7162"/>
                  </a:cubicBezTo>
                  <a:cubicBezTo>
                    <a:pt x="35988" y="5257"/>
                    <a:pt x="34718" y="2717"/>
                    <a:pt x="32178" y="812"/>
                  </a:cubicBezTo>
                  <a:cubicBezTo>
                    <a:pt x="29003" y="-1093"/>
                    <a:pt x="24558" y="-2363"/>
                    <a:pt x="20113" y="812"/>
                  </a:cubicBezTo>
                  <a:cubicBezTo>
                    <a:pt x="18208" y="2082"/>
                    <a:pt x="16303" y="3352"/>
                    <a:pt x="13763" y="3987"/>
                  </a:cubicBezTo>
                  <a:cubicBezTo>
                    <a:pt x="11223" y="5257"/>
                    <a:pt x="9318" y="6527"/>
                    <a:pt x="7413" y="8432"/>
                  </a:cubicBezTo>
                  <a:cubicBezTo>
                    <a:pt x="6143" y="9702"/>
                    <a:pt x="4238" y="10337"/>
                    <a:pt x="2968" y="11607"/>
                  </a:cubicBezTo>
                  <a:cubicBezTo>
                    <a:pt x="1698" y="12242"/>
                    <a:pt x="428" y="13512"/>
                    <a:pt x="-207" y="14782"/>
                  </a:cubicBezTo>
                  <a:cubicBezTo>
                    <a:pt x="-1477" y="17322"/>
                    <a:pt x="-842" y="19862"/>
                    <a:pt x="1063" y="21767"/>
                  </a:cubicBezTo>
                  <a:cubicBezTo>
                    <a:pt x="428" y="21767"/>
                    <a:pt x="1063" y="21767"/>
                    <a:pt x="1698" y="22402"/>
                  </a:cubicBezTo>
                </a:path>
              </a:pathLst>
            </a:custGeom>
            <a:solidFill>
              <a:srgbClr val="FFFFFF"/>
            </a:solidFill>
            <a:ln w="6350" cap="flat">
              <a:noFill/>
              <a:prstDash val="solid"/>
              <a:miter/>
            </a:ln>
          </p:spPr>
          <p:txBody>
            <a:bodyPr rtlCol="0" anchor="ctr"/>
            <a:lstStyle/>
            <a:p>
              <a:endParaRPr lang="en-GB"/>
            </a:p>
          </p:txBody>
        </p:sp>
        <p:sp>
          <p:nvSpPr>
            <p:cNvPr id="95" name="Freeform 94"/>
            <p:cNvSpPr/>
            <p:nvPr/>
          </p:nvSpPr>
          <p:spPr>
            <a:xfrm>
              <a:off x="-9012554" y="3247390"/>
              <a:ext cx="38765" cy="25400"/>
            </a:xfrm>
            <a:custGeom>
              <a:avLst/>
              <a:gdLst>
                <a:gd name="connsiteX0" fmla="*/ 34057 w 38765"/>
                <a:gd name="connsiteY0" fmla="*/ 21103 h 25400"/>
                <a:gd name="connsiteX1" fmla="*/ 37232 w 38765"/>
                <a:gd name="connsiteY1" fmla="*/ 13483 h 25400"/>
                <a:gd name="connsiteX2" fmla="*/ 9292 w 38765"/>
                <a:gd name="connsiteY2" fmla="*/ -1122 h 25400"/>
                <a:gd name="connsiteX3" fmla="*/ 402 w 38765"/>
                <a:gd name="connsiteY3" fmla="*/ 3323 h 25400"/>
                <a:gd name="connsiteX4" fmla="*/ -868 w 38765"/>
                <a:gd name="connsiteY4" fmla="*/ 6498 h 25400"/>
                <a:gd name="connsiteX5" fmla="*/ -233 w 38765"/>
                <a:gd name="connsiteY5" fmla="*/ 9673 h 25400"/>
                <a:gd name="connsiteX6" fmla="*/ -233 w 38765"/>
                <a:gd name="connsiteY6" fmla="*/ 9673 h 25400"/>
                <a:gd name="connsiteX7" fmla="*/ 25802 w 38765"/>
                <a:gd name="connsiteY7" fmla="*/ 24278 h 25400"/>
                <a:gd name="connsiteX8" fmla="*/ 34057 w 38765"/>
                <a:gd name="connsiteY8" fmla="*/ 21103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65" h="25400">
                  <a:moveTo>
                    <a:pt x="34057" y="21103"/>
                  </a:moveTo>
                  <a:cubicBezTo>
                    <a:pt x="36597" y="19833"/>
                    <a:pt x="39137" y="16023"/>
                    <a:pt x="37232" y="13483"/>
                  </a:cubicBezTo>
                  <a:cubicBezTo>
                    <a:pt x="35327" y="10943"/>
                    <a:pt x="11832" y="-1122"/>
                    <a:pt x="9292" y="-1122"/>
                  </a:cubicBezTo>
                  <a:cubicBezTo>
                    <a:pt x="6752" y="-1122"/>
                    <a:pt x="2307" y="148"/>
                    <a:pt x="402" y="3323"/>
                  </a:cubicBezTo>
                  <a:cubicBezTo>
                    <a:pt x="-233" y="3958"/>
                    <a:pt x="-868" y="5228"/>
                    <a:pt x="-868" y="6498"/>
                  </a:cubicBezTo>
                  <a:cubicBezTo>
                    <a:pt x="-868" y="7768"/>
                    <a:pt x="-868" y="9038"/>
                    <a:pt x="-233" y="9673"/>
                  </a:cubicBezTo>
                  <a:cubicBezTo>
                    <a:pt x="-233" y="9673"/>
                    <a:pt x="-233" y="9673"/>
                    <a:pt x="-233" y="9673"/>
                  </a:cubicBezTo>
                  <a:cubicBezTo>
                    <a:pt x="2942" y="11578"/>
                    <a:pt x="21992" y="24278"/>
                    <a:pt x="25802" y="24278"/>
                  </a:cubicBezTo>
                  <a:cubicBezTo>
                    <a:pt x="28977" y="23643"/>
                    <a:pt x="31517" y="23008"/>
                    <a:pt x="34057" y="21103"/>
                  </a:cubicBezTo>
                </a:path>
              </a:pathLst>
            </a:custGeom>
            <a:solidFill>
              <a:srgbClr val="FFFFFF"/>
            </a:solidFill>
            <a:ln w="6350" cap="flat">
              <a:noFill/>
              <a:prstDash val="solid"/>
              <a:miter/>
            </a:ln>
          </p:spPr>
          <p:txBody>
            <a:bodyPr rtlCol="0" anchor="ctr"/>
            <a:lstStyle/>
            <a:p>
              <a:endParaRPr lang="en-GB"/>
            </a:p>
          </p:txBody>
        </p:sp>
        <p:sp>
          <p:nvSpPr>
            <p:cNvPr id="96" name="Freeform 95"/>
            <p:cNvSpPr/>
            <p:nvPr/>
          </p:nvSpPr>
          <p:spPr>
            <a:xfrm>
              <a:off x="-9389974" y="3261903"/>
              <a:ext cx="33585" cy="27178"/>
            </a:xfrm>
            <a:custGeom>
              <a:avLst/>
              <a:gdLst>
                <a:gd name="connsiteX0" fmla="*/ 1901 w 33585"/>
                <a:gd name="connsiteY0" fmla="*/ 24369 h 27178"/>
                <a:gd name="connsiteX1" fmla="*/ 2536 w 33585"/>
                <a:gd name="connsiteY1" fmla="*/ 25005 h 27178"/>
                <a:gd name="connsiteX2" fmla="*/ 10156 w 33585"/>
                <a:gd name="connsiteY2" fmla="*/ 25640 h 27178"/>
                <a:gd name="connsiteX3" fmla="*/ 14601 w 33585"/>
                <a:gd name="connsiteY3" fmla="*/ 23734 h 27178"/>
                <a:gd name="connsiteX4" fmla="*/ 31746 w 33585"/>
                <a:gd name="connsiteY4" fmla="*/ 7859 h 27178"/>
                <a:gd name="connsiteX5" fmla="*/ 20951 w 33585"/>
                <a:gd name="connsiteY5" fmla="*/ -395 h 27178"/>
                <a:gd name="connsiteX6" fmla="*/ 5711 w 33585"/>
                <a:gd name="connsiteY6" fmla="*/ 11669 h 27178"/>
                <a:gd name="connsiteX7" fmla="*/ -639 w 33585"/>
                <a:gd name="connsiteY7" fmla="*/ 18019 h 27178"/>
                <a:gd name="connsiteX8" fmla="*/ 1901 w 33585"/>
                <a:gd name="connsiteY8" fmla="*/ 24369 h 2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85" h="27178">
                  <a:moveTo>
                    <a:pt x="1901" y="24369"/>
                  </a:moveTo>
                  <a:cubicBezTo>
                    <a:pt x="1901" y="24369"/>
                    <a:pt x="2536" y="25005"/>
                    <a:pt x="2536" y="25005"/>
                  </a:cubicBezTo>
                  <a:cubicBezTo>
                    <a:pt x="5076" y="26275"/>
                    <a:pt x="7616" y="26275"/>
                    <a:pt x="10156" y="25640"/>
                  </a:cubicBezTo>
                  <a:cubicBezTo>
                    <a:pt x="11426" y="25005"/>
                    <a:pt x="13331" y="24369"/>
                    <a:pt x="14601" y="23734"/>
                  </a:cubicBezTo>
                  <a:cubicBezTo>
                    <a:pt x="16506" y="21830"/>
                    <a:pt x="30476" y="9130"/>
                    <a:pt x="31746" y="7859"/>
                  </a:cubicBezTo>
                  <a:cubicBezTo>
                    <a:pt x="36191" y="1509"/>
                    <a:pt x="24126" y="-2935"/>
                    <a:pt x="20951" y="-395"/>
                  </a:cubicBezTo>
                  <a:cubicBezTo>
                    <a:pt x="18411" y="1509"/>
                    <a:pt x="9521" y="9130"/>
                    <a:pt x="5711" y="11669"/>
                  </a:cubicBezTo>
                  <a:cubicBezTo>
                    <a:pt x="4441" y="12940"/>
                    <a:pt x="631" y="16115"/>
                    <a:pt x="-639" y="18019"/>
                  </a:cubicBezTo>
                  <a:cubicBezTo>
                    <a:pt x="-1274" y="19925"/>
                    <a:pt x="-639" y="23100"/>
                    <a:pt x="1901" y="24369"/>
                  </a:cubicBezTo>
                </a:path>
              </a:pathLst>
            </a:custGeom>
            <a:solidFill>
              <a:srgbClr val="FFFFFF"/>
            </a:solidFill>
            <a:ln w="6350" cap="flat">
              <a:noFill/>
              <a:prstDash val="solid"/>
              <a:miter/>
            </a:ln>
          </p:spPr>
          <p:txBody>
            <a:bodyPr rtlCol="0" anchor="ctr"/>
            <a:lstStyle/>
            <a:p>
              <a:endParaRPr lang="en-GB"/>
            </a:p>
          </p:txBody>
        </p:sp>
        <p:sp>
          <p:nvSpPr>
            <p:cNvPr id="97" name="Freeform 96"/>
            <p:cNvSpPr/>
            <p:nvPr/>
          </p:nvSpPr>
          <p:spPr>
            <a:xfrm>
              <a:off x="-9029764" y="3264158"/>
              <a:ext cx="33744" cy="21966"/>
            </a:xfrm>
            <a:custGeom>
              <a:avLst/>
              <a:gdLst>
                <a:gd name="connsiteX0" fmla="*/ 23326 w 33744"/>
                <a:gd name="connsiteY0" fmla="*/ 20845 h 21966"/>
                <a:gd name="connsiteX1" fmla="*/ 29041 w 33744"/>
                <a:gd name="connsiteY1" fmla="*/ 20210 h 21966"/>
                <a:gd name="connsiteX2" fmla="*/ 30311 w 33744"/>
                <a:gd name="connsiteY2" fmla="*/ 19575 h 21966"/>
                <a:gd name="connsiteX3" fmla="*/ 30946 w 33744"/>
                <a:gd name="connsiteY3" fmla="*/ 18939 h 21966"/>
                <a:gd name="connsiteX4" fmla="*/ 32216 w 33744"/>
                <a:gd name="connsiteY4" fmla="*/ 12589 h 21966"/>
                <a:gd name="connsiteX5" fmla="*/ 25866 w 33744"/>
                <a:gd name="connsiteY5" fmla="*/ 7510 h 21966"/>
                <a:gd name="connsiteX6" fmla="*/ 24596 w 33744"/>
                <a:gd name="connsiteY6" fmla="*/ 6875 h 21966"/>
                <a:gd name="connsiteX7" fmla="*/ 9991 w 33744"/>
                <a:gd name="connsiteY7" fmla="*/ -745 h 21966"/>
                <a:gd name="connsiteX8" fmla="*/ 466 w 33744"/>
                <a:gd name="connsiteY8" fmla="*/ 7510 h 21966"/>
                <a:gd name="connsiteX9" fmla="*/ 18246 w 33744"/>
                <a:gd name="connsiteY9" fmla="*/ 19575 h 21966"/>
                <a:gd name="connsiteX10" fmla="*/ 23326 w 33744"/>
                <a:gd name="connsiteY10" fmla="*/ 20845 h 2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1966">
                  <a:moveTo>
                    <a:pt x="23326" y="20845"/>
                  </a:moveTo>
                  <a:cubicBezTo>
                    <a:pt x="25231" y="20845"/>
                    <a:pt x="27136" y="20845"/>
                    <a:pt x="29041" y="20210"/>
                  </a:cubicBezTo>
                  <a:cubicBezTo>
                    <a:pt x="29676" y="20210"/>
                    <a:pt x="29676" y="19575"/>
                    <a:pt x="30311" y="19575"/>
                  </a:cubicBezTo>
                  <a:cubicBezTo>
                    <a:pt x="30311" y="19575"/>
                    <a:pt x="30946" y="18939"/>
                    <a:pt x="30946" y="18939"/>
                  </a:cubicBezTo>
                  <a:cubicBezTo>
                    <a:pt x="32851" y="17670"/>
                    <a:pt x="33486" y="14495"/>
                    <a:pt x="32216" y="12589"/>
                  </a:cubicBezTo>
                  <a:cubicBezTo>
                    <a:pt x="31581" y="11320"/>
                    <a:pt x="27136" y="8780"/>
                    <a:pt x="25866" y="7510"/>
                  </a:cubicBezTo>
                  <a:cubicBezTo>
                    <a:pt x="25231" y="7510"/>
                    <a:pt x="25231" y="6875"/>
                    <a:pt x="24596" y="6875"/>
                  </a:cubicBezTo>
                  <a:cubicBezTo>
                    <a:pt x="20786" y="4335"/>
                    <a:pt x="12531" y="-111"/>
                    <a:pt x="9991" y="-745"/>
                  </a:cubicBezTo>
                  <a:cubicBezTo>
                    <a:pt x="6181" y="-2650"/>
                    <a:pt x="-4614" y="3064"/>
                    <a:pt x="466" y="7510"/>
                  </a:cubicBezTo>
                  <a:cubicBezTo>
                    <a:pt x="1736" y="8780"/>
                    <a:pt x="16341" y="18305"/>
                    <a:pt x="18246" y="19575"/>
                  </a:cubicBezTo>
                  <a:cubicBezTo>
                    <a:pt x="20151" y="20210"/>
                    <a:pt x="22056" y="20845"/>
                    <a:pt x="23326" y="20845"/>
                  </a:cubicBezTo>
                </a:path>
              </a:pathLst>
            </a:custGeom>
            <a:solidFill>
              <a:srgbClr val="FFFFFF"/>
            </a:solidFill>
            <a:ln w="6350" cap="flat">
              <a:noFill/>
              <a:prstDash val="solid"/>
              <a:miter/>
            </a:ln>
          </p:spPr>
          <p:txBody>
            <a:bodyPr rtlCol="0" anchor="ctr"/>
            <a:lstStyle/>
            <a:p>
              <a:endParaRPr lang="en-GB"/>
            </a:p>
          </p:txBody>
        </p:sp>
        <p:sp>
          <p:nvSpPr>
            <p:cNvPr id="98" name="Freeform 97"/>
            <p:cNvSpPr/>
            <p:nvPr/>
          </p:nvSpPr>
          <p:spPr>
            <a:xfrm>
              <a:off x="-9581932" y="3261135"/>
              <a:ext cx="161451" cy="52780"/>
            </a:xfrm>
            <a:custGeom>
              <a:avLst/>
              <a:gdLst>
                <a:gd name="connsiteX0" fmla="*/ 160204 w 161451"/>
                <a:gd name="connsiteY0" fmla="*/ 3548 h 52780"/>
                <a:gd name="connsiteX1" fmla="*/ 150044 w 161451"/>
                <a:gd name="connsiteY1" fmla="*/ -263 h 52780"/>
                <a:gd name="connsiteX2" fmla="*/ 184 w 161451"/>
                <a:gd name="connsiteY2" fmla="*/ 37837 h 52780"/>
                <a:gd name="connsiteX3" fmla="*/ -451 w 161451"/>
                <a:gd name="connsiteY3" fmla="*/ 40377 h 52780"/>
                <a:gd name="connsiteX4" fmla="*/ 4629 w 161451"/>
                <a:gd name="connsiteY4" fmla="*/ 47998 h 52780"/>
                <a:gd name="connsiteX5" fmla="*/ 49079 w 161451"/>
                <a:gd name="connsiteY5" fmla="*/ 50537 h 52780"/>
                <a:gd name="connsiteX6" fmla="*/ 158934 w 161451"/>
                <a:gd name="connsiteY6" fmla="*/ 11802 h 52780"/>
                <a:gd name="connsiteX7" fmla="*/ 160204 w 161451"/>
                <a:gd name="connsiteY7" fmla="*/ 3548 h 5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451" h="52780">
                  <a:moveTo>
                    <a:pt x="160204" y="3548"/>
                  </a:moveTo>
                  <a:cubicBezTo>
                    <a:pt x="159569" y="-2167"/>
                    <a:pt x="153854" y="-1532"/>
                    <a:pt x="150044" y="-263"/>
                  </a:cubicBezTo>
                  <a:cubicBezTo>
                    <a:pt x="146869" y="1008"/>
                    <a:pt x="1454" y="37202"/>
                    <a:pt x="184" y="37837"/>
                  </a:cubicBezTo>
                  <a:cubicBezTo>
                    <a:pt x="-1086" y="38473"/>
                    <a:pt x="-1086" y="39108"/>
                    <a:pt x="-451" y="40377"/>
                  </a:cubicBezTo>
                  <a:cubicBezTo>
                    <a:pt x="184" y="41648"/>
                    <a:pt x="2089" y="47362"/>
                    <a:pt x="4629" y="47998"/>
                  </a:cubicBezTo>
                  <a:cubicBezTo>
                    <a:pt x="8439" y="49268"/>
                    <a:pt x="38919" y="53712"/>
                    <a:pt x="49079" y="50537"/>
                  </a:cubicBezTo>
                  <a:cubicBezTo>
                    <a:pt x="59239" y="47998"/>
                    <a:pt x="157029" y="14343"/>
                    <a:pt x="158934" y="11802"/>
                  </a:cubicBezTo>
                  <a:cubicBezTo>
                    <a:pt x="160839" y="9898"/>
                    <a:pt x="160839" y="6087"/>
                    <a:pt x="160204" y="3548"/>
                  </a:cubicBezTo>
                </a:path>
              </a:pathLst>
            </a:custGeom>
            <a:solidFill>
              <a:srgbClr val="FFFFFF"/>
            </a:solidFill>
            <a:ln w="6350" cap="flat">
              <a:noFill/>
              <a:prstDash val="solid"/>
              <a:miter/>
            </a:ln>
          </p:spPr>
          <p:txBody>
            <a:bodyPr rtlCol="0" anchor="ctr"/>
            <a:lstStyle/>
            <a:p>
              <a:endParaRPr lang="en-GB"/>
            </a:p>
          </p:txBody>
        </p:sp>
        <p:sp>
          <p:nvSpPr>
            <p:cNvPr id="99" name="Freeform 98"/>
            <p:cNvSpPr/>
            <p:nvPr/>
          </p:nvSpPr>
          <p:spPr>
            <a:xfrm>
              <a:off x="-9365090" y="3274911"/>
              <a:ext cx="27442" cy="25049"/>
            </a:xfrm>
            <a:custGeom>
              <a:avLst/>
              <a:gdLst>
                <a:gd name="connsiteX0" fmla="*/ 513 w 27442"/>
                <a:gd name="connsiteY0" fmla="*/ 22157 h 25049"/>
                <a:gd name="connsiteX1" fmla="*/ 13213 w 27442"/>
                <a:gd name="connsiteY1" fmla="*/ 20886 h 25049"/>
                <a:gd name="connsiteX2" fmla="*/ 26548 w 27442"/>
                <a:gd name="connsiteY2" fmla="*/ 1202 h 25049"/>
                <a:gd name="connsiteX3" fmla="*/ 14483 w 27442"/>
                <a:gd name="connsiteY3" fmla="*/ -703 h 25049"/>
                <a:gd name="connsiteX4" fmla="*/ 3688 w 27442"/>
                <a:gd name="connsiteY4" fmla="*/ 10727 h 25049"/>
                <a:gd name="connsiteX5" fmla="*/ 513 w 27442"/>
                <a:gd name="connsiteY5" fmla="*/ 22157 h 2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42" h="25049">
                  <a:moveTo>
                    <a:pt x="513" y="22157"/>
                  </a:moveTo>
                  <a:cubicBezTo>
                    <a:pt x="4323" y="24697"/>
                    <a:pt x="10038" y="24697"/>
                    <a:pt x="13213" y="20886"/>
                  </a:cubicBezTo>
                  <a:cubicBezTo>
                    <a:pt x="14483" y="19617"/>
                    <a:pt x="24643" y="5011"/>
                    <a:pt x="26548" y="1202"/>
                  </a:cubicBezTo>
                  <a:cubicBezTo>
                    <a:pt x="27183" y="-68"/>
                    <a:pt x="16388" y="-1973"/>
                    <a:pt x="14483" y="-703"/>
                  </a:cubicBezTo>
                  <a:cubicBezTo>
                    <a:pt x="11943" y="567"/>
                    <a:pt x="6863" y="7552"/>
                    <a:pt x="3688" y="10727"/>
                  </a:cubicBezTo>
                  <a:cubicBezTo>
                    <a:pt x="1783" y="13902"/>
                    <a:pt x="-3297" y="18982"/>
                    <a:pt x="513" y="22157"/>
                  </a:cubicBezTo>
                </a:path>
              </a:pathLst>
            </a:custGeom>
            <a:solidFill>
              <a:srgbClr val="FFFFFF"/>
            </a:solidFill>
            <a:ln w="6350" cap="flat">
              <a:noFill/>
              <a:prstDash val="solid"/>
              <a:miter/>
            </a:ln>
          </p:spPr>
          <p:txBody>
            <a:bodyPr rtlCol="0" anchor="ctr"/>
            <a:lstStyle/>
            <a:p>
              <a:endParaRPr lang="en-GB"/>
            </a:p>
          </p:txBody>
        </p:sp>
        <p:sp>
          <p:nvSpPr>
            <p:cNvPr id="100" name="Freeform 99"/>
            <p:cNvSpPr/>
            <p:nvPr/>
          </p:nvSpPr>
          <p:spPr>
            <a:xfrm>
              <a:off x="-8982075" y="3275258"/>
              <a:ext cx="147657" cy="52947"/>
            </a:xfrm>
            <a:custGeom>
              <a:avLst/>
              <a:gdLst>
                <a:gd name="connsiteX0" fmla="*/ 110892 w 147657"/>
                <a:gd name="connsiteY0" fmla="*/ 31969 h 52947"/>
                <a:gd name="connsiteX1" fmla="*/ 10562 w 147657"/>
                <a:gd name="connsiteY1" fmla="*/ -1051 h 52947"/>
                <a:gd name="connsiteX2" fmla="*/ -868 w 147657"/>
                <a:gd name="connsiteY2" fmla="*/ 4664 h 52947"/>
                <a:gd name="connsiteX3" fmla="*/ 42947 w 147657"/>
                <a:gd name="connsiteY3" fmla="*/ 28159 h 52947"/>
                <a:gd name="connsiteX4" fmla="*/ 69617 w 147657"/>
                <a:gd name="connsiteY4" fmla="*/ 40859 h 52947"/>
                <a:gd name="connsiteX5" fmla="*/ 97557 w 147657"/>
                <a:gd name="connsiteY5" fmla="*/ 49749 h 52947"/>
                <a:gd name="connsiteX6" fmla="*/ 142642 w 147657"/>
                <a:gd name="connsiteY6" fmla="*/ 51019 h 52947"/>
                <a:gd name="connsiteX7" fmla="*/ 146452 w 147657"/>
                <a:gd name="connsiteY7" fmla="*/ 40859 h 52947"/>
                <a:gd name="connsiteX8" fmla="*/ 110892 w 147657"/>
                <a:gd name="connsiteY8" fmla="*/ 31969 h 5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657" h="52947">
                  <a:moveTo>
                    <a:pt x="110892" y="31969"/>
                  </a:moveTo>
                  <a:cubicBezTo>
                    <a:pt x="46757" y="13554"/>
                    <a:pt x="15007" y="-2321"/>
                    <a:pt x="10562" y="-1051"/>
                  </a:cubicBezTo>
                  <a:cubicBezTo>
                    <a:pt x="6752" y="-416"/>
                    <a:pt x="-868" y="2759"/>
                    <a:pt x="-868" y="4664"/>
                  </a:cubicBezTo>
                  <a:cubicBezTo>
                    <a:pt x="-868" y="7839"/>
                    <a:pt x="37232" y="24984"/>
                    <a:pt x="42947" y="28159"/>
                  </a:cubicBezTo>
                  <a:cubicBezTo>
                    <a:pt x="51837" y="32604"/>
                    <a:pt x="60092" y="37049"/>
                    <a:pt x="69617" y="40859"/>
                  </a:cubicBezTo>
                  <a:cubicBezTo>
                    <a:pt x="79142" y="44669"/>
                    <a:pt x="87397" y="47844"/>
                    <a:pt x="97557" y="49749"/>
                  </a:cubicBezTo>
                  <a:cubicBezTo>
                    <a:pt x="106447" y="51019"/>
                    <a:pt x="136927" y="52924"/>
                    <a:pt x="142642" y="51019"/>
                  </a:cubicBezTo>
                  <a:cubicBezTo>
                    <a:pt x="145182" y="50384"/>
                    <a:pt x="147722" y="43399"/>
                    <a:pt x="146452" y="40859"/>
                  </a:cubicBezTo>
                  <a:cubicBezTo>
                    <a:pt x="144547" y="37684"/>
                    <a:pt x="128672" y="37049"/>
                    <a:pt x="110892" y="31969"/>
                  </a:cubicBezTo>
                </a:path>
              </a:pathLst>
            </a:custGeom>
            <a:solidFill>
              <a:srgbClr val="FFFFFF"/>
            </a:solidFill>
            <a:ln w="6350" cap="flat">
              <a:noFill/>
              <a:prstDash val="solid"/>
              <a:miter/>
            </a:ln>
          </p:spPr>
          <p:txBody>
            <a:bodyPr rtlCol="0" anchor="ctr"/>
            <a:lstStyle/>
            <a:p>
              <a:endParaRPr lang="en-GB"/>
            </a:p>
          </p:txBody>
        </p:sp>
        <p:sp>
          <p:nvSpPr>
            <p:cNvPr id="101" name="Freeform 100"/>
            <p:cNvSpPr/>
            <p:nvPr/>
          </p:nvSpPr>
          <p:spPr>
            <a:xfrm>
              <a:off x="-9523412" y="3280409"/>
              <a:ext cx="124792" cy="52475"/>
            </a:xfrm>
            <a:custGeom>
              <a:avLst/>
              <a:gdLst>
                <a:gd name="connsiteX0" fmla="*/ 123910 w 124792"/>
                <a:gd name="connsiteY0" fmla="*/ 4593 h 52475"/>
                <a:gd name="connsiteX1" fmla="*/ 108669 w 124792"/>
                <a:gd name="connsiteY1" fmla="*/ -1122 h 52475"/>
                <a:gd name="connsiteX2" fmla="*/ 85 w 124792"/>
                <a:gd name="connsiteY2" fmla="*/ 40153 h 52475"/>
                <a:gd name="connsiteX3" fmla="*/ 85 w 124792"/>
                <a:gd name="connsiteY3" fmla="*/ 45868 h 52475"/>
                <a:gd name="connsiteX4" fmla="*/ 4529 w 124792"/>
                <a:gd name="connsiteY4" fmla="*/ 50313 h 52475"/>
                <a:gd name="connsiteX5" fmla="*/ 41994 w 124792"/>
                <a:gd name="connsiteY5" fmla="*/ 49043 h 52475"/>
                <a:gd name="connsiteX6" fmla="*/ 99779 w 124792"/>
                <a:gd name="connsiteY6" fmla="*/ 20468 h 52475"/>
                <a:gd name="connsiteX7" fmla="*/ 123910 w 124792"/>
                <a:gd name="connsiteY7" fmla="*/ 4593 h 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792" h="52475">
                  <a:moveTo>
                    <a:pt x="123910" y="4593"/>
                  </a:moveTo>
                  <a:cubicBezTo>
                    <a:pt x="123274" y="-1122"/>
                    <a:pt x="113749" y="-1122"/>
                    <a:pt x="108669" y="-1122"/>
                  </a:cubicBezTo>
                  <a:cubicBezTo>
                    <a:pt x="104224" y="-1122"/>
                    <a:pt x="1989" y="39518"/>
                    <a:pt x="85" y="40153"/>
                  </a:cubicBezTo>
                  <a:cubicBezTo>
                    <a:pt x="-1186" y="40788"/>
                    <a:pt x="-1186" y="43328"/>
                    <a:pt x="85" y="45868"/>
                  </a:cubicBezTo>
                  <a:cubicBezTo>
                    <a:pt x="719" y="47773"/>
                    <a:pt x="1989" y="49678"/>
                    <a:pt x="4529" y="50313"/>
                  </a:cubicBezTo>
                  <a:cubicBezTo>
                    <a:pt x="12149" y="51583"/>
                    <a:pt x="32469" y="52218"/>
                    <a:pt x="41994" y="49043"/>
                  </a:cubicBezTo>
                  <a:cubicBezTo>
                    <a:pt x="51519" y="45868"/>
                    <a:pt x="90254" y="25548"/>
                    <a:pt x="99779" y="20468"/>
                  </a:cubicBezTo>
                  <a:cubicBezTo>
                    <a:pt x="104224" y="17928"/>
                    <a:pt x="124544" y="8403"/>
                    <a:pt x="123910" y="4593"/>
                  </a:cubicBezTo>
                </a:path>
              </a:pathLst>
            </a:custGeom>
            <a:solidFill>
              <a:srgbClr val="FFFFFF"/>
            </a:solidFill>
            <a:ln w="6350" cap="flat">
              <a:noFill/>
              <a:prstDash val="solid"/>
              <a:miter/>
            </a:ln>
          </p:spPr>
          <p:txBody>
            <a:bodyPr rtlCol="0" anchor="ctr"/>
            <a:lstStyle/>
            <a:p>
              <a:endParaRPr lang="en-GB"/>
            </a:p>
          </p:txBody>
        </p:sp>
        <p:sp>
          <p:nvSpPr>
            <p:cNvPr id="102" name="Freeform 101"/>
            <p:cNvSpPr/>
            <p:nvPr/>
          </p:nvSpPr>
          <p:spPr>
            <a:xfrm>
              <a:off x="-8996287" y="3288492"/>
              <a:ext cx="111015" cy="58714"/>
            </a:xfrm>
            <a:custGeom>
              <a:avLst/>
              <a:gdLst>
                <a:gd name="connsiteX0" fmla="*/ 108595 w 111015"/>
                <a:gd name="connsiteY0" fmla="*/ 46041 h 58714"/>
                <a:gd name="connsiteX1" fmla="*/ 90180 w 111015"/>
                <a:gd name="connsiteY1" fmla="*/ 39691 h 58714"/>
                <a:gd name="connsiteX2" fmla="*/ 44460 w 111015"/>
                <a:gd name="connsiteY2" fmla="*/ 18101 h 58714"/>
                <a:gd name="connsiteX3" fmla="*/ 26680 w 111015"/>
                <a:gd name="connsiteY3" fmla="*/ 7941 h 58714"/>
                <a:gd name="connsiteX4" fmla="*/ 9535 w 111015"/>
                <a:gd name="connsiteY4" fmla="*/ -949 h 58714"/>
                <a:gd name="connsiteX5" fmla="*/ 2550 w 111015"/>
                <a:gd name="connsiteY5" fmla="*/ 321 h 58714"/>
                <a:gd name="connsiteX6" fmla="*/ 1915 w 111015"/>
                <a:gd name="connsiteY6" fmla="*/ 7306 h 58714"/>
                <a:gd name="connsiteX7" fmla="*/ 49540 w 111015"/>
                <a:gd name="connsiteY7" fmla="*/ 40326 h 58714"/>
                <a:gd name="connsiteX8" fmla="*/ 72400 w 111015"/>
                <a:gd name="connsiteY8" fmla="*/ 53026 h 58714"/>
                <a:gd name="connsiteX9" fmla="*/ 104785 w 111015"/>
                <a:gd name="connsiteY9" fmla="*/ 57471 h 58714"/>
                <a:gd name="connsiteX10" fmla="*/ 108595 w 111015"/>
                <a:gd name="connsiteY10" fmla="*/ 46041 h 5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5" h="58714">
                  <a:moveTo>
                    <a:pt x="108595" y="46041"/>
                  </a:moveTo>
                  <a:cubicBezTo>
                    <a:pt x="102245" y="44136"/>
                    <a:pt x="96530" y="42231"/>
                    <a:pt x="90180" y="39691"/>
                  </a:cubicBezTo>
                  <a:cubicBezTo>
                    <a:pt x="74305" y="33976"/>
                    <a:pt x="59065" y="26356"/>
                    <a:pt x="44460" y="18101"/>
                  </a:cubicBezTo>
                  <a:cubicBezTo>
                    <a:pt x="38745" y="14926"/>
                    <a:pt x="33030" y="11751"/>
                    <a:pt x="26680" y="7941"/>
                  </a:cubicBezTo>
                  <a:cubicBezTo>
                    <a:pt x="23505" y="6036"/>
                    <a:pt x="12710" y="-949"/>
                    <a:pt x="9535" y="-949"/>
                  </a:cubicBezTo>
                  <a:cubicBezTo>
                    <a:pt x="6995" y="-1584"/>
                    <a:pt x="5090" y="-314"/>
                    <a:pt x="2550" y="321"/>
                  </a:cubicBezTo>
                  <a:cubicBezTo>
                    <a:pt x="-1895" y="1591"/>
                    <a:pt x="-1895" y="4131"/>
                    <a:pt x="1915" y="7306"/>
                  </a:cubicBezTo>
                  <a:cubicBezTo>
                    <a:pt x="3185" y="8576"/>
                    <a:pt x="41920" y="35246"/>
                    <a:pt x="49540" y="40326"/>
                  </a:cubicBezTo>
                  <a:cubicBezTo>
                    <a:pt x="56525" y="44771"/>
                    <a:pt x="64145" y="49851"/>
                    <a:pt x="72400" y="53026"/>
                  </a:cubicBezTo>
                  <a:cubicBezTo>
                    <a:pt x="80020" y="56201"/>
                    <a:pt x="99070" y="58106"/>
                    <a:pt x="104785" y="57471"/>
                  </a:cubicBezTo>
                  <a:cubicBezTo>
                    <a:pt x="109865" y="56836"/>
                    <a:pt x="111770" y="47311"/>
                    <a:pt x="108595" y="46041"/>
                  </a:cubicBezTo>
                </a:path>
              </a:pathLst>
            </a:custGeom>
            <a:solidFill>
              <a:srgbClr val="FFFFFF"/>
            </a:solidFill>
            <a:ln w="6350" cap="flat">
              <a:noFill/>
              <a:prstDash val="solid"/>
              <a:miter/>
            </a:ln>
          </p:spPr>
          <p:txBody>
            <a:bodyPr rtlCol="0" anchor="ctr"/>
            <a:lstStyle/>
            <a:p>
              <a:endParaRPr lang="en-GB"/>
            </a:p>
          </p:txBody>
        </p:sp>
        <p:sp>
          <p:nvSpPr>
            <p:cNvPr id="103" name="Freeform 102"/>
            <p:cNvSpPr/>
            <p:nvPr/>
          </p:nvSpPr>
          <p:spPr>
            <a:xfrm>
              <a:off x="-9473188" y="3296820"/>
              <a:ext cx="99592" cy="56073"/>
            </a:xfrm>
            <a:custGeom>
              <a:avLst/>
              <a:gdLst>
                <a:gd name="connsiteX0" fmla="*/ 98451 w 99592"/>
                <a:gd name="connsiteY0" fmla="*/ 2788 h 56073"/>
                <a:gd name="connsiteX1" fmla="*/ 81941 w 99592"/>
                <a:gd name="connsiteY1" fmla="*/ -1023 h 56073"/>
                <a:gd name="connsiteX2" fmla="*/ 72416 w 99592"/>
                <a:gd name="connsiteY2" fmla="*/ 4058 h 56073"/>
                <a:gd name="connsiteX3" fmla="*/ 5741 w 99592"/>
                <a:gd name="connsiteY3" fmla="*/ 41523 h 56073"/>
                <a:gd name="connsiteX4" fmla="*/ 26 w 99592"/>
                <a:gd name="connsiteY4" fmla="*/ 49777 h 56073"/>
                <a:gd name="connsiteX5" fmla="*/ 5741 w 99592"/>
                <a:gd name="connsiteY5" fmla="*/ 54858 h 56073"/>
                <a:gd name="connsiteX6" fmla="*/ 44476 w 99592"/>
                <a:gd name="connsiteY6" fmla="*/ 45333 h 56073"/>
                <a:gd name="connsiteX7" fmla="*/ 72416 w 99592"/>
                <a:gd name="connsiteY7" fmla="*/ 24377 h 56073"/>
                <a:gd name="connsiteX8" fmla="*/ 98451 w 99592"/>
                <a:gd name="connsiteY8" fmla="*/ 2788 h 5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592" h="56073">
                  <a:moveTo>
                    <a:pt x="98451" y="2788"/>
                  </a:moveTo>
                  <a:cubicBezTo>
                    <a:pt x="100991" y="883"/>
                    <a:pt x="85116" y="-1657"/>
                    <a:pt x="81941" y="-1023"/>
                  </a:cubicBezTo>
                  <a:cubicBezTo>
                    <a:pt x="80671" y="-1023"/>
                    <a:pt x="77496" y="883"/>
                    <a:pt x="72416" y="4058"/>
                  </a:cubicBezTo>
                  <a:cubicBezTo>
                    <a:pt x="52096" y="14852"/>
                    <a:pt x="6376" y="40888"/>
                    <a:pt x="5741" y="41523"/>
                  </a:cubicBezTo>
                  <a:cubicBezTo>
                    <a:pt x="661" y="44698"/>
                    <a:pt x="-2514" y="45968"/>
                    <a:pt x="26" y="49777"/>
                  </a:cubicBezTo>
                  <a:cubicBezTo>
                    <a:pt x="661" y="51048"/>
                    <a:pt x="2566" y="54223"/>
                    <a:pt x="5741" y="54858"/>
                  </a:cubicBezTo>
                  <a:cubicBezTo>
                    <a:pt x="8916" y="55493"/>
                    <a:pt x="31776" y="52952"/>
                    <a:pt x="44476" y="45333"/>
                  </a:cubicBezTo>
                  <a:cubicBezTo>
                    <a:pt x="49556" y="42158"/>
                    <a:pt x="60986" y="33268"/>
                    <a:pt x="72416" y="24377"/>
                  </a:cubicBezTo>
                  <a:cubicBezTo>
                    <a:pt x="85116" y="14218"/>
                    <a:pt x="97816" y="4058"/>
                    <a:pt x="98451" y="2788"/>
                  </a:cubicBezTo>
                </a:path>
              </a:pathLst>
            </a:custGeom>
            <a:solidFill>
              <a:srgbClr val="FFFFFF"/>
            </a:solidFill>
            <a:ln w="6350" cap="flat">
              <a:noFill/>
              <a:prstDash val="solid"/>
              <a:miter/>
            </a:ln>
          </p:spPr>
          <p:txBody>
            <a:bodyPr rtlCol="0" anchor="ctr"/>
            <a:lstStyle/>
            <a:p>
              <a:endParaRPr lang="en-GB"/>
            </a:p>
          </p:txBody>
        </p:sp>
        <p:sp>
          <p:nvSpPr>
            <p:cNvPr id="104" name="Freeform 103"/>
            <p:cNvSpPr/>
            <p:nvPr/>
          </p:nvSpPr>
          <p:spPr>
            <a:xfrm>
              <a:off x="-9423407" y="3305809"/>
              <a:ext cx="74937" cy="55645"/>
            </a:xfrm>
            <a:custGeom>
              <a:avLst/>
              <a:gdLst>
                <a:gd name="connsiteX0" fmla="*/ 71530 w 74937"/>
                <a:gd name="connsiteY0" fmla="*/ 5863 h 55645"/>
                <a:gd name="connsiteX1" fmla="*/ 74070 w 74937"/>
                <a:gd name="connsiteY1" fmla="*/ 2053 h 55645"/>
                <a:gd name="connsiteX2" fmla="*/ 73435 w 74937"/>
                <a:gd name="connsiteY2" fmla="*/ 783 h 55645"/>
                <a:gd name="connsiteX3" fmla="*/ 66450 w 74937"/>
                <a:gd name="connsiteY3" fmla="*/ 148 h 55645"/>
                <a:gd name="connsiteX4" fmla="*/ 54385 w 74937"/>
                <a:gd name="connsiteY4" fmla="*/ -1122 h 55645"/>
                <a:gd name="connsiteX5" fmla="*/ 23905 w 74937"/>
                <a:gd name="connsiteY5" fmla="*/ 24278 h 55645"/>
                <a:gd name="connsiteX6" fmla="*/ 2950 w 74937"/>
                <a:gd name="connsiteY6" fmla="*/ 42693 h 55645"/>
                <a:gd name="connsiteX7" fmla="*/ 1045 w 74937"/>
                <a:gd name="connsiteY7" fmla="*/ 52218 h 55645"/>
                <a:gd name="connsiteX8" fmla="*/ 24540 w 74937"/>
                <a:gd name="connsiteY8" fmla="*/ 49678 h 55645"/>
                <a:gd name="connsiteX9" fmla="*/ 34700 w 74937"/>
                <a:gd name="connsiteY9" fmla="*/ 43963 h 55645"/>
                <a:gd name="connsiteX10" fmla="*/ 36605 w 74937"/>
                <a:gd name="connsiteY10" fmla="*/ 42058 h 55645"/>
                <a:gd name="connsiteX11" fmla="*/ 71530 w 74937"/>
                <a:gd name="connsiteY11" fmla="*/ 5863 h 5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937" h="55645">
                  <a:moveTo>
                    <a:pt x="71530" y="5863"/>
                  </a:moveTo>
                  <a:cubicBezTo>
                    <a:pt x="72165" y="4593"/>
                    <a:pt x="74070" y="3323"/>
                    <a:pt x="74070" y="2053"/>
                  </a:cubicBezTo>
                  <a:cubicBezTo>
                    <a:pt x="74070" y="1418"/>
                    <a:pt x="74070" y="1418"/>
                    <a:pt x="73435" y="783"/>
                  </a:cubicBezTo>
                  <a:cubicBezTo>
                    <a:pt x="71530" y="-1122"/>
                    <a:pt x="68355" y="148"/>
                    <a:pt x="66450" y="148"/>
                  </a:cubicBezTo>
                  <a:cubicBezTo>
                    <a:pt x="62005" y="148"/>
                    <a:pt x="58195" y="-1122"/>
                    <a:pt x="54385" y="-1122"/>
                  </a:cubicBezTo>
                  <a:cubicBezTo>
                    <a:pt x="53115" y="-1122"/>
                    <a:pt x="37875" y="11578"/>
                    <a:pt x="23905" y="24278"/>
                  </a:cubicBezTo>
                  <a:cubicBezTo>
                    <a:pt x="15015" y="31898"/>
                    <a:pt x="6125" y="39518"/>
                    <a:pt x="2950" y="42693"/>
                  </a:cubicBezTo>
                  <a:cubicBezTo>
                    <a:pt x="-225" y="45233"/>
                    <a:pt x="-2765" y="48408"/>
                    <a:pt x="1045" y="52218"/>
                  </a:cubicBezTo>
                  <a:cubicBezTo>
                    <a:pt x="6125" y="57298"/>
                    <a:pt x="18190" y="52853"/>
                    <a:pt x="24540" y="49678"/>
                  </a:cubicBezTo>
                  <a:cubicBezTo>
                    <a:pt x="28350" y="47773"/>
                    <a:pt x="31525" y="46503"/>
                    <a:pt x="34700" y="43963"/>
                  </a:cubicBezTo>
                  <a:cubicBezTo>
                    <a:pt x="35335" y="43328"/>
                    <a:pt x="35970" y="42693"/>
                    <a:pt x="36605" y="42058"/>
                  </a:cubicBezTo>
                  <a:cubicBezTo>
                    <a:pt x="39145" y="38883"/>
                    <a:pt x="69625" y="8403"/>
                    <a:pt x="71530" y="5863"/>
                  </a:cubicBezTo>
                </a:path>
              </a:pathLst>
            </a:custGeom>
            <a:solidFill>
              <a:srgbClr val="FFFFFF"/>
            </a:solidFill>
            <a:ln w="6350" cap="flat">
              <a:noFill/>
              <a:prstDash val="solid"/>
              <a:miter/>
            </a:ln>
          </p:spPr>
          <p:txBody>
            <a:bodyPr rtlCol="0" anchor="ctr"/>
            <a:lstStyle/>
            <a:p>
              <a:endParaRPr lang="en-GB"/>
            </a:p>
          </p:txBody>
        </p:sp>
        <p:sp>
          <p:nvSpPr>
            <p:cNvPr id="105" name="Freeform 104"/>
            <p:cNvSpPr/>
            <p:nvPr/>
          </p:nvSpPr>
          <p:spPr>
            <a:xfrm>
              <a:off x="-9445695" y="3199765"/>
              <a:ext cx="35678" cy="11517"/>
            </a:xfrm>
            <a:custGeom>
              <a:avLst/>
              <a:gdLst>
                <a:gd name="connsiteX0" fmla="*/ 17618 w 35678"/>
                <a:gd name="connsiteY0" fmla="*/ 9038 h 11517"/>
                <a:gd name="connsiteX1" fmla="*/ 34763 w 35678"/>
                <a:gd name="connsiteY1" fmla="*/ 3958 h 11517"/>
                <a:gd name="connsiteX2" fmla="*/ 16983 w 35678"/>
                <a:gd name="connsiteY2" fmla="*/ -487 h 11517"/>
                <a:gd name="connsiteX3" fmla="*/ 1108 w 35678"/>
                <a:gd name="connsiteY3" fmla="*/ -1122 h 11517"/>
                <a:gd name="connsiteX4" fmla="*/ 1743 w 35678"/>
                <a:gd name="connsiteY4" fmla="*/ 8403 h 11517"/>
                <a:gd name="connsiteX5" fmla="*/ 17618 w 35678"/>
                <a:gd name="connsiteY5" fmla="*/ 9038 h 11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8" h="11517">
                  <a:moveTo>
                    <a:pt x="17618" y="9038"/>
                  </a:moveTo>
                  <a:cubicBezTo>
                    <a:pt x="29683" y="7133"/>
                    <a:pt x="35398" y="7133"/>
                    <a:pt x="34763" y="3958"/>
                  </a:cubicBezTo>
                  <a:cubicBezTo>
                    <a:pt x="34128" y="-1122"/>
                    <a:pt x="28413" y="148"/>
                    <a:pt x="16983" y="-487"/>
                  </a:cubicBezTo>
                  <a:cubicBezTo>
                    <a:pt x="10633" y="-487"/>
                    <a:pt x="7458" y="-1122"/>
                    <a:pt x="1108" y="-1122"/>
                  </a:cubicBezTo>
                  <a:cubicBezTo>
                    <a:pt x="-2702" y="-1122"/>
                    <a:pt x="-162" y="5863"/>
                    <a:pt x="1743" y="8403"/>
                  </a:cubicBezTo>
                  <a:cubicBezTo>
                    <a:pt x="4283" y="11578"/>
                    <a:pt x="10633" y="10308"/>
                    <a:pt x="17618" y="9038"/>
                  </a:cubicBezTo>
                </a:path>
              </a:pathLst>
            </a:custGeom>
            <a:solidFill>
              <a:srgbClr val="FFFFFF"/>
            </a:solidFill>
            <a:ln w="6350" cap="flat">
              <a:noFill/>
              <a:prstDash val="solid"/>
              <a:miter/>
            </a:ln>
          </p:spPr>
          <p:txBody>
            <a:bodyPr rtlCol="0" anchor="ctr"/>
            <a:lstStyle/>
            <a:p>
              <a:endParaRPr lang="en-GB"/>
            </a:p>
          </p:txBody>
        </p:sp>
        <p:sp>
          <p:nvSpPr>
            <p:cNvPr id="106" name="Freeform 105"/>
            <p:cNvSpPr/>
            <p:nvPr/>
          </p:nvSpPr>
          <p:spPr>
            <a:xfrm>
              <a:off x="-8976359" y="3199713"/>
              <a:ext cx="35630" cy="11322"/>
            </a:xfrm>
            <a:custGeom>
              <a:avLst/>
              <a:gdLst>
                <a:gd name="connsiteX0" fmla="*/ 32152 w 35630"/>
                <a:gd name="connsiteY0" fmla="*/ 9090 h 11322"/>
                <a:gd name="connsiteX1" fmla="*/ 32787 w 35630"/>
                <a:gd name="connsiteY1" fmla="*/ -1070 h 11322"/>
                <a:gd name="connsiteX2" fmla="*/ 2307 w 35630"/>
                <a:gd name="connsiteY2" fmla="*/ 1470 h 11322"/>
                <a:gd name="connsiteX3" fmla="*/ -868 w 35630"/>
                <a:gd name="connsiteY3" fmla="*/ 4009 h 11322"/>
                <a:gd name="connsiteX4" fmla="*/ 1037 w 35630"/>
                <a:gd name="connsiteY4" fmla="*/ 5915 h 11322"/>
                <a:gd name="connsiteX5" fmla="*/ 32152 w 35630"/>
                <a:gd name="connsiteY5" fmla="*/ 9090 h 11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1322">
                  <a:moveTo>
                    <a:pt x="32152" y="9090"/>
                  </a:moveTo>
                  <a:cubicBezTo>
                    <a:pt x="34057" y="6549"/>
                    <a:pt x="36597" y="-435"/>
                    <a:pt x="32787" y="-1070"/>
                  </a:cubicBezTo>
                  <a:cubicBezTo>
                    <a:pt x="28342" y="-1070"/>
                    <a:pt x="9292" y="-1705"/>
                    <a:pt x="2307" y="1470"/>
                  </a:cubicBezTo>
                  <a:cubicBezTo>
                    <a:pt x="402" y="2105"/>
                    <a:pt x="-868" y="2740"/>
                    <a:pt x="-868" y="4009"/>
                  </a:cubicBezTo>
                  <a:cubicBezTo>
                    <a:pt x="-868" y="4645"/>
                    <a:pt x="-233" y="5915"/>
                    <a:pt x="1037" y="5915"/>
                  </a:cubicBezTo>
                  <a:cubicBezTo>
                    <a:pt x="5482" y="7820"/>
                    <a:pt x="29612" y="12265"/>
                    <a:pt x="32152" y="9090"/>
                  </a:cubicBezTo>
                </a:path>
              </a:pathLst>
            </a:custGeom>
            <a:solidFill>
              <a:srgbClr val="FFFFFF"/>
            </a:solidFill>
            <a:ln w="6350" cap="flat">
              <a:noFill/>
              <a:prstDash val="solid"/>
              <a:miter/>
            </a:ln>
          </p:spPr>
          <p:txBody>
            <a:bodyPr rtlCol="0" anchor="ctr"/>
            <a:lstStyle/>
            <a:p>
              <a:endParaRPr lang="en-GB"/>
            </a:p>
          </p:txBody>
        </p:sp>
        <p:sp>
          <p:nvSpPr>
            <p:cNvPr id="107" name="Freeform 106"/>
            <p:cNvSpPr/>
            <p:nvPr/>
          </p:nvSpPr>
          <p:spPr>
            <a:xfrm>
              <a:off x="-9060179" y="3279678"/>
              <a:ext cx="19684" cy="30704"/>
            </a:xfrm>
            <a:custGeom>
              <a:avLst/>
              <a:gdLst>
                <a:gd name="connsiteX0" fmla="*/ 14372 w 19684"/>
                <a:gd name="connsiteY0" fmla="*/ 27550 h 30704"/>
                <a:gd name="connsiteX1" fmla="*/ 18817 w 19684"/>
                <a:gd name="connsiteY1" fmla="*/ 23105 h 30704"/>
                <a:gd name="connsiteX2" fmla="*/ 18817 w 19684"/>
                <a:gd name="connsiteY2" fmla="*/ 21834 h 30704"/>
                <a:gd name="connsiteX3" fmla="*/ 18182 w 19684"/>
                <a:gd name="connsiteY3" fmla="*/ 18659 h 30704"/>
                <a:gd name="connsiteX4" fmla="*/ 10562 w 19684"/>
                <a:gd name="connsiteY4" fmla="*/ 5325 h 30704"/>
                <a:gd name="connsiteX5" fmla="*/ 1037 w 19684"/>
                <a:gd name="connsiteY5" fmla="*/ -1025 h 30704"/>
                <a:gd name="connsiteX6" fmla="*/ -868 w 19684"/>
                <a:gd name="connsiteY6" fmla="*/ -391 h 30704"/>
                <a:gd name="connsiteX7" fmla="*/ -868 w 19684"/>
                <a:gd name="connsiteY7" fmla="*/ 244 h 30704"/>
                <a:gd name="connsiteX8" fmla="*/ 8657 w 19684"/>
                <a:gd name="connsiteY8" fmla="*/ 29455 h 30704"/>
                <a:gd name="connsiteX9" fmla="*/ 14372 w 19684"/>
                <a:gd name="connsiteY9" fmla="*/ 27550 h 3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84" h="30704">
                  <a:moveTo>
                    <a:pt x="14372" y="27550"/>
                  </a:moveTo>
                  <a:cubicBezTo>
                    <a:pt x="16277" y="26280"/>
                    <a:pt x="18182" y="25009"/>
                    <a:pt x="18817" y="23105"/>
                  </a:cubicBezTo>
                  <a:cubicBezTo>
                    <a:pt x="18817" y="23105"/>
                    <a:pt x="18817" y="22469"/>
                    <a:pt x="18817" y="21834"/>
                  </a:cubicBezTo>
                  <a:cubicBezTo>
                    <a:pt x="18817" y="20565"/>
                    <a:pt x="18817" y="19930"/>
                    <a:pt x="18182" y="18659"/>
                  </a:cubicBezTo>
                  <a:cubicBezTo>
                    <a:pt x="16912" y="15484"/>
                    <a:pt x="11832" y="6594"/>
                    <a:pt x="10562" y="5325"/>
                  </a:cubicBezTo>
                  <a:cubicBezTo>
                    <a:pt x="8022" y="880"/>
                    <a:pt x="4847" y="-1660"/>
                    <a:pt x="1037" y="-1025"/>
                  </a:cubicBezTo>
                  <a:cubicBezTo>
                    <a:pt x="1037" y="-1025"/>
                    <a:pt x="-233" y="-1025"/>
                    <a:pt x="-868" y="-391"/>
                  </a:cubicBezTo>
                  <a:lnTo>
                    <a:pt x="-868" y="244"/>
                  </a:lnTo>
                  <a:cubicBezTo>
                    <a:pt x="3577" y="9769"/>
                    <a:pt x="6752" y="19294"/>
                    <a:pt x="8657" y="29455"/>
                  </a:cubicBezTo>
                  <a:cubicBezTo>
                    <a:pt x="8657" y="30090"/>
                    <a:pt x="13737" y="28184"/>
                    <a:pt x="14372" y="27550"/>
                  </a:cubicBezTo>
                </a:path>
              </a:pathLst>
            </a:custGeom>
            <a:solidFill>
              <a:srgbClr val="FFFFFF"/>
            </a:solidFill>
            <a:ln w="6350" cap="flat">
              <a:noFill/>
              <a:prstDash val="solid"/>
              <a:miter/>
            </a:ln>
          </p:spPr>
          <p:txBody>
            <a:bodyPr rtlCol="0" anchor="ctr"/>
            <a:lstStyle/>
            <a:p>
              <a:endParaRPr lang="en-GB"/>
            </a:p>
          </p:txBody>
        </p:sp>
        <p:sp>
          <p:nvSpPr>
            <p:cNvPr id="108" name="Freeform 107"/>
            <p:cNvSpPr/>
            <p:nvPr/>
          </p:nvSpPr>
          <p:spPr>
            <a:xfrm>
              <a:off x="-9382125" y="3313334"/>
              <a:ext cx="50165" cy="46414"/>
            </a:xfrm>
            <a:custGeom>
              <a:avLst/>
              <a:gdLst>
                <a:gd name="connsiteX0" fmla="*/ 49297 w 50165"/>
                <a:gd name="connsiteY0" fmla="*/ -391 h 46414"/>
                <a:gd name="connsiteX1" fmla="*/ 48027 w 50165"/>
                <a:gd name="connsiteY1" fmla="*/ -1026 h 46414"/>
                <a:gd name="connsiteX2" fmla="*/ 30882 w 50165"/>
                <a:gd name="connsiteY2" fmla="*/ 5959 h 46414"/>
                <a:gd name="connsiteX3" fmla="*/ -868 w 50165"/>
                <a:gd name="connsiteY3" fmla="*/ 41519 h 46414"/>
                <a:gd name="connsiteX4" fmla="*/ 1037 w 50165"/>
                <a:gd name="connsiteY4" fmla="*/ 44059 h 46414"/>
                <a:gd name="connsiteX5" fmla="*/ 30882 w 50165"/>
                <a:gd name="connsiteY5" fmla="*/ 42154 h 46414"/>
                <a:gd name="connsiteX6" fmla="*/ 42947 w 50165"/>
                <a:gd name="connsiteY6" fmla="*/ 21834 h 46414"/>
                <a:gd name="connsiteX7" fmla="*/ 48662 w 50165"/>
                <a:gd name="connsiteY7" fmla="*/ 11674 h 46414"/>
                <a:gd name="connsiteX8" fmla="*/ 48662 w 50165"/>
                <a:gd name="connsiteY8" fmla="*/ 9769 h 46414"/>
                <a:gd name="connsiteX9" fmla="*/ 49297 w 50165"/>
                <a:gd name="connsiteY9" fmla="*/ 879 h 46414"/>
                <a:gd name="connsiteX10" fmla="*/ 49297 w 50165"/>
                <a:gd name="connsiteY10" fmla="*/ -391 h 4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165" h="46414">
                  <a:moveTo>
                    <a:pt x="49297" y="-391"/>
                  </a:moveTo>
                  <a:cubicBezTo>
                    <a:pt x="48662" y="-391"/>
                    <a:pt x="48662" y="-1026"/>
                    <a:pt x="48027" y="-1026"/>
                  </a:cubicBezTo>
                  <a:cubicBezTo>
                    <a:pt x="43582" y="-1662"/>
                    <a:pt x="35962" y="879"/>
                    <a:pt x="30882" y="5959"/>
                  </a:cubicBezTo>
                  <a:cubicBezTo>
                    <a:pt x="25802" y="11038"/>
                    <a:pt x="-233" y="37709"/>
                    <a:pt x="-868" y="41519"/>
                  </a:cubicBezTo>
                  <a:cubicBezTo>
                    <a:pt x="-868" y="42788"/>
                    <a:pt x="-233" y="43424"/>
                    <a:pt x="1037" y="44059"/>
                  </a:cubicBezTo>
                  <a:cubicBezTo>
                    <a:pt x="7387" y="47234"/>
                    <a:pt x="27707" y="43424"/>
                    <a:pt x="30882" y="42154"/>
                  </a:cubicBezTo>
                  <a:cubicBezTo>
                    <a:pt x="31517" y="41519"/>
                    <a:pt x="38502" y="30724"/>
                    <a:pt x="42947" y="21834"/>
                  </a:cubicBezTo>
                  <a:cubicBezTo>
                    <a:pt x="46122" y="16754"/>
                    <a:pt x="48027" y="12309"/>
                    <a:pt x="48662" y="11674"/>
                  </a:cubicBezTo>
                  <a:cubicBezTo>
                    <a:pt x="48662" y="11038"/>
                    <a:pt x="48662" y="10404"/>
                    <a:pt x="48662" y="9769"/>
                  </a:cubicBezTo>
                  <a:cubicBezTo>
                    <a:pt x="48662" y="6594"/>
                    <a:pt x="48662" y="4054"/>
                    <a:pt x="49297" y="879"/>
                  </a:cubicBezTo>
                  <a:cubicBezTo>
                    <a:pt x="49297" y="879"/>
                    <a:pt x="49297" y="244"/>
                    <a:pt x="49297" y="-391"/>
                  </a:cubicBezTo>
                </a:path>
              </a:pathLst>
            </a:custGeom>
            <a:solidFill>
              <a:srgbClr val="FFFFFF"/>
            </a:solidFill>
            <a:ln w="6350" cap="flat">
              <a:noFill/>
              <a:prstDash val="solid"/>
              <a:miter/>
            </a:ln>
          </p:spPr>
          <p:txBody>
            <a:bodyPr rtlCol="0" anchor="ctr"/>
            <a:lstStyle/>
            <a:p>
              <a:endParaRPr lang="en-GB"/>
            </a:p>
          </p:txBody>
        </p:sp>
        <p:sp>
          <p:nvSpPr>
            <p:cNvPr id="109" name="Freeform 108"/>
            <p:cNvSpPr/>
            <p:nvPr/>
          </p:nvSpPr>
          <p:spPr>
            <a:xfrm>
              <a:off x="-9345335" y="3280251"/>
              <a:ext cx="24805" cy="27111"/>
            </a:xfrm>
            <a:custGeom>
              <a:avLst/>
              <a:gdLst>
                <a:gd name="connsiteX0" fmla="*/ 23938 w 24805"/>
                <a:gd name="connsiteY0" fmla="*/ 307 h 27111"/>
                <a:gd name="connsiteX1" fmla="*/ 15683 w 24805"/>
                <a:gd name="connsiteY1" fmla="*/ 307 h 27111"/>
                <a:gd name="connsiteX2" fmla="*/ -827 w 24805"/>
                <a:gd name="connsiteY2" fmla="*/ 20627 h 27111"/>
                <a:gd name="connsiteX3" fmla="*/ 8698 w 24805"/>
                <a:gd name="connsiteY3" fmla="*/ 25707 h 27111"/>
                <a:gd name="connsiteX4" fmla="*/ 13777 w 24805"/>
                <a:gd name="connsiteY4" fmla="*/ 25707 h 27111"/>
                <a:gd name="connsiteX5" fmla="*/ 20127 w 24805"/>
                <a:gd name="connsiteY5" fmla="*/ 7292 h 27111"/>
                <a:gd name="connsiteX6" fmla="*/ 23938 w 24805"/>
                <a:gd name="connsiteY6" fmla="*/ 307 h 2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05" h="27111">
                  <a:moveTo>
                    <a:pt x="23938" y="307"/>
                  </a:moveTo>
                  <a:cubicBezTo>
                    <a:pt x="23302" y="-1598"/>
                    <a:pt x="18858" y="-1598"/>
                    <a:pt x="15683" y="307"/>
                  </a:cubicBezTo>
                  <a:cubicBezTo>
                    <a:pt x="13777" y="2846"/>
                    <a:pt x="-192" y="18087"/>
                    <a:pt x="-827" y="20627"/>
                  </a:cubicBezTo>
                  <a:cubicBezTo>
                    <a:pt x="-1462" y="24437"/>
                    <a:pt x="5523" y="25707"/>
                    <a:pt x="8698" y="25707"/>
                  </a:cubicBezTo>
                  <a:cubicBezTo>
                    <a:pt x="9333" y="25707"/>
                    <a:pt x="13143" y="26342"/>
                    <a:pt x="13777" y="25707"/>
                  </a:cubicBezTo>
                  <a:cubicBezTo>
                    <a:pt x="15048" y="19357"/>
                    <a:pt x="17588" y="13007"/>
                    <a:pt x="20127" y="7292"/>
                  </a:cubicBezTo>
                  <a:cubicBezTo>
                    <a:pt x="20763" y="5387"/>
                    <a:pt x="22033" y="2846"/>
                    <a:pt x="23938" y="307"/>
                  </a:cubicBezTo>
                </a:path>
              </a:pathLst>
            </a:custGeom>
            <a:solidFill>
              <a:srgbClr val="FFFFFF"/>
            </a:solidFill>
            <a:ln w="6350" cap="flat">
              <a:noFill/>
              <a:prstDash val="solid"/>
              <a:miter/>
            </a:ln>
          </p:spPr>
          <p:txBody>
            <a:bodyPr rtlCol="0" anchor="ctr"/>
            <a:lstStyle/>
            <a:p>
              <a:endParaRPr lang="en-GB"/>
            </a:p>
          </p:txBody>
        </p:sp>
        <p:sp>
          <p:nvSpPr>
            <p:cNvPr id="110" name="Freeform 109"/>
            <p:cNvSpPr/>
            <p:nvPr/>
          </p:nvSpPr>
          <p:spPr>
            <a:xfrm>
              <a:off x="-9342645" y="3338830"/>
              <a:ext cx="16400" cy="25017"/>
            </a:xfrm>
            <a:custGeom>
              <a:avLst/>
              <a:gdLst>
                <a:gd name="connsiteX0" fmla="*/ 12993 w 16400"/>
                <a:gd name="connsiteY0" fmla="*/ 23642 h 25017"/>
                <a:gd name="connsiteX1" fmla="*/ 15533 w 16400"/>
                <a:gd name="connsiteY1" fmla="*/ 22373 h 25017"/>
                <a:gd name="connsiteX2" fmla="*/ 8548 w 16400"/>
                <a:gd name="connsiteY2" fmla="*/ -1122 h 25017"/>
                <a:gd name="connsiteX3" fmla="*/ 6643 w 16400"/>
                <a:gd name="connsiteY3" fmla="*/ 2053 h 25017"/>
                <a:gd name="connsiteX4" fmla="*/ -342 w 16400"/>
                <a:gd name="connsiteY4" fmla="*/ 16658 h 25017"/>
                <a:gd name="connsiteX5" fmla="*/ 12993 w 16400"/>
                <a:gd name="connsiteY5" fmla="*/ 23642 h 25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00" h="25017">
                  <a:moveTo>
                    <a:pt x="12993" y="23642"/>
                  </a:moveTo>
                  <a:cubicBezTo>
                    <a:pt x="13628" y="23642"/>
                    <a:pt x="14898" y="23008"/>
                    <a:pt x="15533" y="22373"/>
                  </a:cubicBezTo>
                  <a:cubicBezTo>
                    <a:pt x="12358" y="14753"/>
                    <a:pt x="9818" y="7133"/>
                    <a:pt x="8548" y="-1122"/>
                  </a:cubicBezTo>
                  <a:cubicBezTo>
                    <a:pt x="7912" y="148"/>
                    <a:pt x="7278" y="783"/>
                    <a:pt x="6643" y="2053"/>
                  </a:cubicBezTo>
                  <a:cubicBezTo>
                    <a:pt x="3468" y="6498"/>
                    <a:pt x="1562" y="11578"/>
                    <a:pt x="-342" y="16658"/>
                  </a:cubicBezTo>
                  <a:cubicBezTo>
                    <a:pt x="-3517" y="24278"/>
                    <a:pt x="8548" y="24278"/>
                    <a:pt x="12993" y="23642"/>
                  </a:cubicBezTo>
                </a:path>
              </a:pathLst>
            </a:custGeom>
            <a:solidFill>
              <a:srgbClr val="FFFFFF"/>
            </a:solidFill>
            <a:ln w="6350" cap="flat">
              <a:noFill/>
              <a:prstDash val="solid"/>
              <a:miter/>
            </a:ln>
          </p:spPr>
          <p:txBody>
            <a:bodyPr rtlCol="0" anchor="ctr"/>
            <a:lstStyle/>
            <a:p>
              <a:endParaRPr lang="en-GB"/>
            </a:p>
          </p:txBody>
        </p:sp>
        <p:sp>
          <p:nvSpPr>
            <p:cNvPr id="111" name="Freeform 110"/>
            <p:cNvSpPr/>
            <p:nvPr/>
          </p:nvSpPr>
          <p:spPr>
            <a:xfrm>
              <a:off x="-9060179" y="3343909"/>
              <a:ext cx="16877" cy="22312"/>
            </a:xfrm>
            <a:custGeom>
              <a:avLst/>
              <a:gdLst>
                <a:gd name="connsiteX0" fmla="*/ 6752 w 16877"/>
                <a:gd name="connsiteY0" fmla="*/ 148 h 22312"/>
                <a:gd name="connsiteX1" fmla="*/ -868 w 16877"/>
                <a:gd name="connsiteY1" fmla="*/ 19833 h 22312"/>
                <a:gd name="connsiteX2" fmla="*/ 13102 w 16877"/>
                <a:gd name="connsiteY2" fmla="*/ 19198 h 22312"/>
                <a:gd name="connsiteX3" fmla="*/ 9927 w 16877"/>
                <a:gd name="connsiteY3" fmla="*/ 3958 h 22312"/>
                <a:gd name="connsiteX4" fmla="*/ 6752 w 16877"/>
                <a:gd name="connsiteY4" fmla="*/ -1122 h 22312"/>
                <a:gd name="connsiteX5" fmla="*/ 6752 w 16877"/>
                <a:gd name="connsiteY5" fmla="*/ 148 h 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77" h="22312">
                  <a:moveTo>
                    <a:pt x="6752" y="148"/>
                  </a:moveTo>
                  <a:cubicBezTo>
                    <a:pt x="5482" y="7133"/>
                    <a:pt x="2942" y="13483"/>
                    <a:pt x="-868" y="19833"/>
                  </a:cubicBezTo>
                  <a:cubicBezTo>
                    <a:pt x="1672" y="21103"/>
                    <a:pt x="9292" y="22373"/>
                    <a:pt x="13102" y="19198"/>
                  </a:cubicBezTo>
                  <a:cubicBezTo>
                    <a:pt x="18182" y="15388"/>
                    <a:pt x="16277" y="12848"/>
                    <a:pt x="9927" y="3958"/>
                  </a:cubicBezTo>
                  <a:cubicBezTo>
                    <a:pt x="8657" y="2688"/>
                    <a:pt x="8022" y="783"/>
                    <a:pt x="6752" y="-1122"/>
                  </a:cubicBezTo>
                  <a:cubicBezTo>
                    <a:pt x="6752" y="-487"/>
                    <a:pt x="6752" y="148"/>
                    <a:pt x="6752" y="148"/>
                  </a:cubicBezTo>
                </a:path>
              </a:pathLst>
            </a:custGeom>
            <a:solidFill>
              <a:srgbClr val="FFFFFF"/>
            </a:solidFill>
            <a:ln w="6350" cap="flat">
              <a:noFill/>
              <a:prstDash val="solid"/>
              <a:miter/>
            </a:ln>
          </p:spPr>
          <p:txBody>
            <a:bodyPr rtlCol="0" anchor="ctr"/>
            <a:lstStyle/>
            <a:p>
              <a:endParaRPr lang="en-GB"/>
            </a:p>
          </p:txBody>
        </p:sp>
        <p:sp>
          <p:nvSpPr>
            <p:cNvPr id="112" name="Freeform 111"/>
            <p:cNvSpPr/>
            <p:nvPr/>
          </p:nvSpPr>
          <p:spPr>
            <a:xfrm>
              <a:off x="-8935512" y="3211194"/>
              <a:ext cx="244199" cy="18415"/>
            </a:xfrm>
            <a:custGeom>
              <a:avLst/>
              <a:gdLst>
                <a:gd name="connsiteX0" fmla="*/ 237684 w 244199"/>
                <a:gd name="connsiteY0" fmla="*/ -1122 h 18415"/>
                <a:gd name="connsiteX1" fmla="*/ 155770 w 244199"/>
                <a:gd name="connsiteY1" fmla="*/ 1418 h 18415"/>
                <a:gd name="connsiteX2" fmla="*/ 20515 w 244199"/>
                <a:gd name="connsiteY2" fmla="*/ 783 h 18415"/>
                <a:gd name="connsiteX3" fmla="*/ 9085 w 244199"/>
                <a:gd name="connsiteY3" fmla="*/ 783 h 18415"/>
                <a:gd name="connsiteX4" fmla="*/ -440 w 244199"/>
                <a:gd name="connsiteY4" fmla="*/ 2689 h 18415"/>
                <a:gd name="connsiteX5" fmla="*/ 8449 w 244199"/>
                <a:gd name="connsiteY5" fmla="*/ 5864 h 18415"/>
                <a:gd name="connsiteX6" fmla="*/ 45915 w 244199"/>
                <a:gd name="connsiteY6" fmla="*/ 8403 h 18415"/>
                <a:gd name="connsiteX7" fmla="*/ 65599 w 244199"/>
                <a:gd name="connsiteY7" fmla="*/ 10308 h 18415"/>
                <a:gd name="connsiteX8" fmla="*/ 210380 w 244199"/>
                <a:gd name="connsiteY8" fmla="*/ 17293 h 18415"/>
                <a:gd name="connsiteX9" fmla="*/ 242130 w 244199"/>
                <a:gd name="connsiteY9" fmla="*/ 9039 h 18415"/>
                <a:gd name="connsiteX10" fmla="*/ 242130 w 244199"/>
                <a:gd name="connsiteY10" fmla="*/ 2689 h 18415"/>
                <a:gd name="connsiteX11" fmla="*/ 237684 w 244199"/>
                <a:gd name="connsiteY11" fmla="*/ -1122 h 1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199" h="18415">
                  <a:moveTo>
                    <a:pt x="237684" y="-1122"/>
                  </a:moveTo>
                  <a:cubicBezTo>
                    <a:pt x="234509" y="-1122"/>
                    <a:pt x="169104" y="1418"/>
                    <a:pt x="155770" y="1418"/>
                  </a:cubicBezTo>
                  <a:cubicBezTo>
                    <a:pt x="155135" y="1418"/>
                    <a:pt x="25595" y="783"/>
                    <a:pt x="20515" y="783"/>
                  </a:cubicBezTo>
                  <a:cubicBezTo>
                    <a:pt x="16704" y="783"/>
                    <a:pt x="12895" y="783"/>
                    <a:pt x="9085" y="783"/>
                  </a:cubicBezTo>
                  <a:cubicBezTo>
                    <a:pt x="6545" y="783"/>
                    <a:pt x="1465" y="783"/>
                    <a:pt x="-440" y="2689"/>
                  </a:cubicBezTo>
                  <a:cubicBezTo>
                    <a:pt x="-2980" y="5864"/>
                    <a:pt x="6545" y="5864"/>
                    <a:pt x="8449" y="5864"/>
                  </a:cubicBezTo>
                  <a:cubicBezTo>
                    <a:pt x="11624" y="5864"/>
                    <a:pt x="37024" y="7768"/>
                    <a:pt x="45915" y="8403"/>
                  </a:cubicBezTo>
                  <a:cubicBezTo>
                    <a:pt x="52265" y="9039"/>
                    <a:pt x="59249" y="9673"/>
                    <a:pt x="65599" y="10308"/>
                  </a:cubicBezTo>
                  <a:cubicBezTo>
                    <a:pt x="113224" y="13483"/>
                    <a:pt x="160849" y="17293"/>
                    <a:pt x="210380" y="17293"/>
                  </a:cubicBezTo>
                  <a:cubicBezTo>
                    <a:pt x="219905" y="17293"/>
                    <a:pt x="240859" y="9673"/>
                    <a:pt x="242130" y="9039"/>
                  </a:cubicBezTo>
                  <a:cubicBezTo>
                    <a:pt x="243399" y="8403"/>
                    <a:pt x="244034" y="7133"/>
                    <a:pt x="242130" y="2689"/>
                  </a:cubicBezTo>
                  <a:cubicBezTo>
                    <a:pt x="241495" y="783"/>
                    <a:pt x="240224" y="-1122"/>
                    <a:pt x="237684" y="-1122"/>
                  </a:cubicBezTo>
                </a:path>
              </a:pathLst>
            </a:custGeom>
            <a:solidFill>
              <a:srgbClr val="FFFFFF"/>
            </a:solidFill>
            <a:ln w="6350" cap="flat">
              <a:noFill/>
              <a:prstDash val="solid"/>
              <a:miter/>
            </a:ln>
          </p:spPr>
          <p:txBody>
            <a:bodyPr rtlCol="0" anchor="ctr"/>
            <a:lstStyle/>
            <a:p>
              <a:endParaRPr lang="en-GB"/>
            </a:p>
          </p:txBody>
        </p:sp>
        <p:sp>
          <p:nvSpPr>
            <p:cNvPr id="113" name="Freeform 112"/>
            <p:cNvSpPr/>
            <p:nvPr/>
          </p:nvSpPr>
          <p:spPr>
            <a:xfrm>
              <a:off x="-9324340" y="3223259"/>
              <a:ext cx="266700" cy="205740"/>
            </a:xfrm>
            <a:custGeom>
              <a:avLst/>
              <a:gdLst>
                <a:gd name="connsiteX0" fmla="*/ 150897 w 266700"/>
                <a:gd name="connsiteY0" fmla="*/ 202078 h 205740"/>
                <a:gd name="connsiteX1" fmla="*/ 154072 w 266700"/>
                <a:gd name="connsiteY1" fmla="*/ 201443 h 205740"/>
                <a:gd name="connsiteX2" fmla="*/ 157247 w 266700"/>
                <a:gd name="connsiteY2" fmla="*/ 200808 h 205740"/>
                <a:gd name="connsiteX3" fmla="*/ 160422 w 266700"/>
                <a:gd name="connsiteY3" fmla="*/ 200173 h 205740"/>
                <a:gd name="connsiteX4" fmla="*/ 163597 w 266700"/>
                <a:gd name="connsiteY4" fmla="*/ 199538 h 205740"/>
                <a:gd name="connsiteX5" fmla="*/ 166772 w 266700"/>
                <a:gd name="connsiteY5" fmla="*/ 198903 h 205740"/>
                <a:gd name="connsiteX6" fmla="*/ 169312 w 266700"/>
                <a:gd name="connsiteY6" fmla="*/ 198268 h 205740"/>
                <a:gd name="connsiteX7" fmla="*/ 172487 w 266700"/>
                <a:gd name="connsiteY7" fmla="*/ 197633 h 205740"/>
                <a:gd name="connsiteX8" fmla="*/ 175027 w 266700"/>
                <a:gd name="connsiteY8" fmla="*/ 196998 h 205740"/>
                <a:gd name="connsiteX9" fmla="*/ 178837 w 266700"/>
                <a:gd name="connsiteY9" fmla="*/ 196363 h 205740"/>
                <a:gd name="connsiteX10" fmla="*/ 178837 w 266700"/>
                <a:gd name="connsiteY10" fmla="*/ 196363 h 205740"/>
                <a:gd name="connsiteX11" fmla="*/ 183917 w 266700"/>
                <a:gd name="connsiteY11" fmla="*/ 195093 h 205740"/>
                <a:gd name="connsiteX12" fmla="*/ 186457 w 266700"/>
                <a:gd name="connsiteY12" fmla="*/ 194458 h 205740"/>
                <a:gd name="connsiteX13" fmla="*/ 188997 w 266700"/>
                <a:gd name="connsiteY13" fmla="*/ 193823 h 205740"/>
                <a:gd name="connsiteX14" fmla="*/ 191537 w 266700"/>
                <a:gd name="connsiteY14" fmla="*/ 192553 h 205740"/>
                <a:gd name="connsiteX15" fmla="*/ 194077 w 266700"/>
                <a:gd name="connsiteY15" fmla="*/ 191283 h 205740"/>
                <a:gd name="connsiteX16" fmla="*/ 196617 w 266700"/>
                <a:gd name="connsiteY16" fmla="*/ 190013 h 205740"/>
                <a:gd name="connsiteX17" fmla="*/ 199792 w 266700"/>
                <a:gd name="connsiteY17" fmla="*/ 188743 h 205740"/>
                <a:gd name="connsiteX18" fmla="*/ 202967 w 266700"/>
                <a:gd name="connsiteY18" fmla="*/ 186838 h 205740"/>
                <a:gd name="connsiteX19" fmla="*/ 205507 w 266700"/>
                <a:gd name="connsiteY19" fmla="*/ 185568 h 205740"/>
                <a:gd name="connsiteX20" fmla="*/ 208047 w 266700"/>
                <a:gd name="connsiteY20" fmla="*/ 184298 h 205740"/>
                <a:gd name="connsiteX21" fmla="*/ 210587 w 266700"/>
                <a:gd name="connsiteY21" fmla="*/ 183028 h 205740"/>
                <a:gd name="connsiteX22" fmla="*/ 213127 w 266700"/>
                <a:gd name="connsiteY22" fmla="*/ 181758 h 205740"/>
                <a:gd name="connsiteX23" fmla="*/ 215667 w 266700"/>
                <a:gd name="connsiteY23" fmla="*/ 180488 h 205740"/>
                <a:gd name="connsiteX24" fmla="*/ 217572 w 266700"/>
                <a:gd name="connsiteY24" fmla="*/ 179218 h 205740"/>
                <a:gd name="connsiteX25" fmla="*/ 221382 w 266700"/>
                <a:gd name="connsiteY25" fmla="*/ 176678 h 205740"/>
                <a:gd name="connsiteX26" fmla="*/ 223287 w 266700"/>
                <a:gd name="connsiteY26" fmla="*/ 175408 h 205740"/>
                <a:gd name="connsiteX27" fmla="*/ 225827 w 266700"/>
                <a:gd name="connsiteY27" fmla="*/ 173503 h 205740"/>
                <a:gd name="connsiteX28" fmla="*/ 227732 w 266700"/>
                <a:gd name="connsiteY28" fmla="*/ 172233 h 205740"/>
                <a:gd name="connsiteX29" fmla="*/ 230272 w 266700"/>
                <a:gd name="connsiteY29" fmla="*/ 170328 h 205740"/>
                <a:gd name="connsiteX30" fmla="*/ 232177 w 266700"/>
                <a:gd name="connsiteY30" fmla="*/ 169058 h 205740"/>
                <a:gd name="connsiteX31" fmla="*/ 235352 w 266700"/>
                <a:gd name="connsiteY31" fmla="*/ 166518 h 205740"/>
                <a:gd name="connsiteX32" fmla="*/ 236622 w 266700"/>
                <a:gd name="connsiteY32" fmla="*/ 165248 h 205740"/>
                <a:gd name="connsiteX33" fmla="*/ 239162 w 266700"/>
                <a:gd name="connsiteY33" fmla="*/ 162708 h 205740"/>
                <a:gd name="connsiteX34" fmla="*/ 240432 w 266700"/>
                <a:gd name="connsiteY34" fmla="*/ 161438 h 205740"/>
                <a:gd name="connsiteX35" fmla="*/ 242337 w 266700"/>
                <a:gd name="connsiteY35" fmla="*/ 158898 h 205740"/>
                <a:gd name="connsiteX36" fmla="*/ 243607 w 266700"/>
                <a:gd name="connsiteY36" fmla="*/ 157628 h 205740"/>
                <a:gd name="connsiteX37" fmla="*/ 245512 w 266700"/>
                <a:gd name="connsiteY37" fmla="*/ 155088 h 205740"/>
                <a:gd name="connsiteX38" fmla="*/ 246782 w 266700"/>
                <a:gd name="connsiteY38" fmla="*/ 153818 h 205740"/>
                <a:gd name="connsiteX39" fmla="*/ 249957 w 266700"/>
                <a:gd name="connsiteY39" fmla="*/ 150008 h 205740"/>
                <a:gd name="connsiteX40" fmla="*/ 250592 w 266700"/>
                <a:gd name="connsiteY40" fmla="*/ 148738 h 205740"/>
                <a:gd name="connsiteX41" fmla="*/ 252497 w 266700"/>
                <a:gd name="connsiteY41" fmla="*/ 146198 h 205740"/>
                <a:gd name="connsiteX42" fmla="*/ 253132 w 266700"/>
                <a:gd name="connsiteY42" fmla="*/ 144928 h 205740"/>
                <a:gd name="connsiteX43" fmla="*/ 255037 w 266700"/>
                <a:gd name="connsiteY43" fmla="*/ 142388 h 205740"/>
                <a:gd name="connsiteX44" fmla="*/ 255672 w 266700"/>
                <a:gd name="connsiteY44" fmla="*/ 141118 h 205740"/>
                <a:gd name="connsiteX45" fmla="*/ 257577 w 266700"/>
                <a:gd name="connsiteY45" fmla="*/ 137308 h 205740"/>
                <a:gd name="connsiteX46" fmla="*/ 257577 w 266700"/>
                <a:gd name="connsiteY46" fmla="*/ 136673 h 205740"/>
                <a:gd name="connsiteX47" fmla="*/ 259482 w 266700"/>
                <a:gd name="connsiteY47" fmla="*/ 132863 h 205740"/>
                <a:gd name="connsiteX48" fmla="*/ 260117 w 266700"/>
                <a:gd name="connsiteY48" fmla="*/ 132228 h 205740"/>
                <a:gd name="connsiteX49" fmla="*/ 265832 w 266700"/>
                <a:gd name="connsiteY49" fmla="*/ 101748 h 205740"/>
                <a:gd name="connsiteX50" fmla="*/ 260117 w 266700"/>
                <a:gd name="connsiteY50" fmla="*/ 71268 h 205740"/>
                <a:gd name="connsiteX51" fmla="*/ 259482 w 266700"/>
                <a:gd name="connsiteY51" fmla="*/ 70633 h 205740"/>
                <a:gd name="connsiteX52" fmla="*/ 257577 w 266700"/>
                <a:gd name="connsiteY52" fmla="*/ 66823 h 205740"/>
                <a:gd name="connsiteX53" fmla="*/ 256942 w 266700"/>
                <a:gd name="connsiteY53" fmla="*/ 65553 h 205740"/>
                <a:gd name="connsiteX54" fmla="*/ 255037 w 266700"/>
                <a:gd name="connsiteY54" fmla="*/ 61743 h 205740"/>
                <a:gd name="connsiteX55" fmla="*/ 254402 w 266700"/>
                <a:gd name="connsiteY55" fmla="*/ 60473 h 205740"/>
                <a:gd name="connsiteX56" fmla="*/ 252497 w 266700"/>
                <a:gd name="connsiteY56" fmla="*/ 57298 h 205740"/>
                <a:gd name="connsiteX57" fmla="*/ 239162 w 266700"/>
                <a:gd name="connsiteY57" fmla="*/ 40153 h 205740"/>
                <a:gd name="connsiteX58" fmla="*/ 239162 w 266700"/>
                <a:gd name="connsiteY58" fmla="*/ 40153 h 205740"/>
                <a:gd name="connsiteX59" fmla="*/ 239162 w 266700"/>
                <a:gd name="connsiteY59" fmla="*/ 40153 h 205740"/>
                <a:gd name="connsiteX60" fmla="*/ 234717 w 266700"/>
                <a:gd name="connsiteY60" fmla="*/ 35708 h 205740"/>
                <a:gd name="connsiteX61" fmla="*/ 234717 w 266700"/>
                <a:gd name="connsiteY61" fmla="*/ 35708 h 205740"/>
                <a:gd name="connsiteX62" fmla="*/ 230272 w 266700"/>
                <a:gd name="connsiteY62" fmla="*/ 31898 h 205740"/>
                <a:gd name="connsiteX63" fmla="*/ 229002 w 266700"/>
                <a:gd name="connsiteY63" fmla="*/ 31263 h 205740"/>
                <a:gd name="connsiteX64" fmla="*/ 225192 w 266700"/>
                <a:gd name="connsiteY64" fmla="*/ 28088 h 205740"/>
                <a:gd name="connsiteX65" fmla="*/ 223922 w 266700"/>
                <a:gd name="connsiteY65" fmla="*/ 26818 h 205740"/>
                <a:gd name="connsiteX66" fmla="*/ 219477 w 266700"/>
                <a:gd name="connsiteY66" fmla="*/ 23643 h 205740"/>
                <a:gd name="connsiteX67" fmla="*/ 218207 w 266700"/>
                <a:gd name="connsiteY67" fmla="*/ 23008 h 205740"/>
                <a:gd name="connsiteX68" fmla="*/ 213127 w 266700"/>
                <a:gd name="connsiteY68" fmla="*/ 19833 h 205740"/>
                <a:gd name="connsiteX69" fmla="*/ 212492 w 266700"/>
                <a:gd name="connsiteY69" fmla="*/ 19198 h 205740"/>
                <a:gd name="connsiteX70" fmla="*/ 206142 w 266700"/>
                <a:gd name="connsiteY70" fmla="*/ 16023 h 205740"/>
                <a:gd name="connsiteX71" fmla="*/ 206142 w 266700"/>
                <a:gd name="connsiteY71" fmla="*/ 16023 h 205740"/>
                <a:gd name="connsiteX72" fmla="*/ 200427 w 266700"/>
                <a:gd name="connsiteY72" fmla="*/ 12848 h 205740"/>
                <a:gd name="connsiteX73" fmla="*/ 198522 w 266700"/>
                <a:gd name="connsiteY73" fmla="*/ 12213 h 205740"/>
                <a:gd name="connsiteX74" fmla="*/ 194077 w 266700"/>
                <a:gd name="connsiteY74" fmla="*/ 10308 h 205740"/>
                <a:gd name="connsiteX75" fmla="*/ 192172 w 266700"/>
                <a:gd name="connsiteY75" fmla="*/ 9673 h 205740"/>
                <a:gd name="connsiteX76" fmla="*/ 187727 w 266700"/>
                <a:gd name="connsiteY76" fmla="*/ 7768 h 205740"/>
                <a:gd name="connsiteX77" fmla="*/ 185822 w 266700"/>
                <a:gd name="connsiteY77" fmla="*/ 7133 h 205740"/>
                <a:gd name="connsiteX78" fmla="*/ 180742 w 266700"/>
                <a:gd name="connsiteY78" fmla="*/ 5863 h 205740"/>
                <a:gd name="connsiteX79" fmla="*/ 178837 w 266700"/>
                <a:gd name="connsiteY79" fmla="*/ 5228 h 205740"/>
                <a:gd name="connsiteX80" fmla="*/ 171852 w 266700"/>
                <a:gd name="connsiteY80" fmla="*/ 3323 h 205740"/>
                <a:gd name="connsiteX81" fmla="*/ 171217 w 266700"/>
                <a:gd name="connsiteY81" fmla="*/ 3323 h 205740"/>
                <a:gd name="connsiteX82" fmla="*/ 164867 w 266700"/>
                <a:gd name="connsiteY82" fmla="*/ 2053 h 205740"/>
                <a:gd name="connsiteX83" fmla="*/ 162327 w 266700"/>
                <a:gd name="connsiteY83" fmla="*/ 1418 h 205740"/>
                <a:gd name="connsiteX84" fmla="*/ 157247 w 266700"/>
                <a:gd name="connsiteY84" fmla="*/ 783 h 205740"/>
                <a:gd name="connsiteX85" fmla="*/ 154707 w 266700"/>
                <a:gd name="connsiteY85" fmla="*/ 148 h 205740"/>
                <a:gd name="connsiteX86" fmla="*/ 149627 w 266700"/>
                <a:gd name="connsiteY86" fmla="*/ -487 h 205740"/>
                <a:gd name="connsiteX87" fmla="*/ 147087 w 266700"/>
                <a:gd name="connsiteY87" fmla="*/ -487 h 205740"/>
                <a:gd name="connsiteX88" fmla="*/ 142007 w 266700"/>
                <a:gd name="connsiteY88" fmla="*/ -1122 h 205740"/>
                <a:gd name="connsiteX89" fmla="*/ 139467 w 266700"/>
                <a:gd name="connsiteY89" fmla="*/ -1122 h 205740"/>
                <a:gd name="connsiteX90" fmla="*/ 131847 w 266700"/>
                <a:gd name="connsiteY90" fmla="*/ -1122 h 205740"/>
                <a:gd name="connsiteX91" fmla="*/ 124227 w 266700"/>
                <a:gd name="connsiteY91" fmla="*/ -1122 h 205740"/>
                <a:gd name="connsiteX92" fmla="*/ 121687 w 266700"/>
                <a:gd name="connsiteY92" fmla="*/ -1122 h 205740"/>
                <a:gd name="connsiteX93" fmla="*/ 116607 w 266700"/>
                <a:gd name="connsiteY93" fmla="*/ -487 h 205740"/>
                <a:gd name="connsiteX94" fmla="*/ 114067 w 266700"/>
                <a:gd name="connsiteY94" fmla="*/ -487 h 205740"/>
                <a:gd name="connsiteX95" fmla="*/ 109622 w 266700"/>
                <a:gd name="connsiteY95" fmla="*/ 148 h 205740"/>
                <a:gd name="connsiteX96" fmla="*/ 107082 w 266700"/>
                <a:gd name="connsiteY96" fmla="*/ 783 h 205740"/>
                <a:gd name="connsiteX97" fmla="*/ 102637 w 266700"/>
                <a:gd name="connsiteY97" fmla="*/ 1418 h 205740"/>
                <a:gd name="connsiteX98" fmla="*/ 100097 w 266700"/>
                <a:gd name="connsiteY98" fmla="*/ 2053 h 205740"/>
                <a:gd name="connsiteX99" fmla="*/ 95017 w 266700"/>
                <a:gd name="connsiteY99" fmla="*/ 3323 h 205740"/>
                <a:gd name="connsiteX100" fmla="*/ 93112 w 266700"/>
                <a:gd name="connsiteY100" fmla="*/ 3958 h 205740"/>
                <a:gd name="connsiteX101" fmla="*/ 72792 w 266700"/>
                <a:gd name="connsiteY101" fmla="*/ 10308 h 205740"/>
                <a:gd name="connsiteX102" fmla="*/ 72157 w 266700"/>
                <a:gd name="connsiteY102" fmla="*/ 10943 h 205740"/>
                <a:gd name="connsiteX103" fmla="*/ 66442 w 266700"/>
                <a:gd name="connsiteY103" fmla="*/ 13483 h 205740"/>
                <a:gd name="connsiteX104" fmla="*/ 65172 w 266700"/>
                <a:gd name="connsiteY104" fmla="*/ 14118 h 205740"/>
                <a:gd name="connsiteX105" fmla="*/ 60092 w 266700"/>
                <a:gd name="connsiteY105" fmla="*/ 16658 h 205740"/>
                <a:gd name="connsiteX106" fmla="*/ 59457 w 266700"/>
                <a:gd name="connsiteY106" fmla="*/ 17293 h 205740"/>
                <a:gd name="connsiteX107" fmla="*/ 53742 w 266700"/>
                <a:gd name="connsiteY107" fmla="*/ 20468 h 205740"/>
                <a:gd name="connsiteX108" fmla="*/ 53742 w 266700"/>
                <a:gd name="connsiteY108" fmla="*/ 20468 h 205740"/>
                <a:gd name="connsiteX109" fmla="*/ 23262 w 266700"/>
                <a:gd name="connsiteY109" fmla="*/ 43963 h 205740"/>
                <a:gd name="connsiteX110" fmla="*/ 19452 w 266700"/>
                <a:gd name="connsiteY110" fmla="*/ 47773 h 205740"/>
                <a:gd name="connsiteX111" fmla="*/ 19452 w 266700"/>
                <a:gd name="connsiteY111" fmla="*/ 47773 h 205740"/>
                <a:gd name="connsiteX112" fmla="*/ 16277 w 266700"/>
                <a:gd name="connsiteY112" fmla="*/ 52218 h 205740"/>
                <a:gd name="connsiteX113" fmla="*/ 16277 w 266700"/>
                <a:gd name="connsiteY113" fmla="*/ 52218 h 205740"/>
                <a:gd name="connsiteX114" fmla="*/ 13102 w 266700"/>
                <a:gd name="connsiteY114" fmla="*/ 56663 h 205740"/>
                <a:gd name="connsiteX115" fmla="*/ 13102 w 266700"/>
                <a:gd name="connsiteY115" fmla="*/ 56663 h 205740"/>
                <a:gd name="connsiteX116" fmla="*/ 13102 w 266700"/>
                <a:gd name="connsiteY116" fmla="*/ 56663 h 205740"/>
                <a:gd name="connsiteX117" fmla="*/ 7387 w 266700"/>
                <a:gd name="connsiteY117" fmla="*/ 66188 h 205740"/>
                <a:gd name="connsiteX118" fmla="*/ 6117 w 266700"/>
                <a:gd name="connsiteY118" fmla="*/ 69363 h 205740"/>
                <a:gd name="connsiteX119" fmla="*/ 6117 w 266700"/>
                <a:gd name="connsiteY119" fmla="*/ 69998 h 205740"/>
                <a:gd name="connsiteX120" fmla="*/ 6117 w 266700"/>
                <a:gd name="connsiteY120" fmla="*/ 70633 h 205740"/>
                <a:gd name="connsiteX121" fmla="*/ 4847 w 266700"/>
                <a:gd name="connsiteY121" fmla="*/ 73808 h 205740"/>
                <a:gd name="connsiteX122" fmla="*/ 3577 w 266700"/>
                <a:gd name="connsiteY122" fmla="*/ 76983 h 205740"/>
                <a:gd name="connsiteX123" fmla="*/ 3577 w 266700"/>
                <a:gd name="connsiteY123" fmla="*/ 76983 h 205740"/>
                <a:gd name="connsiteX124" fmla="*/ -868 w 266700"/>
                <a:gd name="connsiteY124" fmla="*/ 103018 h 205740"/>
                <a:gd name="connsiteX125" fmla="*/ 2307 w 266700"/>
                <a:gd name="connsiteY125" fmla="*/ 125243 h 205740"/>
                <a:gd name="connsiteX126" fmla="*/ 4847 w 266700"/>
                <a:gd name="connsiteY126" fmla="*/ 133498 h 205740"/>
                <a:gd name="connsiteX127" fmla="*/ 4847 w 266700"/>
                <a:gd name="connsiteY127" fmla="*/ 134133 h 205740"/>
                <a:gd name="connsiteX128" fmla="*/ 6752 w 266700"/>
                <a:gd name="connsiteY128" fmla="*/ 138578 h 205740"/>
                <a:gd name="connsiteX129" fmla="*/ 7387 w 266700"/>
                <a:gd name="connsiteY129" fmla="*/ 139848 h 205740"/>
                <a:gd name="connsiteX130" fmla="*/ 8657 w 266700"/>
                <a:gd name="connsiteY130" fmla="*/ 143023 h 205740"/>
                <a:gd name="connsiteX131" fmla="*/ 9927 w 266700"/>
                <a:gd name="connsiteY131" fmla="*/ 144928 h 205740"/>
                <a:gd name="connsiteX132" fmla="*/ 11197 w 266700"/>
                <a:gd name="connsiteY132" fmla="*/ 147468 h 205740"/>
                <a:gd name="connsiteX133" fmla="*/ 12467 w 266700"/>
                <a:gd name="connsiteY133" fmla="*/ 149373 h 205740"/>
                <a:gd name="connsiteX134" fmla="*/ 14372 w 266700"/>
                <a:gd name="connsiteY134" fmla="*/ 151913 h 205740"/>
                <a:gd name="connsiteX135" fmla="*/ 16277 w 266700"/>
                <a:gd name="connsiteY135" fmla="*/ 154453 h 205740"/>
                <a:gd name="connsiteX136" fmla="*/ 18182 w 266700"/>
                <a:gd name="connsiteY136" fmla="*/ 156993 h 205740"/>
                <a:gd name="connsiteX137" fmla="*/ 20087 w 266700"/>
                <a:gd name="connsiteY137" fmla="*/ 158898 h 205740"/>
                <a:gd name="connsiteX138" fmla="*/ 21357 w 266700"/>
                <a:gd name="connsiteY138" fmla="*/ 160803 h 205740"/>
                <a:gd name="connsiteX139" fmla="*/ 23262 w 266700"/>
                <a:gd name="connsiteY139" fmla="*/ 162708 h 205740"/>
                <a:gd name="connsiteX140" fmla="*/ 24532 w 266700"/>
                <a:gd name="connsiteY140" fmla="*/ 163978 h 205740"/>
                <a:gd name="connsiteX141" fmla="*/ 32152 w 266700"/>
                <a:gd name="connsiteY141" fmla="*/ 170963 h 205740"/>
                <a:gd name="connsiteX142" fmla="*/ 33422 w 266700"/>
                <a:gd name="connsiteY142" fmla="*/ 172233 h 205740"/>
                <a:gd name="connsiteX143" fmla="*/ 35962 w 266700"/>
                <a:gd name="connsiteY143" fmla="*/ 174138 h 205740"/>
                <a:gd name="connsiteX144" fmla="*/ 37232 w 266700"/>
                <a:gd name="connsiteY144" fmla="*/ 174773 h 205740"/>
                <a:gd name="connsiteX145" fmla="*/ 47392 w 266700"/>
                <a:gd name="connsiteY145" fmla="*/ 181758 h 205740"/>
                <a:gd name="connsiteX146" fmla="*/ 47392 w 266700"/>
                <a:gd name="connsiteY146" fmla="*/ 181758 h 205740"/>
                <a:gd name="connsiteX147" fmla="*/ 50567 w 266700"/>
                <a:gd name="connsiteY147" fmla="*/ 183663 h 205740"/>
                <a:gd name="connsiteX148" fmla="*/ 51202 w 266700"/>
                <a:gd name="connsiteY148" fmla="*/ 184298 h 205740"/>
                <a:gd name="connsiteX149" fmla="*/ 67077 w 266700"/>
                <a:gd name="connsiteY149" fmla="*/ 192553 h 205740"/>
                <a:gd name="connsiteX150" fmla="*/ 67077 w 266700"/>
                <a:gd name="connsiteY150" fmla="*/ 192553 h 205740"/>
                <a:gd name="connsiteX151" fmla="*/ 84857 w 266700"/>
                <a:gd name="connsiteY151" fmla="*/ 198903 h 205740"/>
                <a:gd name="connsiteX152" fmla="*/ 84857 w 266700"/>
                <a:gd name="connsiteY152" fmla="*/ 198903 h 205740"/>
                <a:gd name="connsiteX153" fmla="*/ 84857 w 266700"/>
                <a:gd name="connsiteY153" fmla="*/ 198903 h 205740"/>
                <a:gd name="connsiteX154" fmla="*/ 90572 w 266700"/>
                <a:gd name="connsiteY154" fmla="*/ 200173 h 205740"/>
                <a:gd name="connsiteX155" fmla="*/ 91207 w 266700"/>
                <a:gd name="connsiteY155" fmla="*/ 200173 h 205740"/>
                <a:gd name="connsiteX156" fmla="*/ 96287 w 266700"/>
                <a:gd name="connsiteY156" fmla="*/ 201443 h 205740"/>
                <a:gd name="connsiteX157" fmla="*/ 96922 w 266700"/>
                <a:gd name="connsiteY157" fmla="*/ 201443 h 205740"/>
                <a:gd name="connsiteX158" fmla="*/ 102002 w 266700"/>
                <a:gd name="connsiteY158" fmla="*/ 202713 h 205740"/>
                <a:gd name="connsiteX159" fmla="*/ 103272 w 266700"/>
                <a:gd name="connsiteY159" fmla="*/ 202713 h 205740"/>
                <a:gd name="connsiteX160" fmla="*/ 107717 w 266700"/>
                <a:gd name="connsiteY160" fmla="*/ 203348 h 205740"/>
                <a:gd name="connsiteX161" fmla="*/ 109622 w 266700"/>
                <a:gd name="connsiteY161" fmla="*/ 203348 h 205740"/>
                <a:gd name="connsiteX162" fmla="*/ 114067 w 266700"/>
                <a:gd name="connsiteY162" fmla="*/ 203983 h 205740"/>
                <a:gd name="connsiteX163" fmla="*/ 116607 w 266700"/>
                <a:gd name="connsiteY163" fmla="*/ 203983 h 205740"/>
                <a:gd name="connsiteX164" fmla="*/ 120417 w 266700"/>
                <a:gd name="connsiteY164" fmla="*/ 204618 h 205740"/>
                <a:gd name="connsiteX165" fmla="*/ 124227 w 266700"/>
                <a:gd name="connsiteY165" fmla="*/ 204618 h 205740"/>
                <a:gd name="connsiteX166" fmla="*/ 126767 w 266700"/>
                <a:gd name="connsiteY166" fmla="*/ 204618 h 205740"/>
                <a:gd name="connsiteX167" fmla="*/ 133117 w 266700"/>
                <a:gd name="connsiteY167" fmla="*/ 204618 h 205740"/>
                <a:gd name="connsiteX168" fmla="*/ 139467 w 266700"/>
                <a:gd name="connsiteY168" fmla="*/ 204618 h 205740"/>
                <a:gd name="connsiteX169" fmla="*/ 142007 w 266700"/>
                <a:gd name="connsiteY169" fmla="*/ 204618 h 205740"/>
                <a:gd name="connsiteX170" fmla="*/ 146452 w 266700"/>
                <a:gd name="connsiteY170" fmla="*/ 204618 h 205740"/>
                <a:gd name="connsiteX171" fmla="*/ 148992 w 266700"/>
                <a:gd name="connsiteY171" fmla="*/ 204618 h 205740"/>
                <a:gd name="connsiteX172" fmla="*/ 150897 w 266700"/>
                <a:gd name="connsiteY172" fmla="*/ 202078 h 205740"/>
                <a:gd name="connsiteX173" fmla="*/ 131847 w 266700"/>
                <a:gd name="connsiteY173" fmla="*/ 195728 h 205740"/>
                <a:gd name="connsiteX174" fmla="*/ 5482 w 266700"/>
                <a:gd name="connsiteY174" fmla="*/ 99843 h 205740"/>
                <a:gd name="connsiteX175" fmla="*/ 131847 w 266700"/>
                <a:gd name="connsiteY175" fmla="*/ 3958 h 205740"/>
                <a:gd name="connsiteX176" fmla="*/ 254402 w 266700"/>
                <a:gd name="connsiteY176" fmla="*/ 75713 h 205740"/>
                <a:gd name="connsiteX177" fmla="*/ 258212 w 266700"/>
                <a:gd name="connsiteY177" fmla="*/ 97303 h 205740"/>
                <a:gd name="connsiteX178" fmla="*/ 258212 w 266700"/>
                <a:gd name="connsiteY178" fmla="*/ 99208 h 205740"/>
                <a:gd name="connsiteX179" fmla="*/ 256307 w 266700"/>
                <a:gd name="connsiteY179" fmla="*/ 115083 h 205740"/>
                <a:gd name="connsiteX180" fmla="*/ 250592 w 266700"/>
                <a:gd name="connsiteY180" fmla="*/ 131593 h 205740"/>
                <a:gd name="connsiteX181" fmla="*/ 131847 w 266700"/>
                <a:gd name="connsiteY181" fmla="*/ 195728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66700" h="205740">
                  <a:moveTo>
                    <a:pt x="150897" y="202078"/>
                  </a:moveTo>
                  <a:cubicBezTo>
                    <a:pt x="152167" y="202078"/>
                    <a:pt x="152802" y="202078"/>
                    <a:pt x="154072" y="201443"/>
                  </a:cubicBezTo>
                  <a:cubicBezTo>
                    <a:pt x="155342" y="201443"/>
                    <a:pt x="155977" y="201443"/>
                    <a:pt x="157247" y="200808"/>
                  </a:cubicBezTo>
                  <a:cubicBezTo>
                    <a:pt x="158517" y="200808"/>
                    <a:pt x="159152" y="200173"/>
                    <a:pt x="160422" y="200173"/>
                  </a:cubicBezTo>
                  <a:cubicBezTo>
                    <a:pt x="161692" y="200173"/>
                    <a:pt x="162327" y="199538"/>
                    <a:pt x="163597" y="199538"/>
                  </a:cubicBezTo>
                  <a:cubicBezTo>
                    <a:pt x="164867" y="199538"/>
                    <a:pt x="165502" y="198903"/>
                    <a:pt x="166772" y="198903"/>
                  </a:cubicBezTo>
                  <a:cubicBezTo>
                    <a:pt x="167407" y="198903"/>
                    <a:pt x="168677" y="198268"/>
                    <a:pt x="169312" y="198268"/>
                  </a:cubicBezTo>
                  <a:cubicBezTo>
                    <a:pt x="170582" y="198268"/>
                    <a:pt x="171217" y="197633"/>
                    <a:pt x="172487" y="197633"/>
                  </a:cubicBezTo>
                  <a:cubicBezTo>
                    <a:pt x="173122" y="197633"/>
                    <a:pt x="173757" y="196998"/>
                    <a:pt x="175027" y="196998"/>
                  </a:cubicBezTo>
                  <a:cubicBezTo>
                    <a:pt x="176297" y="196998"/>
                    <a:pt x="177567" y="196363"/>
                    <a:pt x="178837" y="196363"/>
                  </a:cubicBezTo>
                  <a:lnTo>
                    <a:pt x="178837" y="196363"/>
                  </a:lnTo>
                  <a:cubicBezTo>
                    <a:pt x="180742" y="195728"/>
                    <a:pt x="182012" y="195093"/>
                    <a:pt x="183917" y="195093"/>
                  </a:cubicBezTo>
                  <a:cubicBezTo>
                    <a:pt x="184552" y="195093"/>
                    <a:pt x="185822" y="194458"/>
                    <a:pt x="186457" y="194458"/>
                  </a:cubicBezTo>
                  <a:cubicBezTo>
                    <a:pt x="187092" y="194458"/>
                    <a:pt x="188362" y="193823"/>
                    <a:pt x="188997" y="193823"/>
                  </a:cubicBezTo>
                  <a:cubicBezTo>
                    <a:pt x="189632" y="193188"/>
                    <a:pt x="190902" y="193188"/>
                    <a:pt x="191537" y="192553"/>
                  </a:cubicBezTo>
                  <a:cubicBezTo>
                    <a:pt x="192172" y="191918"/>
                    <a:pt x="193442" y="191918"/>
                    <a:pt x="194077" y="191283"/>
                  </a:cubicBezTo>
                  <a:cubicBezTo>
                    <a:pt x="194712" y="190648"/>
                    <a:pt x="195982" y="190648"/>
                    <a:pt x="196617" y="190013"/>
                  </a:cubicBezTo>
                  <a:cubicBezTo>
                    <a:pt x="197887" y="189378"/>
                    <a:pt x="198522" y="188743"/>
                    <a:pt x="199792" y="188743"/>
                  </a:cubicBezTo>
                  <a:cubicBezTo>
                    <a:pt x="201062" y="188108"/>
                    <a:pt x="202332" y="187473"/>
                    <a:pt x="202967" y="186838"/>
                  </a:cubicBezTo>
                  <a:cubicBezTo>
                    <a:pt x="203602" y="186203"/>
                    <a:pt x="204872" y="186203"/>
                    <a:pt x="205507" y="185568"/>
                  </a:cubicBezTo>
                  <a:cubicBezTo>
                    <a:pt x="206142" y="184933"/>
                    <a:pt x="206777" y="184933"/>
                    <a:pt x="208047" y="184298"/>
                  </a:cubicBezTo>
                  <a:cubicBezTo>
                    <a:pt x="208682" y="183663"/>
                    <a:pt x="209952" y="183663"/>
                    <a:pt x="210587" y="183028"/>
                  </a:cubicBezTo>
                  <a:cubicBezTo>
                    <a:pt x="211222" y="182393"/>
                    <a:pt x="211857" y="182393"/>
                    <a:pt x="213127" y="181758"/>
                  </a:cubicBezTo>
                  <a:cubicBezTo>
                    <a:pt x="213762" y="181123"/>
                    <a:pt x="215032" y="180488"/>
                    <a:pt x="215667" y="180488"/>
                  </a:cubicBezTo>
                  <a:cubicBezTo>
                    <a:pt x="216302" y="179853"/>
                    <a:pt x="216937" y="179853"/>
                    <a:pt x="217572" y="179218"/>
                  </a:cubicBezTo>
                  <a:cubicBezTo>
                    <a:pt x="218842" y="178583"/>
                    <a:pt x="220112" y="177313"/>
                    <a:pt x="221382" y="176678"/>
                  </a:cubicBezTo>
                  <a:cubicBezTo>
                    <a:pt x="222017" y="176043"/>
                    <a:pt x="222652" y="176043"/>
                    <a:pt x="223287" y="175408"/>
                  </a:cubicBezTo>
                  <a:cubicBezTo>
                    <a:pt x="223922" y="174773"/>
                    <a:pt x="225192" y="174138"/>
                    <a:pt x="225827" y="173503"/>
                  </a:cubicBezTo>
                  <a:cubicBezTo>
                    <a:pt x="226462" y="172868"/>
                    <a:pt x="227097" y="172868"/>
                    <a:pt x="227732" y="172233"/>
                  </a:cubicBezTo>
                  <a:cubicBezTo>
                    <a:pt x="228367" y="171598"/>
                    <a:pt x="229002" y="170963"/>
                    <a:pt x="230272" y="170328"/>
                  </a:cubicBezTo>
                  <a:cubicBezTo>
                    <a:pt x="230907" y="169693"/>
                    <a:pt x="231542" y="169693"/>
                    <a:pt x="232177" y="169058"/>
                  </a:cubicBezTo>
                  <a:cubicBezTo>
                    <a:pt x="233447" y="168423"/>
                    <a:pt x="234082" y="167153"/>
                    <a:pt x="235352" y="166518"/>
                  </a:cubicBezTo>
                  <a:cubicBezTo>
                    <a:pt x="235987" y="165883"/>
                    <a:pt x="236622" y="165883"/>
                    <a:pt x="236622" y="165248"/>
                  </a:cubicBezTo>
                  <a:cubicBezTo>
                    <a:pt x="237257" y="164613"/>
                    <a:pt x="238527" y="163343"/>
                    <a:pt x="239162" y="162708"/>
                  </a:cubicBezTo>
                  <a:cubicBezTo>
                    <a:pt x="239797" y="162073"/>
                    <a:pt x="239797" y="161438"/>
                    <a:pt x="240432" y="161438"/>
                  </a:cubicBezTo>
                  <a:cubicBezTo>
                    <a:pt x="241067" y="160803"/>
                    <a:pt x="241702" y="160168"/>
                    <a:pt x="242337" y="158898"/>
                  </a:cubicBezTo>
                  <a:cubicBezTo>
                    <a:pt x="242972" y="158263"/>
                    <a:pt x="242972" y="157628"/>
                    <a:pt x="243607" y="157628"/>
                  </a:cubicBezTo>
                  <a:cubicBezTo>
                    <a:pt x="244242" y="156993"/>
                    <a:pt x="244877" y="155723"/>
                    <a:pt x="245512" y="155088"/>
                  </a:cubicBezTo>
                  <a:cubicBezTo>
                    <a:pt x="245512" y="154453"/>
                    <a:pt x="246147" y="154453"/>
                    <a:pt x="246782" y="153818"/>
                  </a:cubicBezTo>
                  <a:cubicBezTo>
                    <a:pt x="248052" y="152548"/>
                    <a:pt x="248687" y="151278"/>
                    <a:pt x="249957" y="150008"/>
                  </a:cubicBezTo>
                  <a:cubicBezTo>
                    <a:pt x="249957" y="149373"/>
                    <a:pt x="250592" y="149373"/>
                    <a:pt x="250592" y="148738"/>
                  </a:cubicBezTo>
                  <a:cubicBezTo>
                    <a:pt x="251227" y="148103"/>
                    <a:pt x="251862" y="146833"/>
                    <a:pt x="252497" y="146198"/>
                  </a:cubicBezTo>
                  <a:cubicBezTo>
                    <a:pt x="252497" y="145563"/>
                    <a:pt x="253132" y="144928"/>
                    <a:pt x="253132" y="144928"/>
                  </a:cubicBezTo>
                  <a:cubicBezTo>
                    <a:pt x="253767" y="144293"/>
                    <a:pt x="254402" y="143023"/>
                    <a:pt x="255037" y="142388"/>
                  </a:cubicBezTo>
                  <a:cubicBezTo>
                    <a:pt x="255037" y="141753"/>
                    <a:pt x="255672" y="141753"/>
                    <a:pt x="255672" y="141118"/>
                  </a:cubicBezTo>
                  <a:cubicBezTo>
                    <a:pt x="256307" y="139848"/>
                    <a:pt x="256942" y="138578"/>
                    <a:pt x="257577" y="137308"/>
                  </a:cubicBezTo>
                  <a:cubicBezTo>
                    <a:pt x="257577" y="137308"/>
                    <a:pt x="257577" y="137308"/>
                    <a:pt x="257577" y="136673"/>
                  </a:cubicBezTo>
                  <a:cubicBezTo>
                    <a:pt x="258212" y="135403"/>
                    <a:pt x="258847" y="134133"/>
                    <a:pt x="259482" y="132863"/>
                  </a:cubicBezTo>
                  <a:cubicBezTo>
                    <a:pt x="259482" y="132863"/>
                    <a:pt x="259482" y="132228"/>
                    <a:pt x="260117" y="132228"/>
                  </a:cubicBezTo>
                  <a:cubicBezTo>
                    <a:pt x="263927" y="122703"/>
                    <a:pt x="265832" y="112543"/>
                    <a:pt x="265832" y="101748"/>
                  </a:cubicBezTo>
                  <a:cubicBezTo>
                    <a:pt x="265832" y="90953"/>
                    <a:pt x="263927" y="80793"/>
                    <a:pt x="260117" y="71268"/>
                  </a:cubicBezTo>
                  <a:cubicBezTo>
                    <a:pt x="260117" y="71268"/>
                    <a:pt x="260117" y="70633"/>
                    <a:pt x="259482" y="70633"/>
                  </a:cubicBezTo>
                  <a:cubicBezTo>
                    <a:pt x="258847" y="69363"/>
                    <a:pt x="258212" y="68093"/>
                    <a:pt x="257577" y="66823"/>
                  </a:cubicBezTo>
                  <a:cubicBezTo>
                    <a:pt x="257577" y="66188"/>
                    <a:pt x="256942" y="66188"/>
                    <a:pt x="256942" y="65553"/>
                  </a:cubicBezTo>
                  <a:cubicBezTo>
                    <a:pt x="256307" y="64283"/>
                    <a:pt x="255672" y="63013"/>
                    <a:pt x="255037" y="61743"/>
                  </a:cubicBezTo>
                  <a:cubicBezTo>
                    <a:pt x="255037" y="61108"/>
                    <a:pt x="254402" y="61108"/>
                    <a:pt x="254402" y="60473"/>
                  </a:cubicBezTo>
                  <a:cubicBezTo>
                    <a:pt x="253767" y="59203"/>
                    <a:pt x="253132" y="58568"/>
                    <a:pt x="252497" y="57298"/>
                  </a:cubicBezTo>
                  <a:cubicBezTo>
                    <a:pt x="248687" y="50948"/>
                    <a:pt x="244242" y="45233"/>
                    <a:pt x="239162" y="40153"/>
                  </a:cubicBezTo>
                  <a:cubicBezTo>
                    <a:pt x="239162" y="40153"/>
                    <a:pt x="239162" y="40153"/>
                    <a:pt x="239162" y="40153"/>
                  </a:cubicBezTo>
                  <a:lnTo>
                    <a:pt x="239162" y="40153"/>
                  </a:lnTo>
                  <a:cubicBezTo>
                    <a:pt x="237892" y="38883"/>
                    <a:pt x="235987" y="36978"/>
                    <a:pt x="234717" y="35708"/>
                  </a:cubicBezTo>
                  <a:cubicBezTo>
                    <a:pt x="234717" y="35708"/>
                    <a:pt x="234717" y="35708"/>
                    <a:pt x="234717" y="35708"/>
                  </a:cubicBezTo>
                  <a:cubicBezTo>
                    <a:pt x="233447" y="34438"/>
                    <a:pt x="231542" y="33168"/>
                    <a:pt x="230272" y="31898"/>
                  </a:cubicBezTo>
                  <a:cubicBezTo>
                    <a:pt x="229637" y="31898"/>
                    <a:pt x="229637" y="31263"/>
                    <a:pt x="229002" y="31263"/>
                  </a:cubicBezTo>
                  <a:cubicBezTo>
                    <a:pt x="227732" y="29993"/>
                    <a:pt x="226462" y="29358"/>
                    <a:pt x="225192" y="28088"/>
                  </a:cubicBezTo>
                  <a:cubicBezTo>
                    <a:pt x="224557" y="27453"/>
                    <a:pt x="224557" y="27453"/>
                    <a:pt x="223922" y="26818"/>
                  </a:cubicBezTo>
                  <a:cubicBezTo>
                    <a:pt x="222652" y="25548"/>
                    <a:pt x="221382" y="24913"/>
                    <a:pt x="219477" y="23643"/>
                  </a:cubicBezTo>
                  <a:cubicBezTo>
                    <a:pt x="218842" y="23643"/>
                    <a:pt x="218842" y="23008"/>
                    <a:pt x="218207" y="23008"/>
                  </a:cubicBezTo>
                  <a:cubicBezTo>
                    <a:pt x="216302" y="21738"/>
                    <a:pt x="215032" y="21103"/>
                    <a:pt x="213127" y="19833"/>
                  </a:cubicBezTo>
                  <a:cubicBezTo>
                    <a:pt x="213127" y="19833"/>
                    <a:pt x="212492" y="19833"/>
                    <a:pt x="212492" y="19198"/>
                  </a:cubicBezTo>
                  <a:cubicBezTo>
                    <a:pt x="210587" y="17928"/>
                    <a:pt x="208682" y="16658"/>
                    <a:pt x="206142" y="16023"/>
                  </a:cubicBezTo>
                  <a:cubicBezTo>
                    <a:pt x="206142" y="16023"/>
                    <a:pt x="206142" y="16023"/>
                    <a:pt x="206142" y="16023"/>
                  </a:cubicBezTo>
                  <a:cubicBezTo>
                    <a:pt x="204237" y="14753"/>
                    <a:pt x="202332" y="14118"/>
                    <a:pt x="200427" y="12848"/>
                  </a:cubicBezTo>
                  <a:cubicBezTo>
                    <a:pt x="199792" y="12848"/>
                    <a:pt x="199157" y="12213"/>
                    <a:pt x="198522" y="12213"/>
                  </a:cubicBezTo>
                  <a:cubicBezTo>
                    <a:pt x="197252" y="11578"/>
                    <a:pt x="195347" y="10943"/>
                    <a:pt x="194077" y="10308"/>
                  </a:cubicBezTo>
                  <a:cubicBezTo>
                    <a:pt x="193442" y="10308"/>
                    <a:pt x="192807" y="9673"/>
                    <a:pt x="192172" y="9673"/>
                  </a:cubicBezTo>
                  <a:cubicBezTo>
                    <a:pt x="190902" y="9038"/>
                    <a:pt x="188997" y="8403"/>
                    <a:pt x="187727" y="7768"/>
                  </a:cubicBezTo>
                  <a:cubicBezTo>
                    <a:pt x="187092" y="7768"/>
                    <a:pt x="186457" y="7133"/>
                    <a:pt x="185822" y="7133"/>
                  </a:cubicBezTo>
                  <a:cubicBezTo>
                    <a:pt x="183917" y="6498"/>
                    <a:pt x="182647" y="5863"/>
                    <a:pt x="180742" y="5863"/>
                  </a:cubicBezTo>
                  <a:cubicBezTo>
                    <a:pt x="180107" y="5863"/>
                    <a:pt x="179472" y="5228"/>
                    <a:pt x="178837" y="5228"/>
                  </a:cubicBezTo>
                  <a:cubicBezTo>
                    <a:pt x="176297" y="4593"/>
                    <a:pt x="174392" y="3958"/>
                    <a:pt x="171852" y="3323"/>
                  </a:cubicBezTo>
                  <a:cubicBezTo>
                    <a:pt x="171852" y="3323"/>
                    <a:pt x="171217" y="3323"/>
                    <a:pt x="171217" y="3323"/>
                  </a:cubicBezTo>
                  <a:cubicBezTo>
                    <a:pt x="169312" y="2688"/>
                    <a:pt x="166772" y="2053"/>
                    <a:pt x="164867" y="2053"/>
                  </a:cubicBezTo>
                  <a:cubicBezTo>
                    <a:pt x="164232" y="2053"/>
                    <a:pt x="163597" y="2053"/>
                    <a:pt x="162327" y="1418"/>
                  </a:cubicBezTo>
                  <a:cubicBezTo>
                    <a:pt x="160422" y="1418"/>
                    <a:pt x="159152" y="783"/>
                    <a:pt x="157247" y="783"/>
                  </a:cubicBezTo>
                  <a:cubicBezTo>
                    <a:pt x="156612" y="783"/>
                    <a:pt x="155342" y="783"/>
                    <a:pt x="154707" y="148"/>
                  </a:cubicBezTo>
                  <a:cubicBezTo>
                    <a:pt x="152802" y="148"/>
                    <a:pt x="151532" y="-487"/>
                    <a:pt x="149627" y="-487"/>
                  </a:cubicBezTo>
                  <a:cubicBezTo>
                    <a:pt x="148992" y="-487"/>
                    <a:pt x="147722" y="-487"/>
                    <a:pt x="147087" y="-487"/>
                  </a:cubicBezTo>
                  <a:cubicBezTo>
                    <a:pt x="145182" y="-487"/>
                    <a:pt x="143912" y="-487"/>
                    <a:pt x="142007" y="-1122"/>
                  </a:cubicBezTo>
                  <a:cubicBezTo>
                    <a:pt x="141372" y="-1122"/>
                    <a:pt x="140102" y="-1122"/>
                    <a:pt x="139467" y="-1122"/>
                  </a:cubicBezTo>
                  <a:cubicBezTo>
                    <a:pt x="136927" y="-1122"/>
                    <a:pt x="134387" y="-1122"/>
                    <a:pt x="131847" y="-1122"/>
                  </a:cubicBezTo>
                  <a:cubicBezTo>
                    <a:pt x="129307" y="-1122"/>
                    <a:pt x="126767" y="-1122"/>
                    <a:pt x="124227" y="-1122"/>
                  </a:cubicBezTo>
                  <a:cubicBezTo>
                    <a:pt x="123592" y="-1122"/>
                    <a:pt x="122322" y="-1122"/>
                    <a:pt x="121687" y="-1122"/>
                  </a:cubicBezTo>
                  <a:cubicBezTo>
                    <a:pt x="119782" y="-1122"/>
                    <a:pt x="118512" y="-1122"/>
                    <a:pt x="116607" y="-487"/>
                  </a:cubicBezTo>
                  <a:cubicBezTo>
                    <a:pt x="115972" y="-487"/>
                    <a:pt x="114702" y="-487"/>
                    <a:pt x="114067" y="-487"/>
                  </a:cubicBezTo>
                  <a:cubicBezTo>
                    <a:pt x="112797" y="-487"/>
                    <a:pt x="110892" y="148"/>
                    <a:pt x="109622" y="148"/>
                  </a:cubicBezTo>
                  <a:cubicBezTo>
                    <a:pt x="108987" y="148"/>
                    <a:pt x="107717" y="148"/>
                    <a:pt x="107082" y="783"/>
                  </a:cubicBezTo>
                  <a:cubicBezTo>
                    <a:pt x="105812" y="783"/>
                    <a:pt x="103907" y="1418"/>
                    <a:pt x="102637" y="1418"/>
                  </a:cubicBezTo>
                  <a:cubicBezTo>
                    <a:pt x="102002" y="1418"/>
                    <a:pt x="100732" y="1418"/>
                    <a:pt x="100097" y="2053"/>
                  </a:cubicBezTo>
                  <a:cubicBezTo>
                    <a:pt x="98192" y="2053"/>
                    <a:pt x="96922" y="2688"/>
                    <a:pt x="95017" y="3323"/>
                  </a:cubicBezTo>
                  <a:cubicBezTo>
                    <a:pt x="94382" y="3323"/>
                    <a:pt x="93747" y="3323"/>
                    <a:pt x="93112" y="3958"/>
                  </a:cubicBezTo>
                  <a:cubicBezTo>
                    <a:pt x="86127" y="5863"/>
                    <a:pt x="79142" y="7768"/>
                    <a:pt x="72792" y="10308"/>
                  </a:cubicBezTo>
                  <a:cubicBezTo>
                    <a:pt x="72792" y="10308"/>
                    <a:pt x="72157" y="10308"/>
                    <a:pt x="72157" y="10943"/>
                  </a:cubicBezTo>
                  <a:cubicBezTo>
                    <a:pt x="70252" y="11578"/>
                    <a:pt x="68347" y="12213"/>
                    <a:pt x="66442" y="13483"/>
                  </a:cubicBezTo>
                  <a:cubicBezTo>
                    <a:pt x="65807" y="13483"/>
                    <a:pt x="65807" y="13483"/>
                    <a:pt x="65172" y="14118"/>
                  </a:cubicBezTo>
                  <a:cubicBezTo>
                    <a:pt x="63267" y="14753"/>
                    <a:pt x="61362" y="16023"/>
                    <a:pt x="60092" y="16658"/>
                  </a:cubicBezTo>
                  <a:cubicBezTo>
                    <a:pt x="60092" y="16658"/>
                    <a:pt x="59457" y="16658"/>
                    <a:pt x="59457" y="17293"/>
                  </a:cubicBezTo>
                  <a:cubicBezTo>
                    <a:pt x="57552" y="17928"/>
                    <a:pt x="55647" y="19198"/>
                    <a:pt x="53742" y="20468"/>
                  </a:cubicBezTo>
                  <a:cubicBezTo>
                    <a:pt x="53742" y="20468"/>
                    <a:pt x="53742" y="20468"/>
                    <a:pt x="53742" y="20468"/>
                  </a:cubicBezTo>
                  <a:cubicBezTo>
                    <a:pt x="41677" y="26818"/>
                    <a:pt x="31517" y="35073"/>
                    <a:pt x="23262" y="43963"/>
                  </a:cubicBezTo>
                  <a:cubicBezTo>
                    <a:pt x="21992" y="45233"/>
                    <a:pt x="20722" y="46503"/>
                    <a:pt x="19452" y="47773"/>
                  </a:cubicBezTo>
                  <a:lnTo>
                    <a:pt x="19452" y="47773"/>
                  </a:lnTo>
                  <a:cubicBezTo>
                    <a:pt x="18182" y="49043"/>
                    <a:pt x="16912" y="50313"/>
                    <a:pt x="16277" y="52218"/>
                  </a:cubicBezTo>
                  <a:lnTo>
                    <a:pt x="16277" y="52218"/>
                  </a:lnTo>
                  <a:cubicBezTo>
                    <a:pt x="15007" y="53488"/>
                    <a:pt x="14372" y="55393"/>
                    <a:pt x="13102" y="56663"/>
                  </a:cubicBezTo>
                  <a:lnTo>
                    <a:pt x="13102" y="56663"/>
                  </a:lnTo>
                  <a:lnTo>
                    <a:pt x="13102" y="56663"/>
                  </a:lnTo>
                  <a:cubicBezTo>
                    <a:pt x="11197" y="59838"/>
                    <a:pt x="9292" y="63013"/>
                    <a:pt x="7387" y="66188"/>
                  </a:cubicBezTo>
                  <a:cubicBezTo>
                    <a:pt x="6752" y="67458"/>
                    <a:pt x="6117" y="68093"/>
                    <a:pt x="6117" y="69363"/>
                  </a:cubicBezTo>
                  <a:cubicBezTo>
                    <a:pt x="6117" y="69363"/>
                    <a:pt x="6117" y="69363"/>
                    <a:pt x="6117" y="69998"/>
                  </a:cubicBezTo>
                  <a:cubicBezTo>
                    <a:pt x="6117" y="69998"/>
                    <a:pt x="6117" y="70633"/>
                    <a:pt x="6117" y="70633"/>
                  </a:cubicBezTo>
                  <a:cubicBezTo>
                    <a:pt x="5482" y="71903"/>
                    <a:pt x="5482" y="72538"/>
                    <a:pt x="4847" y="73808"/>
                  </a:cubicBezTo>
                  <a:cubicBezTo>
                    <a:pt x="4212" y="75078"/>
                    <a:pt x="4212" y="75713"/>
                    <a:pt x="3577" y="76983"/>
                  </a:cubicBezTo>
                  <a:cubicBezTo>
                    <a:pt x="3577" y="76983"/>
                    <a:pt x="3577" y="76983"/>
                    <a:pt x="3577" y="76983"/>
                  </a:cubicBezTo>
                  <a:cubicBezTo>
                    <a:pt x="1037" y="85238"/>
                    <a:pt x="-868" y="94128"/>
                    <a:pt x="-868" y="103018"/>
                  </a:cubicBezTo>
                  <a:cubicBezTo>
                    <a:pt x="-868" y="110638"/>
                    <a:pt x="402" y="118258"/>
                    <a:pt x="2307" y="125243"/>
                  </a:cubicBezTo>
                  <a:cubicBezTo>
                    <a:pt x="2942" y="127783"/>
                    <a:pt x="4212" y="130958"/>
                    <a:pt x="4847" y="133498"/>
                  </a:cubicBezTo>
                  <a:cubicBezTo>
                    <a:pt x="4847" y="133498"/>
                    <a:pt x="4847" y="134133"/>
                    <a:pt x="4847" y="134133"/>
                  </a:cubicBezTo>
                  <a:cubicBezTo>
                    <a:pt x="5482" y="135403"/>
                    <a:pt x="6117" y="136673"/>
                    <a:pt x="6752" y="138578"/>
                  </a:cubicBezTo>
                  <a:cubicBezTo>
                    <a:pt x="6752" y="139213"/>
                    <a:pt x="7387" y="139213"/>
                    <a:pt x="7387" y="139848"/>
                  </a:cubicBezTo>
                  <a:cubicBezTo>
                    <a:pt x="8022" y="140483"/>
                    <a:pt x="8657" y="141753"/>
                    <a:pt x="8657" y="143023"/>
                  </a:cubicBezTo>
                  <a:cubicBezTo>
                    <a:pt x="9292" y="143658"/>
                    <a:pt x="9292" y="144293"/>
                    <a:pt x="9927" y="144928"/>
                  </a:cubicBezTo>
                  <a:cubicBezTo>
                    <a:pt x="10562" y="145563"/>
                    <a:pt x="10562" y="146198"/>
                    <a:pt x="11197" y="147468"/>
                  </a:cubicBezTo>
                  <a:cubicBezTo>
                    <a:pt x="11832" y="148103"/>
                    <a:pt x="11832" y="148738"/>
                    <a:pt x="12467" y="149373"/>
                  </a:cubicBezTo>
                  <a:cubicBezTo>
                    <a:pt x="13102" y="150008"/>
                    <a:pt x="13737" y="151278"/>
                    <a:pt x="14372" y="151913"/>
                  </a:cubicBezTo>
                  <a:cubicBezTo>
                    <a:pt x="15007" y="152548"/>
                    <a:pt x="15642" y="153818"/>
                    <a:pt x="16277" y="154453"/>
                  </a:cubicBezTo>
                  <a:cubicBezTo>
                    <a:pt x="16912" y="155088"/>
                    <a:pt x="17547" y="155723"/>
                    <a:pt x="18182" y="156993"/>
                  </a:cubicBezTo>
                  <a:cubicBezTo>
                    <a:pt x="18817" y="157628"/>
                    <a:pt x="19452" y="158263"/>
                    <a:pt x="20087" y="158898"/>
                  </a:cubicBezTo>
                  <a:cubicBezTo>
                    <a:pt x="20722" y="159533"/>
                    <a:pt x="20722" y="160168"/>
                    <a:pt x="21357" y="160803"/>
                  </a:cubicBezTo>
                  <a:cubicBezTo>
                    <a:pt x="21992" y="161438"/>
                    <a:pt x="22627" y="162073"/>
                    <a:pt x="23262" y="162708"/>
                  </a:cubicBezTo>
                  <a:cubicBezTo>
                    <a:pt x="23897" y="163343"/>
                    <a:pt x="23897" y="163978"/>
                    <a:pt x="24532" y="163978"/>
                  </a:cubicBezTo>
                  <a:cubicBezTo>
                    <a:pt x="27072" y="166518"/>
                    <a:pt x="29612" y="169058"/>
                    <a:pt x="32152" y="170963"/>
                  </a:cubicBezTo>
                  <a:cubicBezTo>
                    <a:pt x="32787" y="171598"/>
                    <a:pt x="32787" y="171598"/>
                    <a:pt x="33422" y="172233"/>
                  </a:cubicBezTo>
                  <a:cubicBezTo>
                    <a:pt x="34057" y="172868"/>
                    <a:pt x="35327" y="173503"/>
                    <a:pt x="35962" y="174138"/>
                  </a:cubicBezTo>
                  <a:cubicBezTo>
                    <a:pt x="36597" y="174138"/>
                    <a:pt x="36597" y="174773"/>
                    <a:pt x="37232" y="174773"/>
                  </a:cubicBezTo>
                  <a:cubicBezTo>
                    <a:pt x="40407" y="177313"/>
                    <a:pt x="43582" y="179853"/>
                    <a:pt x="47392" y="181758"/>
                  </a:cubicBezTo>
                  <a:cubicBezTo>
                    <a:pt x="47392" y="181758"/>
                    <a:pt x="47392" y="181758"/>
                    <a:pt x="47392" y="181758"/>
                  </a:cubicBezTo>
                  <a:cubicBezTo>
                    <a:pt x="48662" y="182393"/>
                    <a:pt x="49932" y="183028"/>
                    <a:pt x="50567" y="183663"/>
                  </a:cubicBezTo>
                  <a:cubicBezTo>
                    <a:pt x="50567" y="183663"/>
                    <a:pt x="51202" y="183663"/>
                    <a:pt x="51202" y="184298"/>
                  </a:cubicBezTo>
                  <a:cubicBezTo>
                    <a:pt x="56282" y="187473"/>
                    <a:pt x="61362" y="190013"/>
                    <a:pt x="67077" y="192553"/>
                  </a:cubicBezTo>
                  <a:cubicBezTo>
                    <a:pt x="67077" y="192553"/>
                    <a:pt x="67077" y="192553"/>
                    <a:pt x="67077" y="192553"/>
                  </a:cubicBezTo>
                  <a:cubicBezTo>
                    <a:pt x="72792" y="195093"/>
                    <a:pt x="79142" y="196998"/>
                    <a:pt x="84857" y="198903"/>
                  </a:cubicBezTo>
                  <a:lnTo>
                    <a:pt x="84857" y="198903"/>
                  </a:lnTo>
                  <a:lnTo>
                    <a:pt x="84857" y="198903"/>
                  </a:lnTo>
                  <a:cubicBezTo>
                    <a:pt x="86762" y="199538"/>
                    <a:pt x="88667" y="200173"/>
                    <a:pt x="90572" y="200173"/>
                  </a:cubicBezTo>
                  <a:cubicBezTo>
                    <a:pt x="90572" y="200173"/>
                    <a:pt x="90572" y="200173"/>
                    <a:pt x="91207" y="200173"/>
                  </a:cubicBezTo>
                  <a:cubicBezTo>
                    <a:pt x="93112" y="200808"/>
                    <a:pt x="94382" y="200808"/>
                    <a:pt x="96287" y="201443"/>
                  </a:cubicBezTo>
                  <a:cubicBezTo>
                    <a:pt x="96287" y="201443"/>
                    <a:pt x="96922" y="201443"/>
                    <a:pt x="96922" y="201443"/>
                  </a:cubicBezTo>
                  <a:cubicBezTo>
                    <a:pt x="98827" y="202078"/>
                    <a:pt x="100097" y="202078"/>
                    <a:pt x="102002" y="202713"/>
                  </a:cubicBezTo>
                  <a:cubicBezTo>
                    <a:pt x="102637" y="202713"/>
                    <a:pt x="102637" y="202713"/>
                    <a:pt x="103272" y="202713"/>
                  </a:cubicBezTo>
                  <a:cubicBezTo>
                    <a:pt x="104542" y="202713"/>
                    <a:pt x="106447" y="203348"/>
                    <a:pt x="107717" y="203348"/>
                  </a:cubicBezTo>
                  <a:cubicBezTo>
                    <a:pt x="108352" y="203348"/>
                    <a:pt x="108987" y="203348"/>
                    <a:pt x="109622" y="203348"/>
                  </a:cubicBezTo>
                  <a:cubicBezTo>
                    <a:pt x="110892" y="203348"/>
                    <a:pt x="112162" y="203983"/>
                    <a:pt x="114067" y="203983"/>
                  </a:cubicBezTo>
                  <a:cubicBezTo>
                    <a:pt x="114702" y="203983"/>
                    <a:pt x="115972" y="203983"/>
                    <a:pt x="116607" y="203983"/>
                  </a:cubicBezTo>
                  <a:cubicBezTo>
                    <a:pt x="117877" y="203983"/>
                    <a:pt x="119147" y="203983"/>
                    <a:pt x="120417" y="204618"/>
                  </a:cubicBezTo>
                  <a:cubicBezTo>
                    <a:pt x="121687" y="204618"/>
                    <a:pt x="122957" y="204618"/>
                    <a:pt x="124227" y="204618"/>
                  </a:cubicBezTo>
                  <a:cubicBezTo>
                    <a:pt x="124862" y="204618"/>
                    <a:pt x="126132" y="204618"/>
                    <a:pt x="126767" y="204618"/>
                  </a:cubicBezTo>
                  <a:cubicBezTo>
                    <a:pt x="128672" y="204618"/>
                    <a:pt x="131212" y="204618"/>
                    <a:pt x="133117" y="204618"/>
                  </a:cubicBezTo>
                  <a:cubicBezTo>
                    <a:pt x="135657" y="204618"/>
                    <a:pt x="137562" y="204618"/>
                    <a:pt x="139467" y="204618"/>
                  </a:cubicBezTo>
                  <a:cubicBezTo>
                    <a:pt x="140102" y="204618"/>
                    <a:pt x="140737" y="204618"/>
                    <a:pt x="142007" y="204618"/>
                  </a:cubicBezTo>
                  <a:cubicBezTo>
                    <a:pt x="143277" y="204618"/>
                    <a:pt x="144547" y="204618"/>
                    <a:pt x="146452" y="204618"/>
                  </a:cubicBezTo>
                  <a:cubicBezTo>
                    <a:pt x="147087" y="204618"/>
                    <a:pt x="148357" y="204618"/>
                    <a:pt x="148992" y="204618"/>
                  </a:cubicBezTo>
                  <a:cubicBezTo>
                    <a:pt x="148992" y="202713"/>
                    <a:pt x="150262" y="202078"/>
                    <a:pt x="150897" y="202078"/>
                  </a:cubicBezTo>
                  <a:moveTo>
                    <a:pt x="131847" y="195728"/>
                  </a:moveTo>
                  <a:cubicBezTo>
                    <a:pt x="61997" y="195728"/>
                    <a:pt x="5482" y="153183"/>
                    <a:pt x="5482" y="99843"/>
                  </a:cubicBezTo>
                  <a:cubicBezTo>
                    <a:pt x="5482" y="46503"/>
                    <a:pt x="61997" y="3958"/>
                    <a:pt x="131847" y="3958"/>
                  </a:cubicBezTo>
                  <a:cubicBezTo>
                    <a:pt x="190902" y="3958"/>
                    <a:pt x="240432" y="34438"/>
                    <a:pt x="254402" y="75713"/>
                  </a:cubicBezTo>
                  <a:cubicBezTo>
                    <a:pt x="256942" y="82698"/>
                    <a:pt x="258212" y="90318"/>
                    <a:pt x="258212" y="97303"/>
                  </a:cubicBezTo>
                  <a:cubicBezTo>
                    <a:pt x="258212" y="97938"/>
                    <a:pt x="258212" y="98573"/>
                    <a:pt x="258212" y="99208"/>
                  </a:cubicBezTo>
                  <a:cubicBezTo>
                    <a:pt x="258212" y="104923"/>
                    <a:pt x="257577" y="110003"/>
                    <a:pt x="256307" y="115083"/>
                  </a:cubicBezTo>
                  <a:cubicBezTo>
                    <a:pt x="255037" y="120798"/>
                    <a:pt x="253132" y="125878"/>
                    <a:pt x="250592" y="131593"/>
                  </a:cubicBezTo>
                  <a:cubicBezTo>
                    <a:pt x="233447" y="169693"/>
                    <a:pt x="187092" y="195728"/>
                    <a:pt x="131847" y="195728"/>
                  </a:cubicBezTo>
                </a:path>
              </a:pathLst>
            </a:custGeom>
            <a:solidFill>
              <a:srgbClr val="FFFFFF"/>
            </a:solidFill>
            <a:ln w="6350" cap="flat">
              <a:noFill/>
              <a:prstDash val="solid"/>
              <a:miter/>
            </a:ln>
          </p:spPr>
          <p:txBody>
            <a:bodyPr rtlCol="0" anchor="ctr"/>
            <a:lstStyle/>
            <a:p>
              <a:endParaRPr lang="en-GB"/>
            </a:p>
          </p:txBody>
        </p:sp>
        <p:sp>
          <p:nvSpPr>
            <p:cNvPr id="114" name="Freeform 113"/>
            <p:cNvSpPr/>
            <p:nvPr/>
          </p:nvSpPr>
          <p:spPr>
            <a:xfrm>
              <a:off x="-9659213" y="3231277"/>
              <a:ext cx="216557" cy="30082"/>
            </a:xfrm>
            <a:custGeom>
              <a:avLst/>
              <a:gdLst>
                <a:gd name="connsiteX0" fmla="*/ 40001 w 216557"/>
                <a:gd name="connsiteY0" fmla="*/ 28961 h 30082"/>
                <a:gd name="connsiteX1" fmla="*/ 213991 w 216557"/>
                <a:gd name="connsiteY1" fmla="*/ 8006 h 30082"/>
                <a:gd name="connsiteX2" fmla="*/ 213356 w 216557"/>
                <a:gd name="connsiteY2" fmla="*/ 2926 h 30082"/>
                <a:gd name="connsiteX3" fmla="*/ 210816 w 216557"/>
                <a:gd name="connsiteY3" fmla="*/ 1021 h 30082"/>
                <a:gd name="connsiteX4" fmla="*/ 200656 w 216557"/>
                <a:gd name="connsiteY4" fmla="*/ -884 h 30082"/>
                <a:gd name="connsiteX5" fmla="*/ 2536 w 216557"/>
                <a:gd name="connsiteY5" fmla="*/ 12451 h 30082"/>
                <a:gd name="connsiteX6" fmla="*/ -639 w 216557"/>
                <a:gd name="connsiteY6" fmla="*/ 17531 h 30082"/>
                <a:gd name="connsiteX7" fmla="*/ 1901 w 216557"/>
                <a:gd name="connsiteY7" fmla="*/ 21976 h 30082"/>
                <a:gd name="connsiteX8" fmla="*/ 36191 w 216557"/>
                <a:gd name="connsiteY8" fmla="*/ 28961 h 30082"/>
                <a:gd name="connsiteX9" fmla="*/ 40001 w 216557"/>
                <a:gd name="connsiteY9" fmla="*/ 28961 h 3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557" h="30082">
                  <a:moveTo>
                    <a:pt x="40001" y="28961"/>
                  </a:moveTo>
                  <a:cubicBezTo>
                    <a:pt x="47621" y="28961"/>
                    <a:pt x="210816" y="8641"/>
                    <a:pt x="213991" y="8006"/>
                  </a:cubicBezTo>
                  <a:cubicBezTo>
                    <a:pt x="217166" y="7371"/>
                    <a:pt x="215261" y="4196"/>
                    <a:pt x="213356" y="2926"/>
                  </a:cubicBezTo>
                  <a:cubicBezTo>
                    <a:pt x="212721" y="2291"/>
                    <a:pt x="211451" y="1656"/>
                    <a:pt x="210816" y="1021"/>
                  </a:cubicBezTo>
                  <a:cubicBezTo>
                    <a:pt x="207641" y="-884"/>
                    <a:pt x="204466" y="-1519"/>
                    <a:pt x="200656" y="-884"/>
                  </a:cubicBezTo>
                  <a:cubicBezTo>
                    <a:pt x="199386" y="-884"/>
                    <a:pt x="12061" y="12451"/>
                    <a:pt x="2536" y="12451"/>
                  </a:cubicBezTo>
                  <a:cubicBezTo>
                    <a:pt x="-4" y="12451"/>
                    <a:pt x="-4" y="15626"/>
                    <a:pt x="-639" y="17531"/>
                  </a:cubicBezTo>
                  <a:cubicBezTo>
                    <a:pt x="-1274" y="20706"/>
                    <a:pt x="-639" y="21341"/>
                    <a:pt x="1901" y="21976"/>
                  </a:cubicBezTo>
                  <a:cubicBezTo>
                    <a:pt x="5711" y="23246"/>
                    <a:pt x="26031" y="28961"/>
                    <a:pt x="36191" y="28961"/>
                  </a:cubicBezTo>
                  <a:cubicBezTo>
                    <a:pt x="36826" y="28961"/>
                    <a:pt x="40001" y="28961"/>
                    <a:pt x="40001" y="28961"/>
                  </a:cubicBezTo>
                </a:path>
              </a:pathLst>
            </a:custGeom>
            <a:solidFill>
              <a:srgbClr val="FFFFFF"/>
            </a:solidFill>
            <a:ln w="6350" cap="flat">
              <a:noFill/>
              <a:prstDash val="solid"/>
              <a:miter/>
            </a:ln>
          </p:spPr>
          <p:txBody>
            <a:bodyPr rtlCol="0" anchor="ctr"/>
            <a:lstStyle/>
            <a:p>
              <a:endParaRPr lang="en-GB"/>
            </a:p>
          </p:txBody>
        </p:sp>
        <p:sp>
          <p:nvSpPr>
            <p:cNvPr id="115" name="Freeform 114"/>
            <p:cNvSpPr/>
            <p:nvPr/>
          </p:nvSpPr>
          <p:spPr>
            <a:xfrm>
              <a:off x="-9685807" y="3211194"/>
              <a:ext cx="237642" cy="22225"/>
            </a:xfrm>
            <a:custGeom>
              <a:avLst/>
              <a:gdLst>
                <a:gd name="connsiteX0" fmla="*/ 234234 w 237642"/>
                <a:gd name="connsiteY0" fmla="*/ 11578 h 22225"/>
                <a:gd name="connsiteX1" fmla="*/ 236774 w 237642"/>
                <a:gd name="connsiteY1" fmla="*/ 6498 h 22225"/>
                <a:gd name="connsiteX2" fmla="*/ 236774 w 237642"/>
                <a:gd name="connsiteY2" fmla="*/ 3323 h 22225"/>
                <a:gd name="connsiteX3" fmla="*/ 234869 w 237642"/>
                <a:gd name="connsiteY3" fmla="*/ 1418 h 22225"/>
                <a:gd name="connsiteX4" fmla="*/ 233599 w 237642"/>
                <a:gd name="connsiteY4" fmla="*/ 783 h 22225"/>
                <a:gd name="connsiteX5" fmla="*/ 5634 w 237642"/>
                <a:gd name="connsiteY5" fmla="*/ -1122 h 22225"/>
                <a:gd name="connsiteX6" fmla="*/ 1189 w 237642"/>
                <a:gd name="connsiteY6" fmla="*/ 3958 h 22225"/>
                <a:gd name="connsiteX7" fmla="*/ 554 w 237642"/>
                <a:gd name="connsiteY7" fmla="*/ 11578 h 22225"/>
                <a:gd name="connsiteX8" fmla="*/ 30399 w 237642"/>
                <a:gd name="connsiteY8" fmla="*/ 21103 h 22225"/>
                <a:gd name="connsiteX9" fmla="*/ 234234 w 237642"/>
                <a:gd name="connsiteY9" fmla="*/ 1157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642" h="22225">
                  <a:moveTo>
                    <a:pt x="234234" y="11578"/>
                  </a:moveTo>
                  <a:cubicBezTo>
                    <a:pt x="235505" y="10943"/>
                    <a:pt x="236139" y="8403"/>
                    <a:pt x="236774" y="6498"/>
                  </a:cubicBezTo>
                  <a:cubicBezTo>
                    <a:pt x="236774" y="5228"/>
                    <a:pt x="236774" y="3958"/>
                    <a:pt x="236774" y="3323"/>
                  </a:cubicBezTo>
                  <a:cubicBezTo>
                    <a:pt x="236139" y="2689"/>
                    <a:pt x="235505" y="1418"/>
                    <a:pt x="234869" y="1418"/>
                  </a:cubicBezTo>
                  <a:cubicBezTo>
                    <a:pt x="234234" y="1418"/>
                    <a:pt x="234234" y="783"/>
                    <a:pt x="233599" y="783"/>
                  </a:cubicBezTo>
                  <a:cubicBezTo>
                    <a:pt x="218994" y="148"/>
                    <a:pt x="6904" y="-1122"/>
                    <a:pt x="5634" y="-1122"/>
                  </a:cubicBezTo>
                  <a:cubicBezTo>
                    <a:pt x="4364" y="-1122"/>
                    <a:pt x="2459" y="1418"/>
                    <a:pt x="1189" y="3958"/>
                  </a:cubicBezTo>
                  <a:cubicBezTo>
                    <a:pt x="-716" y="7133"/>
                    <a:pt x="-1986" y="9673"/>
                    <a:pt x="554" y="11578"/>
                  </a:cubicBezTo>
                  <a:cubicBezTo>
                    <a:pt x="4364" y="13483"/>
                    <a:pt x="24049" y="21103"/>
                    <a:pt x="30399" y="21103"/>
                  </a:cubicBezTo>
                  <a:cubicBezTo>
                    <a:pt x="35480" y="21103"/>
                    <a:pt x="232330" y="13483"/>
                    <a:pt x="234234" y="11578"/>
                  </a:cubicBezTo>
                </a:path>
              </a:pathLst>
            </a:custGeom>
            <a:solidFill>
              <a:srgbClr val="FFFFFF"/>
            </a:solidFill>
            <a:ln w="6350" cap="flat">
              <a:noFill/>
              <a:prstDash val="solid"/>
              <a:miter/>
            </a:ln>
          </p:spPr>
          <p:txBody>
            <a:bodyPr rtlCol="0" anchor="ctr"/>
            <a:lstStyle/>
            <a:p>
              <a:endParaRPr lang="en-GB"/>
            </a:p>
          </p:txBody>
        </p:sp>
        <p:sp>
          <p:nvSpPr>
            <p:cNvPr id="116" name="Freeform 115"/>
            <p:cNvSpPr/>
            <p:nvPr/>
          </p:nvSpPr>
          <p:spPr>
            <a:xfrm>
              <a:off x="-9622790" y="3246755"/>
              <a:ext cx="185837" cy="41345"/>
            </a:xfrm>
            <a:custGeom>
              <a:avLst/>
              <a:gdLst>
                <a:gd name="connsiteX0" fmla="*/ 183917 w 185837"/>
                <a:gd name="connsiteY0" fmla="*/ 9038 h 41345"/>
                <a:gd name="connsiteX1" fmla="*/ 184552 w 185837"/>
                <a:gd name="connsiteY1" fmla="*/ 3958 h 41345"/>
                <a:gd name="connsiteX2" fmla="*/ 178202 w 185837"/>
                <a:gd name="connsiteY2" fmla="*/ -1122 h 41345"/>
                <a:gd name="connsiteX3" fmla="*/ 171852 w 185837"/>
                <a:gd name="connsiteY3" fmla="*/ -487 h 41345"/>
                <a:gd name="connsiteX4" fmla="*/ 4847 w 185837"/>
                <a:gd name="connsiteY4" fmla="*/ 24278 h 41345"/>
                <a:gd name="connsiteX5" fmla="*/ -868 w 185837"/>
                <a:gd name="connsiteY5" fmla="*/ 28723 h 41345"/>
                <a:gd name="connsiteX6" fmla="*/ 2307 w 185837"/>
                <a:gd name="connsiteY6" fmla="*/ 35708 h 41345"/>
                <a:gd name="connsiteX7" fmla="*/ 30882 w 185837"/>
                <a:gd name="connsiteY7" fmla="*/ 40153 h 41345"/>
                <a:gd name="connsiteX8" fmla="*/ 31517 w 185837"/>
                <a:gd name="connsiteY8" fmla="*/ 40153 h 41345"/>
                <a:gd name="connsiteX9" fmla="*/ 174392 w 185837"/>
                <a:gd name="connsiteY9" fmla="*/ 10942 h 41345"/>
                <a:gd name="connsiteX10" fmla="*/ 183917 w 185837"/>
                <a:gd name="connsiteY10" fmla="*/ 9038 h 4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837" h="41345">
                  <a:moveTo>
                    <a:pt x="183917" y="9038"/>
                  </a:moveTo>
                  <a:cubicBezTo>
                    <a:pt x="185187" y="7767"/>
                    <a:pt x="185187" y="5863"/>
                    <a:pt x="184552" y="3958"/>
                  </a:cubicBezTo>
                  <a:cubicBezTo>
                    <a:pt x="183917" y="1417"/>
                    <a:pt x="180742" y="-1122"/>
                    <a:pt x="178202" y="-1122"/>
                  </a:cubicBezTo>
                  <a:cubicBezTo>
                    <a:pt x="177567" y="-1122"/>
                    <a:pt x="173122" y="-487"/>
                    <a:pt x="171852" y="-487"/>
                  </a:cubicBezTo>
                  <a:lnTo>
                    <a:pt x="4847" y="24278"/>
                  </a:lnTo>
                  <a:cubicBezTo>
                    <a:pt x="-868" y="24913"/>
                    <a:pt x="-868" y="25548"/>
                    <a:pt x="-868" y="28723"/>
                  </a:cubicBezTo>
                  <a:cubicBezTo>
                    <a:pt x="-233" y="33803"/>
                    <a:pt x="-233" y="34438"/>
                    <a:pt x="2307" y="35708"/>
                  </a:cubicBezTo>
                  <a:cubicBezTo>
                    <a:pt x="5482" y="36978"/>
                    <a:pt x="27072" y="40788"/>
                    <a:pt x="30882" y="40153"/>
                  </a:cubicBezTo>
                  <a:cubicBezTo>
                    <a:pt x="30882" y="40153"/>
                    <a:pt x="31517" y="40153"/>
                    <a:pt x="31517" y="40153"/>
                  </a:cubicBezTo>
                  <a:cubicBezTo>
                    <a:pt x="38502" y="38883"/>
                    <a:pt x="162327" y="13483"/>
                    <a:pt x="174392" y="10942"/>
                  </a:cubicBezTo>
                  <a:cubicBezTo>
                    <a:pt x="175662" y="11578"/>
                    <a:pt x="183282" y="10308"/>
                    <a:pt x="183917" y="9038"/>
                  </a:cubicBezTo>
                </a:path>
              </a:pathLst>
            </a:custGeom>
            <a:solidFill>
              <a:srgbClr val="FFFFFF"/>
            </a:solidFill>
            <a:ln w="6350" cap="flat">
              <a:noFill/>
              <a:prstDash val="solid"/>
              <a:miter/>
            </a:ln>
          </p:spPr>
          <p:txBody>
            <a:bodyPr rtlCol="0" anchor="ctr"/>
            <a:lstStyle/>
            <a:p>
              <a:endParaRPr lang="en-GB"/>
            </a:p>
          </p:txBody>
        </p:sp>
        <p:sp>
          <p:nvSpPr>
            <p:cNvPr id="117" name="Freeform 116"/>
            <p:cNvSpPr/>
            <p:nvPr/>
          </p:nvSpPr>
          <p:spPr>
            <a:xfrm>
              <a:off x="-8951029" y="3239090"/>
              <a:ext cx="201840" cy="44494"/>
            </a:xfrm>
            <a:custGeom>
              <a:avLst/>
              <a:gdLst>
                <a:gd name="connsiteX0" fmla="*/ 200496 w 201840"/>
                <a:gd name="connsiteY0" fmla="*/ 25593 h 44494"/>
                <a:gd name="connsiteX1" fmla="*/ 7456 w 201840"/>
                <a:gd name="connsiteY1" fmla="*/ -1078 h 44494"/>
                <a:gd name="connsiteX2" fmla="*/ -799 w 201840"/>
                <a:gd name="connsiteY2" fmla="*/ 7812 h 44494"/>
                <a:gd name="connsiteX3" fmla="*/ 1106 w 201840"/>
                <a:gd name="connsiteY3" fmla="*/ 10987 h 44494"/>
                <a:gd name="connsiteX4" fmla="*/ 34126 w 201840"/>
                <a:gd name="connsiteY4" fmla="*/ 18607 h 44494"/>
                <a:gd name="connsiteX5" fmla="*/ 72226 w 201840"/>
                <a:gd name="connsiteY5" fmla="*/ 28132 h 44494"/>
                <a:gd name="connsiteX6" fmla="*/ 119851 w 201840"/>
                <a:gd name="connsiteY6" fmla="*/ 37657 h 44494"/>
                <a:gd name="connsiteX7" fmla="*/ 146521 w 201840"/>
                <a:gd name="connsiteY7" fmla="*/ 42103 h 44494"/>
                <a:gd name="connsiteX8" fmla="*/ 165571 w 201840"/>
                <a:gd name="connsiteY8" fmla="*/ 43372 h 44494"/>
                <a:gd name="connsiteX9" fmla="*/ 195416 w 201840"/>
                <a:gd name="connsiteY9" fmla="*/ 40197 h 44494"/>
                <a:gd name="connsiteX10" fmla="*/ 200496 w 201840"/>
                <a:gd name="connsiteY10" fmla="*/ 28132 h 44494"/>
                <a:gd name="connsiteX11" fmla="*/ 200496 w 201840"/>
                <a:gd name="connsiteY11" fmla="*/ 25593 h 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840" h="44494">
                  <a:moveTo>
                    <a:pt x="200496" y="25593"/>
                  </a:moveTo>
                  <a:cubicBezTo>
                    <a:pt x="116676" y="20512"/>
                    <a:pt x="17616" y="193"/>
                    <a:pt x="7456" y="-1078"/>
                  </a:cubicBezTo>
                  <a:cubicBezTo>
                    <a:pt x="2376" y="-1713"/>
                    <a:pt x="-1434" y="4637"/>
                    <a:pt x="-799" y="7812"/>
                  </a:cubicBezTo>
                  <a:cubicBezTo>
                    <a:pt x="-799" y="8447"/>
                    <a:pt x="-164" y="10987"/>
                    <a:pt x="1106" y="10987"/>
                  </a:cubicBezTo>
                  <a:cubicBezTo>
                    <a:pt x="2376" y="11622"/>
                    <a:pt x="25871" y="16703"/>
                    <a:pt x="34126" y="18607"/>
                  </a:cubicBezTo>
                  <a:cubicBezTo>
                    <a:pt x="46826" y="21782"/>
                    <a:pt x="59526" y="24957"/>
                    <a:pt x="72226" y="28132"/>
                  </a:cubicBezTo>
                  <a:cubicBezTo>
                    <a:pt x="88101" y="31943"/>
                    <a:pt x="103976" y="35118"/>
                    <a:pt x="119851" y="37657"/>
                  </a:cubicBezTo>
                  <a:cubicBezTo>
                    <a:pt x="128741" y="38928"/>
                    <a:pt x="137631" y="40832"/>
                    <a:pt x="146521" y="42103"/>
                  </a:cubicBezTo>
                  <a:cubicBezTo>
                    <a:pt x="150966" y="42737"/>
                    <a:pt x="161126" y="43372"/>
                    <a:pt x="165571" y="43372"/>
                  </a:cubicBezTo>
                  <a:cubicBezTo>
                    <a:pt x="176366" y="42737"/>
                    <a:pt x="191606" y="41468"/>
                    <a:pt x="195416" y="40197"/>
                  </a:cubicBezTo>
                  <a:cubicBezTo>
                    <a:pt x="198591" y="39562"/>
                    <a:pt x="200496" y="29403"/>
                    <a:pt x="200496" y="28132"/>
                  </a:cubicBezTo>
                  <a:cubicBezTo>
                    <a:pt x="201131" y="26862"/>
                    <a:pt x="201131" y="25593"/>
                    <a:pt x="200496" y="25593"/>
                  </a:cubicBezTo>
                </a:path>
              </a:pathLst>
            </a:custGeom>
            <a:solidFill>
              <a:srgbClr val="FFFFFF"/>
            </a:solidFill>
            <a:ln w="6350" cap="flat">
              <a:noFill/>
              <a:prstDash val="solid"/>
              <a:miter/>
            </a:ln>
          </p:spPr>
          <p:txBody>
            <a:bodyPr rtlCol="0" anchor="ctr"/>
            <a:lstStyle/>
            <a:p>
              <a:endParaRPr lang="en-GB"/>
            </a:p>
          </p:txBody>
        </p:sp>
        <p:sp>
          <p:nvSpPr>
            <p:cNvPr id="118" name="Freeform 117"/>
            <p:cNvSpPr/>
            <p:nvPr/>
          </p:nvSpPr>
          <p:spPr>
            <a:xfrm>
              <a:off x="-8965045" y="3257902"/>
              <a:ext cx="177135" cy="49913"/>
            </a:xfrm>
            <a:custGeom>
              <a:avLst/>
              <a:gdLst>
                <a:gd name="connsiteX0" fmla="*/ 175143 w 177135"/>
                <a:gd name="connsiteY0" fmla="*/ 32815 h 49913"/>
                <a:gd name="connsiteX1" fmla="*/ 91958 w 177135"/>
                <a:gd name="connsiteY1" fmla="*/ 18845 h 49913"/>
                <a:gd name="connsiteX2" fmla="*/ 53223 w 177135"/>
                <a:gd name="connsiteY2" fmla="*/ 9956 h 49913"/>
                <a:gd name="connsiteX3" fmla="*/ 12583 w 177135"/>
                <a:gd name="connsiteY3" fmla="*/ -840 h 49913"/>
                <a:gd name="connsiteX4" fmla="*/ 10678 w 177135"/>
                <a:gd name="connsiteY4" fmla="*/ -840 h 49913"/>
                <a:gd name="connsiteX5" fmla="*/ -752 w 177135"/>
                <a:gd name="connsiteY5" fmla="*/ 6781 h 49913"/>
                <a:gd name="connsiteX6" fmla="*/ 74178 w 177135"/>
                <a:gd name="connsiteY6" fmla="*/ 34085 h 49913"/>
                <a:gd name="connsiteX7" fmla="*/ 157998 w 177135"/>
                <a:gd name="connsiteY7" fmla="*/ 48690 h 49913"/>
                <a:gd name="connsiteX8" fmla="*/ 170698 w 177135"/>
                <a:gd name="connsiteY8" fmla="*/ 47420 h 49913"/>
                <a:gd name="connsiteX9" fmla="*/ 175143 w 177135"/>
                <a:gd name="connsiteY9" fmla="*/ 32815 h 4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35" h="49913">
                  <a:moveTo>
                    <a:pt x="175143" y="32815"/>
                  </a:moveTo>
                  <a:cubicBezTo>
                    <a:pt x="147203" y="29006"/>
                    <a:pt x="119263" y="24560"/>
                    <a:pt x="91958" y="18845"/>
                  </a:cubicBezTo>
                  <a:cubicBezTo>
                    <a:pt x="79258" y="16306"/>
                    <a:pt x="65923" y="13131"/>
                    <a:pt x="53223" y="9956"/>
                  </a:cubicBezTo>
                  <a:cubicBezTo>
                    <a:pt x="39888" y="6781"/>
                    <a:pt x="25918" y="3606"/>
                    <a:pt x="12583" y="-840"/>
                  </a:cubicBezTo>
                  <a:cubicBezTo>
                    <a:pt x="12583" y="-840"/>
                    <a:pt x="11313" y="-1475"/>
                    <a:pt x="10678" y="-840"/>
                  </a:cubicBezTo>
                  <a:cubicBezTo>
                    <a:pt x="7503" y="431"/>
                    <a:pt x="-2022" y="3606"/>
                    <a:pt x="-752" y="6781"/>
                  </a:cubicBezTo>
                  <a:cubicBezTo>
                    <a:pt x="518" y="9956"/>
                    <a:pt x="50048" y="26465"/>
                    <a:pt x="74178" y="34085"/>
                  </a:cubicBezTo>
                  <a:cubicBezTo>
                    <a:pt x="91958" y="39165"/>
                    <a:pt x="133868" y="48056"/>
                    <a:pt x="157998" y="48690"/>
                  </a:cubicBezTo>
                  <a:cubicBezTo>
                    <a:pt x="164348" y="48690"/>
                    <a:pt x="168793" y="49325"/>
                    <a:pt x="170698" y="47420"/>
                  </a:cubicBezTo>
                  <a:cubicBezTo>
                    <a:pt x="171968" y="45515"/>
                    <a:pt x="178953" y="33450"/>
                    <a:pt x="175143" y="32815"/>
                  </a:cubicBezTo>
                </a:path>
              </a:pathLst>
            </a:custGeom>
            <a:solidFill>
              <a:srgbClr val="FFFFFF"/>
            </a:solidFill>
            <a:ln w="6350" cap="flat">
              <a:noFill/>
              <a:prstDash val="solid"/>
              <a:miter/>
            </a:ln>
          </p:spPr>
          <p:txBody>
            <a:bodyPr rtlCol="0" anchor="ctr"/>
            <a:lstStyle/>
            <a:p>
              <a:endParaRPr lang="en-GB"/>
            </a:p>
          </p:txBody>
        </p:sp>
        <p:sp>
          <p:nvSpPr>
            <p:cNvPr id="119" name="Freeform 118"/>
            <p:cNvSpPr/>
            <p:nvPr/>
          </p:nvSpPr>
          <p:spPr>
            <a:xfrm>
              <a:off x="-9037320" y="3308518"/>
              <a:ext cx="64274" cy="55766"/>
            </a:xfrm>
            <a:custGeom>
              <a:avLst/>
              <a:gdLst>
                <a:gd name="connsiteX0" fmla="*/ 46122 w 64274"/>
                <a:gd name="connsiteY0" fmla="*/ 29825 h 55766"/>
                <a:gd name="connsiteX1" fmla="*/ 13737 w 64274"/>
                <a:gd name="connsiteY1" fmla="*/ -655 h 55766"/>
                <a:gd name="connsiteX2" fmla="*/ -868 w 64274"/>
                <a:gd name="connsiteY2" fmla="*/ 3790 h 55766"/>
                <a:gd name="connsiteX3" fmla="*/ 2307 w 64274"/>
                <a:gd name="connsiteY3" fmla="*/ 8870 h 55766"/>
                <a:gd name="connsiteX4" fmla="*/ 29612 w 64274"/>
                <a:gd name="connsiteY4" fmla="*/ 41890 h 55766"/>
                <a:gd name="connsiteX5" fmla="*/ 33422 w 64274"/>
                <a:gd name="connsiteY5" fmla="*/ 46335 h 55766"/>
                <a:gd name="connsiteX6" fmla="*/ 35327 w 64274"/>
                <a:gd name="connsiteY6" fmla="*/ 47604 h 55766"/>
                <a:gd name="connsiteX7" fmla="*/ 35962 w 64274"/>
                <a:gd name="connsiteY7" fmla="*/ 48240 h 55766"/>
                <a:gd name="connsiteX8" fmla="*/ 53742 w 64274"/>
                <a:gd name="connsiteY8" fmla="*/ 54590 h 55766"/>
                <a:gd name="connsiteX9" fmla="*/ 61997 w 64274"/>
                <a:gd name="connsiteY9" fmla="*/ 45700 h 55766"/>
                <a:gd name="connsiteX10" fmla="*/ 46122 w 64274"/>
                <a:gd name="connsiteY10" fmla="*/ 29825 h 5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274" h="55766">
                  <a:moveTo>
                    <a:pt x="46122" y="29825"/>
                  </a:moveTo>
                  <a:cubicBezTo>
                    <a:pt x="32787" y="16490"/>
                    <a:pt x="15007" y="-21"/>
                    <a:pt x="13737" y="-655"/>
                  </a:cubicBezTo>
                  <a:cubicBezTo>
                    <a:pt x="10562" y="-1925"/>
                    <a:pt x="-233" y="-655"/>
                    <a:pt x="-868" y="3790"/>
                  </a:cubicBezTo>
                  <a:cubicBezTo>
                    <a:pt x="-868" y="5060"/>
                    <a:pt x="402" y="6965"/>
                    <a:pt x="2307" y="8870"/>
                  </a:cubicBezTo>
                  <a:cubicBezTo>
                    <a:pt x="2942" y="9504"/>
                    <a:pt x="21357" y="32365"/>
                    <a:pt x="29612" y="41890"/>
                  </a:cubicBezTo>
                  <a:cubicBezTo>
                    <a:pt x="31517" y="44429"/>
                    <a:pt x="32787" y="45700"/>
                    <a:pt x="33422" y="46335"/>
                  </a:cubicBezTo>
                  <a:cubicBezTo>
                    <a:pt x="34057" y="46335"/>
                    <a:pt x="34692" y="46970"/>
                    <a:pt x="35327" y="47604"/>
                  </a:cubicBezTo>
                  <a:cubicBezTo>
                    <a:pt x="35327" y="47604"/>
                    <a:pt x="35962" y="47604"/>
                    <a:pt x="35962" y="48240"/>
                  </a:cubicBezTo>
                  <a:cubicBezTo>
                    <a:pt x="40407" y="50779"/>
                    <a:pt x="49932" y="54590"/>
                    <a:pt x="53742" y="54590"/>
                  </a:cubicBezTo>
                  <a:cubicBezTo>
                    <a:pt x="59457" y="55225"/>
                    <a:pt x="66442" y="50145"/>
                    <a:pt x="61997" y="45700"/>
                  </a:cubicBezTo>
                  <a:cubicBezTo>
                    <a:pt x="60092" y="43795"/>
                    <a:pt x="53742" y="37445"/>
                    <a:pt x="46122" y="29825"/>
                  </a:cubicBezTo>
                </a:path>
              </a:pathLst>
            </a:custGeom>
            <a:solidFill>
              <a:srgbClr val="FFFFFF"/>
            </a:solidFill>
            <a:ln w="6350" cap="flat">
              <a:noFill/>
              <a:prstDash val="solid"/>
              <a:miter/>
            </a:ln>
          </p:spPr>
          <p:txBody>
            <a:bodyPr rtlCol="0" anchor="ctr"/>
            <a:lstStyle/>
            <a:p>
              <a:endParaRPr lang="en-GB"/>
            </a:p>
          </p:txBody>
        </p:sp>
        <p:sp>
          <p:nvSpPr>
            <p:cNvPr id="121" name="Freeform 120"/>
            <p:cNvSpPr/>
            <p:nvPr/>
          </p:nvSpPr>
          <p:spPr>
            <a:xfrm>
              <a:off x="-9012149" y="3297025"/>
              <a:ext cx="80337" cy="61995"/>
            </a:xfrm>
            <a:custGeom>
              <a:avLst/>
              <a:gdLst>
                <a:gd name="connsiteX0" fmla="*/ 15236 w 80337"/>
                <a:gd name="connsiteY0" fmla="*/ 4487 h 61995"/>
                <a:gd name="connsiteX1" fmla="*/ 10156 w 80337"/>
                <a:gd name="connsiteY1" fmla="*/ 678 h 61995"/>
                <a:gd name="connsiteX2" fmla="*/ 1901 w 80337"/>
                <a:gd name="connsiteY2" fmla="*/ 2583 h 61995"/>
                <a:gd name="connsiteX3" fmla="*/ -639 w 80337"/>
                <a:gd name="connsiteY3" fmla="*/ 10203 h 61995"/>
                <a:gd name="connsiteX4" fmla="*/ 21586 w 80337"/>
                <a:gd name="connsiteY4" fmla="*/ 31793 h 61995"/>
                <a:gd name="connsiteX5" fmla="*/ 43811 w 80337"/>
                <a:gd name="connsiteY5" fmla="*/ 52747 h 61995"/>
                <a:gd name="connsiteX6" fmla="*/ 78736 w 80337"/>
                <a:gd name="connsiteY6" fmla="*/ 57828 h 61995"/>
                <a:gd name="connsiteX7" fmla="*/ 78736 w 80337"/>
                <a:gd name="connsiteY7" fmla="*/ 53383 h 61995"/>
                <a:gd name="connsiteX8" fmla="*/ 15236 w 80337"/>
                <a:gd name="connsiteY8" fmla="*/ 4487 h 61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337" h="61995">
                  <a:moveTo>
                    <a:pt x="15236" y="4487"/>
                  </a:moveTo>
                  <a:cubicBezTo>
                    <a:pt x="12696" y="2583"/>
                    <a:pt x="10791" y="1312"/>
                    <a:pt x="10156" y="678"/>
                  </a:cubicBezTo>
                  <a:cubicBezTo>
                    <a:pt x="5711" y="-2497"/>
                    <a:pt x="3806" y="-1228"/>
                    <a:pt x="1901" y="2583"/>
                  </a:cubicBezTo>
                  <a:cubicBezTo>
                    <a:pt x="-639" y="7028"/>
                    <a:pt x="-1274" y="8933"/>
                    <a:pt x="-639" y="10203"/>
                  </a:cubicBezTo>
                  <a:cubicBezTo>
                    <a:pt x="-4" y="10837"/>
                    <a:pt x="10791" y="21633"/>
                    <a:pt x="21586" y="31793"/>
                  </a:cubicBezTo>
                  <a:cubicBezTo>
                    <a:pt x="32381" y="41953"/>
                    <a:pt x="42541" y="51478"/>
                    <a:pt x="43811" y="52747"/>
                  </a:cubicBezTo>
                  <a:cubicBezTo>
                    <a:pt x="44446" y="53383"/>
                    <a:pt x="73021" y="66718"/>
                    <a:pt x="78736" y="57828"/>
                  </a:cubicBezTo>
                  <a:cubicBezTo>
                    <a:pt x="79371" y="56558"/>
                    <a:pt x="80006" y="54018"/>
                    <a:pt x="78736" y="53383"/>
                  </a:cubicBezTo>
                  <a:cubicBezTo>
                    <a:pt x="75561" y="50208"/>
                    <a:pt x="31746" y="17187"/>
                    <a:pt x="15236" y="4487"/>
                  </a:cubicBezTo>
                </a:path>
              </a:pathLst>
            </a:custGeom>
            <a:solidFill>
              <a:srgbClr val="FFFFFF"/>
            </a:solidFill>
            <a:ln w="6350" cap="flat">
              <a:noFill/>
              <a:prstDash val="solid"/>
              <a:miter/>
            </a:ln>
          </p:spPr>
          <p:txBody>
            <a:bodyPr rtlCol="0" anchor="ctr"/>
            <a:lstStyle/>
            <a:p>
              <a:endParaRPr lang="en-GB"/>
            </a:p>
          </p:txBody>
        </p:sp>
        <p:sp>
          <p:nvSpPr>
            <p:cNvPr id="122" name="Freeform 121"/>
            <p:cNvSpPr/>
            <p:nvPr/>
          </p:nvSpPr>
          <p:spPr>
            <a:xfrm>
              <a:off x="-9051290" y="3316193"/>
              <a:ext cx="38296" cy="47400"/>
            </a:xfrm>
            <a:custGeom>
              <a:avLst/>
              <a:gdLst>
                <a:gd name="connsiteX0" fmla="*/ 15007 w 38296"/>
                <a:gd name="connsiteY0" fmla="*/ 41199 h 47400"/>
                <a:gd name="connsiteX1" fmla="*/ 28977 w 38296"/>
                <a:gd name="connsiteY1" fmla="*/ 46279 h 47400"/>
                <a:gd name="connsiteX2" fmla="*/ 35962 w 38296"/>
                <a:gd name="connsiteY2" fmla="*/ 45009 h 47400"/>
                <a:gd name="connsiteX3" fmla="*/ 35962 w 38296"/>
                <a:gd name="connsiteY3" fmla="*/ 38659 h 47400"/>
                <a:gd name="connsiteX4" fmla="*/ 32152 w 38296"/>
                <a:gd name="connsiteY4" fmla="*/ 33579 h 47400"/>
                <a:gd name="connsiteX5" fmla="*/ 8022 w 38296"/>
                <a:gd name="connsiteY5" fmla="*/ 1829 h 47400"/>
                <a:gd name="connsiteX6" fmla="*/ -868 w 38296"/>
                <a:gd name="connsiteY6" fmla="*/ -711 h 47400"/>
                <a:gd name="connsiteX7" fmla="*/ -233 w 38296"/>
                <a:gd name="connsiteY7" fmla="*/ 7544 h 47400"/>
                <a:gd name="connsiteX8" fmla="*/ -868 w 38296"/>
                <a:gd name="connsiteY8" fmla="*/ 16434 h 47400"/>
                <a:gd name="connsiteX9" fmla="*/ 9292 w 38296"/>
                <a:gd name="connsiteY9" fmla="*/ 32309 h 47400"/>
                <a:gd name="connsiteX10" fmla="*/ 15007 w 38296"/>
                <a:gd name="connsiteY10" fmla="*/ 41199 h 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296" h="47400">
                  <a:moveTo>
                    <a:pt x="15007" y="41199"/>
                  </a:moveTo>
                  <a:cubicBezTo>
                    <a:pt x="17547" y="45009"/>
                    <a:pt x="25167" y="45644"/>
                    <a:pt x="28977" y="46279"/>
                  </a:cubicBezTo>
                  <a:cubicBezTo>
                    <a:pt x="30882" y="46279"/>
                    <a:pt x="34057" y="46279"/>
                    <a:pt x="35962" y="45009"/>
                  </a:cubicBezTo>
                  <a:cubicBezTo>
                    <a:pt x="38502" y="43104"/>
                    <a:pt x="37232" y="40564"/>
                    <a:pt x="35962" y="38659"/>
                  </a:cubicBezTo>
                  <a:cubicBezTo>
                    <a:pt x="35327" y="38024"/>
                    <a:pt x="34057" y="36119"/>
                    <a:pt x="32152" y="33579"/>
                  </a:cubicBezTo>
                  <a:cubicBezTo>
                    <a:pt x="24532" y="23419"/>
                    <a:pt x="9292" y="3099"/>
                    <a:pt x="8022" y="1829"/>
                  </a:cubicBezTo>
                  <a:cubicBezTo>
                    <a:pt x="6117" y="-76"/>
                    <a:pt x="1672" y="-1981"/>
                    <a:pt x="-868" y="-711"/>
                  </a:cubicBezTo>
                  <a:cubicBezTo>
                    <a:pt x="-868" y="1829"/>
                    <a:pt x="-233" y="5004"/>
                    <a:pt x="-233" y="7544"/>
                  </a:cubicBezTo>
                  <a:cubicBezTo>
                    <a:pt x="-233" y="10084"/>
                    <a:pt x="-868" y="13894"/>
                    <a:pt x="-868" y="16434"/>
                  </a:cubicBezTo>
                  <a:cubicBezTo>
                    <a:pt x="1037" y="20244"/>
                    <a:pt x="5482" y="26594"/>
                    <a:pt x="9292" y="32309"/>
                  </a:cubicBezTo>
                  <a:cubicBezTo>
                    <a:pt x="12467" y="36754"/>
                    <a:pt x="15007" y="40564"/>
                    <a:pt x="15007" y="41199"/>
                  </a:cubicBezTo>
                </a:path>
              </a:pathLst>
            </a:custGeom>
            <a:solidFill>
              <a:srgbClr val="FFFFFF"/>
            </a:solidFill>
            <a:ln w="6350" cap="flat">
              <a:noFill/>
              <a:prstDash val="solid"/>
              <a:miter/>
            </a:ln>
          </p:spPr>
          <p:txBody>
            <a:bodyPr rtlCol="0" anchor="ctr"/>
            <a:lstStyle/>
            <a:p>
              <a:endParaRPr lang="en-GB"/>
            </a:p>
          </p:txBody>
        </p:sp>
        <p:sp>
          <p:nvSpPr>
            <p:cNvPr id="123" name="Freeform 122"/>
            <p:cNvSpPr/>
            <p:nvPr/>
          </p:nvSpPr>
          <p:spPr>
            <a:xfrm>
              <a:off x="-9046334" y="3275080"/>
              <a:ext cx="27598" cy="25649"/>
            </a:xfrm>
            <a:custGeom>
              <a:avLst/>
              <a:gdLst>
                <a:gd name="connsiteX0" fmla="*/ 23387 w 27598"/>
                <a:gd name="connsiteY0" fmla="*/ 12462 h 25649"/>
                <a:gd name="connsiteX1" fmla="*/ 15766 w 27598"/>
                <a:gd name="connsiteY1" fmla="*/ 4842 h 25649"/>
                <a:gd name="connsiteX2" fmla="*/ 10051 w 27598"/>
                <a:gd name="connsiteY2" fmla="*/ 397 h 25649"/>
                <a:gd name="connsiteX3" fmla="*/ 3701 w 27598"/>
                <a:gd name="connsiteY3" fmla="*/ -873 h 25649"/>
                <a:gd name="connsiteX4" fmla="*/ -743 w 27598"/>
                <a:gd name="connsiteY4" fmla="*/ 2937 h 25649"/>
                <a:gd name="connsiteX5" fmla="*/ 2432 w 27598"/>
                <a:gd name="connsiteY5" fmla="*/ 9922 h 25649"/>
                <a:gd name="connsiteX6" fmla="*/ 3701 w 27598"/>
                <a:gd name="connsiteY6" fmla="*/ 11827 h 25649"/>
                <a:gd name="connsiteX7" fmla="*/ 10051 w 27598"/>
                <a:gd name="connsiteY7" fmla="*/ 18812 h 25649"/>
                <a:gd name="connsiteX8" fmla="*/ 18941 w 27598"/>
                <a:gd name="connsiteY8" fmla="*/ 24527 h 25649"/>
                <a:gd name="connsiteX9" fmla="*/ 23387 w 27598"/>
                <a:gd name="connsiteY9" fmla="*/ 23257 h 25649"/>
                <a:gd name="connsiteX10" fmla="*/ 26562 w 27598"/>
                <a:gd name="connsiteY10" fmla="*/ 19447 h 25649"/>
                <a:gd name="connsiteX11" fmla="*/ 24657 w 27598"/>
                <a:gd name="connsiteY11" fmla="*/ 14367 h 25649"/>
                <a:gd name="connsiteX12" fmla="*/ 23387 w 27598"/>
                <a:gd name="connsiteY12" fmla="*/ 12462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98" h="25649">
                  <a:moveTo>
                    <a:pt x="23387" y="12462"/>
                  </a:moveTo>
                  <a:cubicBezTo>
                    <a:pt x="20846" y="9922"/>
                    <a:pt x="18307" y="7382"/>
                    <a:pt x="15766" y="4842"/>
                  </a:cubicBezTo>
                  <a:cubicBezTo>
                    <a:pt x="13862" y="2937"/>
                    <a:pt x="12591" y="1667"/>
                    <a:pt x="10051" y="397"/>
                  </a:cubicBezTo>
                  <a:cubicBezTo>
                    <a:pt x="8146" y="-873"/>
                    <a:pt x="5607" y="-1508"/>
                    <a:pt x="3701" y="-873"/>
                  </a:cubicBezTo>
                  <a:cubicBezTo>
                    <a:pt x="1796" y="-873"/>
                    <a:pt x="-109" y="1032"/>
                    <a:pt x="-743" y="2937"/>
                  </a:cubicBezTo>
                  <a:cubicBezTo>
                    <a:pt x="-1379" y="5477"/>
                    <a:pt x="526" y="8017"/>
                    <a:pt x="2432" y="9922"/>
                  </a:cubicBezTo>
                  <a:cubicBezTo>
                    <a:pt x="3066" y="10557"/>
                    <a:pt x="3701" y="11192"/>
                    <a:pt x="3701" y="11827"/>
                  </a:cubicBezTo>
                  <a:cubicBezTo>
                    <a:pt x="5607" y="14367"/>
                    <a:pt x="8146" y="16272"/>
                    <a:pt x="10051" y="18812"/>
                  </a:cubicBezTo>
                  <a:cubicBezTo>
                    <a:pt x="12591" y="21352"/>
                    <a:pt x="14496" y="23892"/>
                    <a:pt x="18941" y="24527"/>
                  </a:cubicBezTo>
                  <a:cubicBezTo>
                    <a:pt x="20212" y="24527"/>
                    <a:pt x="22116" y="24527"/>
                    <a:pt x="23387" y="23257"/>
                  </a:cubicBezTo>
                  <a:cubicBezTo>
                    <a:pt x="24657" y="22622"/>
                    <a:pt x="25926" y="21352"/>
                    <a:pt x="26562" y="19447"/>
                  </a:cubicBezTo>
                  <a:cubicBezTo>
                    <a:pt x="27196" y="17542"/>
                    <a:pt x="25926" y="15637"/>
                    <a:pt x="24657" y="14367"/>
                  </a:cubicBezTo>
                  <a:cubicBezTo>
                    <a:pt x="24657" y="13732"/>
                    <a:pt x="24021" y="13097"/>
                    <a:pt x="23387" y="12462"/>
                  </a:cubicBezTo>
                </a:path>
              </a:pathLst>
            </a:custGeom>
            <a:solidFill>
              <a:srgbClr val="FFFFFF"/>
            </a:solidFill>
            <a:ln w="6350" cap="flat">
              <a:noFill/>
              <a:prstDash val="solid"/>
              <a:miter/>
            </a:ln>
          </p:spPr>
          <p:txBody>
            <a:bodyPr rtlCol="0" anchor="ctr"/>
            <a:lstStyle/>
            <a:p>
              <a:endParaRPr lang="en-GB"/>
            </a:p>
          </p:txBody>
        </p:sp>
        <p:sp>
          <p:nvSpPr>
            <p:cNvPr id="124" name="Freeform 123"/>
            <p:cNvSpPr/>
            <p:nvPr/>
          </p:nvSpPr>
          <p:spPr>
            <a:xfrm>
              <a:off x="-9073641" y="3203575"/>
              <a:ext cx="88391" cy="71957"/>
            </a:xfrm>
            <a:custGeom>
              <a:avLst/>
              <a:gdLst>
                <a:gd name="connsiteX0" fmla="*/ 84348 w 88391"/>
                <a:gd name="connsiteY0" fmla="*/ -1122 h 71957"/>
                <a:gd name="connsiteX1" fmla="*/ 76728 w 88391"/>
                <a:gd name="connsiteY1" fmla="*/ -1122 h 71957"/>
                <a:gd name="connsiteX2" fmla="*/ 57043 w 88391"/>
                <a:gd name="connsiteY2" fmla="*/ -1122 h 71957"/>
                <a:gd name="connsiteX3" fmla="*/ 50693 w 88391"/>
                <a:gd name="connsiteY3" fmla="*/ -1122 h 71957"/>
                <a:gd name="connsiteX4" fmla="*/ 37993 w 88391"/>
                <a:gd name="connsiteY4" fmla="*/ -1122 h 71957"/>
                <a:gd name="connsiteX5" fmla="*/ -742 w 88391"/>
                <a:gd name="connsiteY5" fmla="*/ 12848 h 71957"/>
                <a:gd name="connsiteX6" fmla="*/ 1798 w 88391"/>
                <a:gd name="connsiteY6" fmla="*/ 23008 h 71957"/>
                <a:gd name="connsiteX7" fmla="*/ 8148 w 88391"/>
                <a:gd name="connsiteY7" fmla="*/ 35073 h 71957"/>
                <a:gd name="connsiteX8" fmla="*/ 8148 w 88391"/>
                <a:gd name="connsiteY8" fmla="*/ 35708 h 71957"/>
                <a:gd name="connsiteX9" fmla="*/ 8783 w 88391"/>
                <a:gd name="connsiteY9" fmla="*/ 36978 h 71957"/>
                <a:gd name="connsiteX10" fmla="*/ 16403 w 88391"/>
                <a:gd name="connsiteY10" fmla="*/ 55393 h 71957"/>
                <a:gd name="connsiteX11" fmla="*/ 16403 w 88391"/>
                <a:gd name="connsiteY11" fmla="*/ 56028 h 71957"/>
                <a:gd name="connsiteX12" fmla="*/ 16403 w 88391"/>
                <a:gd name="connsiteY12" fmla="*/ 56663 h 71957"/>
                <a:gd name="connsiteX13" fmla="*/ 15768 w 88391"/>
                <a:gd name="connsiteY13" fmla="*/ 63648 h 71957"/>
                <a:gd name="connsiteX14" fmla="*/ 15768 w 88391"/>
                <a:gd name="connsiteY14" fmla="*/ 63648 h 71957"/>
                <a:gd name="connsiteX15" fmla="*/ 16403 w 88391"/>
                <a:gd name="connsiteY15" fmla="*/ 69998 h 71957"/>
                <a:gd name="connsiteX16" fmla="*/ 27198 w 88391"/>
                <a:gd name="connsiteY16" fmla="*/ 66188 h 71957"/>
                <a:gd name="connsiteX17" fmla="*/ 23388 w 88391"/>
                <a:gd name="connsiteY17" fmla="*/ 52853 h 71957"/>
                <a:gd name="connsiteX18" fmla="*/ 35453 w 88391"/>
                <a:gd name="connsiteY18" fmla="*/ 61108 h 71957"/>
                <a:gd name="connsiteX19" fmla="*/ 41803 w 88391"/>
                <a:gd name="connsiteY19" fmla="*/ 52853 h 71957"/>
                <a:gd name="connsiteX20" fmla="*/ 34183 w 88391"/>
                <a:gd name="connsiteY20" fmla="*/ 40153 h 71957"/>
                <a:gd name="connsiteX21" fmla="*/ 45613 w 88391"/>
                <a:gd name="connsiteY21" fmla="*/ 43963 h 71957"/>
                <a:gd name="connsiteX22" fmla="*/ 57678 w 88391"/>
                <a:gd name="connsiteY22" fmla="*/ 42693 h 71957"/>
                <a:gd name="connsiteX23" fmla="*/ 44343 w 88391"/>
                <a:gd name="connsiteY23" fmla="*/ 26183 h 71957"/>
                <a:gd name="connsiteX24" fmla="*/ 48788 w 88391"/>
                <a:gd name="connsiteY24" fmla="*/ 24913 h 71957"/>
                <a:gd name="connsiteX25" fmla="*/ 65298 w 88391"/>
                <a:gd name="connsiteY25" fmla="*/ 35073 h 71957"/>
                <a:gd name="connsiteX26" fmla="*/ 71648 w 88391"/>
                <a:gd name="connsiteY26" fmla="*/ 29993 h 71957"/>
                <a:gd name="connsiteX27" fmla="*/ 55773 w 88391"/>
                <a:gd name="connsiteY27" fmla="*/ 15388 h 71957"/>
                <a:gd name="connsiteX28" fmla="*/ 69108 w 88391"/>
                <a:gd name="connsiteY28" fmla="*/ 17928 h 71957"/>
                <a:gd name="connsiteX29" fmla="*/ 74823 w 88391"/>
                <a:gd name="connsiteY29" fmla="*/ 20468 h 71957"/>
                <a:gd name="connsiteX30" fmla="*/ 79903 w 88391"/>
                <a:gd name="connsiteY30" fmla="*/ 16023 h 71957"/>
                <a:gd name="connsiteX31" fmla="*/ 69108 w 88391"/>
                <a:gd name="connsiteY31" fmla="*/ 5863 h 71957"/>
                <a:gd name="connsiteX32" fmla="*/ 81173 w 88391"/>
                <a:gd name="connsiteY32" fmla="*/ 7133 h 71957"/>
                <a:gd name="connsiteX33" fmla="*/ 87523 w 88391"/>
                <a:gd name="connsiteY33" fmla="*/ 2053 h 71957"/>
                <a:gd name="connsiteX34" fmla="*/ 84348 w 88391"/>
                <a:gd name="connsiteY34" fmla="*/ -1122 h 7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8391" h="71957">
                  <a:moveTo>
                    <a:pt x="84348" y="-1122"/>
                  </a:moveTo>
                  <a:cubicBezTo>
                    <a:pt x="81808" y="-1122"/>
                    <a:pt x="79268" y="-1122"/>
                    <a:pt x="76728" y="-1122"/>
                  </a:cubicBezTo>
                  <a:lnTo>
                    <a:pt x="57043" y="-1122"/>
                  </a:lnTo>
                  <a:cubicBezTo>
                    <a:pt x="55138" y="-1122"/>
                    <a:pt x="52598" y="-1122"/>
                    <a:pt x="50693" y="-1122"/>
                  </a:cubicBezTo>
                  <a:cubicBezTo>
                    <a:pt x="46248" y="-1122"/>
                    <a:pt x="41803" y="-1122"/>
                    <a:pt x="37993" y="-1122"/>
                  </a:cubicBezTo>
                  <a:cubicBezTo>
                    <a:pt x="14498" y="-487"/>
                    <a:pt x="1163" y="3958"/>
                    <a:pt x="-742" y="12848"/>
                  </a:cubicBezTo>
                  <a:cubicBezTo>
                    <a:pt x="-1377" y="15388"/>
                    <a:pt x="528" y="19198"/>
                    <a:pt x="1798" y="23008"/>
                  </a:cubicBezTo>
                  <a:cubicBezTo>
                    <a:pt x="3703" y="27453"/>
                    <a:pt x="5608" y="31263"/>
                    <a:pt x="8148" y="35073"/>
                  </a:cubicBezTo>
                  <a:lnTo>
                    <a:pt x="8148" y="35708"/>
                  </a:lnTo>
                  <a:lnTo>
                    <a:pt x="8783" y="36978"/>
                  </a:lnTo>
                  <a:cubicBezTo>
                    <a:pt x="11958" y="42693"/>
                    <a:pt x="15133" y="48408"/>
                    <a:pt x="16403" y="55393"/>
                  </a:cubicBezTo>
                  <a:lnTo>
                    <a:pt x="16403" y="56028"/>
                  </a:lnTo>
                  <a:lnTo>
                    <a:pt x="16403" y="56663"/>
                  </a:lnTo>
                  <a:cubicBezTo>
                    <a:pt x="16403" y="59203"/>
                    <a:pt x="16403" y="61108"/>
                    <a:pt x="15768" y="63648"/>
                  </a:cubicBezTo>
                  <a:lnTo>
                    <a:pt x="15768" y="63648"/>
                  </a:lnTo>
                  <a:cubicBezTo>
                    <a:pt x="15133" y="66823"/>
                    <a:pt x="15133" y="69363"/>
                    <a:pt x="16403" y="69998"/>
                  </a:cubicBezTo>
                  <a:cubicBezTo>
                    <a:pt x="19578" y="72538"/>
                    <a:pt x="26563" y="68728"/>
                    <a:pt x="27198" y="66188"/>
                  </a:cubicBezTo>
                  <a:cubicBezTo>
                    <a:pt x="27833" y="63013"/>
                    <a:pt x="19578" y="55393"/>
                    <a:pt x="23388" y="52853"/>
                  </a:cubicBezTo>
                  <a:cubicBezTo>
                    <a:pt x="27833" y="48408"/>
                    <a:pt x="32278" y="60473"/>
                    <a:pt x="35453" y="61108"/>
                  </a:cubicBezTo>
                  <a:cubicBezTo>
                    <a:pt x="38628" y="61743"/>
                    <a:pt x="43708" y="57298"/>
                    <a:pt x="41803" y="52853"/>
                  </a:cubicBezTo>
                  <a:cubicBezTo>
                    <a:pt x="41168" y="50948"/>
                    <a:pt x="30373" y="45233"/>
                    <a:pt x="34183" y="40153"/>
                  </a:cubicBezTo>
                  <a:cubicBezTo>
                    <a:pt x="37358" y="36343"/>
                    <a:pt x="41803" y="41423"/>
                    <a:pt x="45613" y="43963"/>
                  </a:cubicBezTo>
                  <a:cubicBezTo>
                    <a:pt x="51963" y="49043"/>
                    <a:pt x="56408" y="47773"/>
                    <a:pt x="57678" y="42693"/>
                  </a:cubicBezTo>
                  <a:cubicBezTo>
                    <a:pt x="58948" y="39518"/>
                    <a:pt x="39263" y="31263"/>
                    <a:pt x="44343" y="26183"/>
                  </a:cubicBezTo>
                  <a:cubicBezTo>
                    <a:pt x="45613" y="24913"/>
                    <a:pt x="46883" y="24913"/>
                    <a:pt x="48788" y="24913"/>
                  </a:cubicBezTo>
                  <a:cubicBezTo>
                    <a:pt x="54503" y="26183"/>
                    <a:pt x="62123" y="34438"/>
                    <a:pt x="65298" y="35073"/>
                  </a:cubicBezTo>
                  <a:cubicBezTo>
                    <a:pt x="67838" y="35708"/>
                    <a:pt x="71648" y="33168"/>
                    <a:pt x="71648" y="29993"/>
                  </a:cubicBezTo>
                  <a:cubicBezTo>
                    <a:pt x="72283" y="26183"/>
                    <a:pt x="53233" y="19833"/>
                    <a:pt x="55773" y="15388"/>
                  </a:cubicBezTo>
                  <a:cubicBezTo>
                    <a:pt x="58313" y="10308"/>
                    <a:pt x="65933" y="16658"/>
                    <a:pt x="69108" y="17928"/>
                  </a:cubicBezTo>
                  <a:cubicBezTo>
                    <a:pt x="70378" y="18563"/>
                    <a:pt x="73553" y="20468"/>
                    <a:pt x="74823" y="20468"/>
                  </a:cubicBezTo>
                  <a:cubicBezTo>
                    <a:pt x="77998" y="20468"/>
                    <a:pt x="79268" y="19833"/>
                    <a:pt x="79903" y="16023"/>
                  </a:cubicBezTo>
                  <a:cubicBezTo>
                    <a:pt x="80538" y="11578"/>
                    <a:pt x="66568" y="10308"/>
                    <a:pt x="69108" y="5863"/>
                  </a:cubicBezTo>
                  <a:cubicBezTo>
                    <a:pt x="71648" y="783"/>
                    <a:pt x="77998" y="6498"/>
                    <a:pt x="81173" y="7133"/>
                  </a:cubicBezTo>
                  <a:cubicBezTo>
                    <a:pt x="85618" y="6498"/>
                    <a:pt x="87523" y="4593"/>
                    <a:pt x="87523" y="2053"/>
                  </a:cubicBezTo>
                  <a:cubicBezTo>
                    <a:pt x="87523" y="-1122"/>
                    <a:pt x="85618" y="-1122"/>
                    <a:pt x="84348" y="-1122"/>
                  </a:cubicBezTo>
                </a:path>
              </a:pathLst>
            </a:custGeom>
            <a:solidFill>
              <a:srgbClr val="FFFFFF"/>
            </a:solidFill>
            <a:ln w="6350" cap="flat">
              <a:noFill/>
              <a:prstDash val="solid"/>
              <a:miter/>
            </a:ln>
          </p:spPr>
          <p:txBody>
            <a:bodyPr rtlCol="0" anchor="ctr"/>
            <a:lstStyle/>
            <a:p>
              <a:endParaRPr lang="en-GB"/>
            </a:p>
          </p:txBody>
        </p:sp>
        <p:sp>
          <p:nvSpPr>
            <p:cNvPr id="125" name="Freeform 124"/>
            <p:cNvSpPr/>
            <p:nvPr/>
          </p:nvSpPr>
          <p:spPr>
            <a:xfrm>
              <a:off x="-9405199" y="3202940"/>
              <a:ext cx="94955" cy="71780"/>
            </a:xfrm>
            <a:custGeom>
              <a:avLst/>
              <a:gdLst>
                <a:gd name="connsiteX0" fmla="*/ 76816 w 94955"/>
                <a:gd name="connsiteY0" fmla="*/ 56663 h 71780"/>
                <a:gd name="connsiteX1" fmla="*/ 76816 w 94955"/>
                <a:gd name="connsiteY1" fmla="*/ 56663 h 71780"/>
                <a:gd name="connsiteX2" fmla="*/ 84436 w 94955"/>
                <a:gd name="connsiteY2" fmla="*/ 37613 h 71780"/>
                <a:gd name="connsiteX3" fmla="*/ 85072 w 94955"/>
                <a:gd name="connsiteY3" fmla="*/ 36343 h 71780"/>
                <a:gd name="connsiteX4" fmla="*/ 85072 w 94955"/>
                <a:gd name="connsiteY4" fmla="*/ 35708 h 71780"/>
                <a:gd name="connsiteX5" fmla="*/ 91422 w 94955"/>
                <a:gd name="connsiteY5" fmla="*/ 23008 h 71780"/>
                <a:gd name="connsiteX6" fmla="*/ 93961 w 94955"/>
                <a:gd name="connsiteY6" fmla="*/ 12848 h 71780"/>
                <a:gd name="connsiteX7" fmla="*/ 54591 w 94955"/>
                <a:gd name="connsiteY7" fmla="*/ -1122 h 71780"/>
                <a:gd name="connsiteX8" fmla="*/ 41256 w 94955"/>
                <a:gd name="connsiteY8" fmla="*/ -1122 h 71780"/>
                <a:gd name="connsiteX9" fmla="*/ 30461 w 94955"/>
                <a:gd name="connsiteY9" fmla="*/ -1122 h 71780"/>
                <a:gd name="connsiteX10" fmla="*/ 17761 w 94955"/>
                <a:gd name="connsiteY10" fmla="*/ -1122 h 71780"/>
                <a:gd name="connsiteX11" fmla="*/ 5061 w 94955"/>
                <a:gd name="connsiteY11" fmla="*/ -1122 h 71780"/>
                <a:gd name="connsiteX12" fmla="*/ 3156 w 94955"/>
                <a:gd name="connsiteY12" fmla="*/ -1122 h 71780"/>
                <a:gd name="connsiteX13" fmla="*/ 3156 w 94955"/>
                <a:gd name="connsiteY13" fmla="*/ -1122 h 71780"/>
                <a:gd name="connsiteX14" fmla="*/ -653 w 94955"/>
                <a:gd name="connsiteY14" fmla="*/ 1418 h 71780"/>
                <a:gd name="connsiteX15" fmla="*/ 3156 w 94955"/>
                <a:gd name="connsiteY15" fmla="*/ 7768 h 71780"/>
                <a:gd name="connsiteX16" fmla="*/ 16491 w 94955"/>
                <a:gd name="connsiteY16" fmla="*/ 5228 h 71780"/>
                <a:gd name="connsiteX17" fmla="*/ 6331 w 94955"/>
                <a:gd name="connsiteY17" fmla="*/ 17928 h 71780"/>
                <a:gd name="connsiteX18" fmla="*/ 17127 w 94955"/>
                <a:gd name="connsiteY18" fmla="*/ 17928 h 71780"/>
                <a:gd name="connsiteX19" fmla="*/ 34906 w 94955"/>
                <a:gd name="connsiteY19" fmla="*/ 13483 h 71780"/>
                <a:gd name="connsiteX20" fmla="*/ 19666 w 94955"/>
                <a:gd name="connsiteY20" fmla="*/ 28723 h 71780"/>
                <a:gd name="connsiteX21" fmla="*/ 18397 w 94955"/>
                <a:gd name="connsiteY21" fmla="*/ 34438 h 71780"/>
                <a:gd name="connsiteX22" fmla="*/ 37447 w 94955"/>
                <a:gd name="connsiteY22" fmla="*/ 28088 h 71780"/>
                <a:gd name="connsiteX23" fmla="*/ 43797 w 94955"/>
                <a:gd name="connsiteY23" fmla="*/ 23643 h 71780"/>
                <a:gd name="connsiteX24" fmla="*/ 47606 w 94955"/>
                <a:gd name="connsiteY24" fmla="*/ 23643 h 71780"/>
                <a:gd name="connsiteX25" fmla="*/ 50781 w 94955"/>
                <a:gd name="connsiteY25" fmla="*/ 26818 h 71780"/>
                <a:gd name="connsiteX26" fmla="*/ 49511 w 94955"/>
                <a:gd name="connsiteY26" fmla="*/ 31263 h 71780"/>
                <a:gd name="connsiteX27" fmla="*/ 43797 w 94955"/>
                <a:gd name="connsiteY27" fmla="*/ 35708 h 71780"/>
                <a:gd name="connsiteX28" fmla="*/ 39352 w 94955"/>
                <a:gd name="connsiteY28" fmla="*/ 39518 h 71780"/>
                <a:gd name="connsiteX29" fmla="*/ 34272 w 94955"/>
                <a:gd name="connsiteY29" fmla="*/ 47138 h 71780"/>
                <a:gd name="connsiteX30" fmla="*/ 39986 w 94955"/>
                <a:gd name="connsiteY30" fmla="*/ 52218 h 71780"/>
                <a:gd name="connsiteX31" fmla="*/ 41891 w 94955"/>
                <a:gd name="connsiteY31" fmla="*/ 51583 h 71780"/>
                <a:gd name="connsiteX32" fmla="*/ 58402 w 94955"/>
                <a:gd name="connsiteY32" fmla="*/ 37613 h 71780"/>
                <a:gd name="connsiteX33" fmla="*/ 61577 w 94955"/>
                <a:gd name="connsiteY33" fmla="*/ 39518 h 71780"/>
                <a:gd name="connsiteX34" fmla="*/ 60941 w 94955"/>
                <a:gd name="connsiteY34" fmla="*/ 45233 h 71780"/>
                <a:gd name="connsiteX35" fmla="*/ 55227 w 94955"/>
                <a:gd name="connsiteY35" fmla="*/ 50948 h 71780"/>
                <a:gd name="connsiteX36" fmla="*/ 51416 w 94955"/>
                <a:gd name="connsiteY36" fmla="*/ 55393 h 71780"/>
                <a:gd name="connsiteX37" fmla="*/ 56497 w 94955"/>
                <a:gd name="connsiteY37" fmla="*/ 61743 h 71780"/>
                <a:gd name="connsiteX38" fmla="*/ 59672 w 94955"/>
                <a:gd name="connsiteY38" fmla="*/ 60473 h 71780"/>
                <a:gd name="connsiteX39" fmla="*/ 69197 w 94955"/>
                <a:gd name="connsiteY39" fmla="*/ 51583 h 71780"/>
                <a:gd name="connsiteX40" fmla="*/ 66022 w 94955"/>
                <a:gd name="connsiteY40" fmla="*/ 66188 h 71780"/>
                <a:gd name="connsiteX41" fmla="*/ 67927 w 94955"/>
                <a:gd name="connsiteY41" fmla="*/ 68728 h 71780"/>
                <a:gd name="connsiteX42" fmla="*/ 69831 w 94955"/>
                <a:gd name="connsiteY42" fmla="*/ 69998 h 71780"/>
                <a:gd name="connsiteX43" fmla="*/ 76816 w 94955"/>
                <a:gd name="connsiteY43" fmla="*/ 68728 h 71780"/>
                <a:gd name="connsiteX44" fmla="*/ 77452 w 94955"/>
                <a:gd name="connsiteY44" fmla="*/ 64918 h 71780"/>
                <a:gd name="connsiteX45" fmla="*/ 76816 w 94955"/>
                <a:gd name="connsiteY45" fmla="*/ 56663 h 71780"/>
                <a:gd name="connsiteX46" fmla="*/ 76816 w 94955"/>
                <a:gd name="connsiteY46" fmla="*/ 56663 h 71780"/>
                <a:gd name="connsiteX47" fmla="*/ 76816 w 94955"/>
                <a:gd name="connsiteY47" fmla="*/ 56663 h 7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955" h="71780">
                  <a:moveTo>
                    <a:pt x="76816" y="56663"/>
                  </a:moveTo>
                  <a:lnTo>
                    <a:pt x="76816" y="56663"/>
                  </a:lnTo>
                  <a:cubicBezTo>
                    <a:pt x="78086" y="49043"/>
                    <a:pt x="81261" y="43328"/>
                    <a:pt x="84436" y="37613"/>
                  </a:cubicBezTo>
                  <a:lnTo>
                    <a:pt x="85072" y="36343"/>
                  </a:lnTo>
                  <a:lnTo>
                    <a:pt x="85072" y="35708"/>
                  </a:lnTo>
                  <a:cubicBezTo>
                    <a:pt x="87611" y="31263"/>
                    <a:pt x="89516" y="27453"/>
                    <a:pt x="91422" y="23008"/>
                  </a:cubicBezTo>
                  <a:cubicBezTo>
                    <a:pt x="92691" y="19833"/>
                    <a:pt x="94597" y="16023"/>
                    <a:pt x="93961" y="12848"/>
                  </a:cubicBezTo>
                  <a:cubicBezTo>
                    <a:pt x="92056" y="3958"/>
                    <a:pt x="78722" y="-487"/>
                    <a:pt x="54591" y="-1122"/>
                  </a:cubicBezTo>
                  <a:cubicBezTo>
                    <a:pt x="50781" y="-1122"/>
                    <a:pt x="46336" y="-1122"/>
                    <a:pt x="41256" y="-1122"/>
                  </a:cubicBezTo>
                  <a:cubicBezTo>
                    <a:pt x="37447" y="-1122"/>
                    <a:pt x="34272" y="-1122"/>
                    <a:pt x="30461" y="-1122"/>
                  </a:cubicBezTo>
                  <a:cubicBezTo>
                    <a:pt x="26016" y="-1122"/>
                    <a:pt x="22206" y="-1122"/>
                    <a:pt x="17761" y="-1122"/>
                  </a:cubicBezTo>
                  <a:cubicBezTo>
                    <a:pt x="13316" y="-1122"/>
                    <a:pt x="9506" y="-1122"/>
                    <a:pt x="5061" y="-1122"/>
                  </a:cubicBezTo>
                  <a:cubicBezTo>
                    <a:pt x="4427" y="-1122"/>
                    <a:pt x="3791" y="-1122"/>
                    <a:pt x="3156" y="-1122"/>
                  </a:cubicBezTo>
                  <a:lnTo>
                    <a:pt x="3156" y="-1122"/>
                  </a:lnTo>
                  <a:cubicBezTo>
                    <a:pt x="1252" y="-1122"/>
                    <a:pt x="-19" y="-487"/>
                    <a:pt x="-653" y="1418"/>
                  </a:cubicBezTo>
                  <a:cubicBezTo>
                    <a:pt x="-1289" y="3958"/>
                    <a:pt x="-653" y="7768"/>
                    <a:pt x="3156" y="7768"/>
                  </a:cubicBezTo>
                  <a:cubicBezTo>
                    <a:pt x="7602" y="7768"/>
                    <a:pt x="13952" y="1418"/>
                    <a:pt x="16491" y="5228"/>
                  </a:cubicBezTo>
                  <a:cubicBezTo>
                    <a:pt x="19666" y="9673"/>
                    <a:pt x="3791" y="12213"/>
                    <a:pt x="6331" y="17928"/>
                  </a:cubicBezTo>
                  <a:cubicBezTo>
                    <a:pt x="9506" y="24913"/>
                    <a:pt x="15856" y="18563"/>
                    <a:pt x="17127" y="17928"/>
                  </a:cubicBezTo>
                  <a:cubicBezTo>
                    <a:pt x="20302" y="16658"/>
                    <a:pt x="30461" y="7133"/>
                    <a:pt x="34906" y="13483"/>
                  </a:cubicBezTo>
                  <a:cubicBezTo>
                    <a:pt x="38716" y="18563"/>
                    <a:pt x="21572" y="26183"/>
                    <a:pt x="19666" y="28723"/>
                  </a:cubicBezTo>
                  <a:cubicBezTo>
                    <a:pt x="19031" y="29358"/>
                    <a:pt x="17761" y="33168"/>
                    <a:pt x="18397" y="34438"/>
                  </a:cubicBezTo>
                  <a:cubicBezTo>
                    <a:pt x="22206" y="42693"/>
                    <a:pt x="31097" y="35073"/>
                    <a:pt x="37447" y="28088"/>
                  </a:cubicBezTo>
                  <a:cubicBezTo>
                    <a:pt x="39986" y="25548"/>
                    <a:pt x="41256" y="24278"/>
                    <a:pt x="43797" y="23643"/>
                  </a:cubicBezTo>
                  <a:cubicBezTo>
                    <a:pt x="45066" y="23008"/>
                    <a:pt x="46336" y="23008"/>
                    <a:pt x="47606" y="23643"/>
                  </a:cubicBezTo>
                  <a:cubicBezTo>
                    <a:pt x="48877" y="23643"/>
                    <a:pt x="50147" y="24913"/>
                    <a:pt x="50781" y="26818"/>
                  </a:cubicBezTo>
                  <a:cubicBezTo>
                    <a:pt x="51416" y="28723"/>
                    <a:pt x="50781" y="30628"/>
                    <a:pt x="49511" y="31263"/>
                  </a:cubicBezTo>
                  <a:cubicBezTo>
                    <a:pt x="47606" y="33168"/>
                    <a:pt x="45702" y="34438"/>
                    <a:pt x="43797" y="35708"/>
                  </a:cubicBezTo>
                  <a:cubicBezTo>
                    <a:pt x="42527" y="36978"/>
                    <a:pt x="41256" y="38248"/>
                    <a:pt x="39352" y="39518"/>
                  </a:cubicBezTo>
                  <a:cubicBezTo>
                    <a:pt x="37447" y="41423"/>
                    <a:pt x="33636" y="43963"/>
                    <a:pt x="34272" y="47138"/>
                  </a:cubicBezTo>
                  <a:cubicBezTo>
                    <a:pt x="34906" y="49678"/>
                    <a:pt x="36811" y="52218"/>
                    <a:pt x="39986" y="52218"/>
                  </a:cubicBezTo>
                  <a:cubicBezTo>
                    <a:pt x="40622" y="52218"/>
                    <a:pt x="41256" y="52218"/>
                    <a:pt x="41891" y="51583"/>
                  </a:cubicBezTo>
                  <a:cubicBezTo>
                    <a:pt x="45066" y="50313"/>
                    <a:pt x="53322" y="35708"/>
                    <a:pt x="58402" y="37613"/>
                  </a:cubicBezTo>
                  <a:cubicBezTo>
                    <a:pt x="59672" y="38248"/>
                    <a:pt x="61577" y="38248"/>
                    <a:pt x="61577" y="39518"/>
                  </a:cubicBezTo>
                  <a:cubicBezTo>
                    <a:pt x="62211" y="41423"/>
                    <a:pt x="62211" y="43963"/>
                    <a:pt x="60941" y="45233"/>
                  </a:cubicBezTo>
                  <a:cubicBezTo>
                    <a:pt x="59672" y="47138"/>
                    <a:pt x="57131" y="49678"/>
                    <a:pt x="55227" y="50948"/>
                  </a:cubicBezTo>
                  <a:cubicBezTo>
                    <a:pt x="53956" y="52218"/>
                    <a:pt x="52052" y="54123"/>
                    <a:pt x="51416" y="55393"/>
                  </a:cubicBezTo>
                  <a:cubicBezTo>
                    <a:pt x="48877" y="59838"/>
                    <a:pt x="52686" y="61743"/>
                    <a:pt x="56497" y="61743"/>
                  </a:cubicBezTo>
                  <a:cubicBezTo>
                    <a:pt x="57766" y="61743"/>
                    <a:pt x="58402" y="61108"/>
                    <a:pt x="59672" y="60473"/>
                  </a:cubicBezTo>
                  <a:cubicBezTo>
                    <a:pt x="62211" y="58568"/>
                    <a:pt x="64116" y="49678"/>
                    <a:pt x="69197" y="51583"/>
                  </a:cubicBezTo>
                  <a:cubicBezTo>
                    <a:pt x="74277" y="54123"/>
                    <a:pt x="64752" y="61108"/>
                    <a:pt x="66022" y="66188"/>
                  </a:cubicBezTo>
                  <a:cubicBezTo>
                    <a:pt x="66022" y="67458"/>
                    <a:pt x="67291" y="68093"/>
                    <a:pt x="67927" y="68728"/>
                  </a:cubicBezTo>
                  <a:cubicBezTo>
                    <a:pt x="68561" y="69363"/>
                    <a:pt x="69197" y="69363"/>
                    <a:pt x="69831" y="69998"/>
                  </a:cubicBezTo>
                  <a:cubicBezTo>
                    <a:pt x="72372" y="71268"/>
                    <a:pt x="74911" y="70633"/>
                    <a:pt x="76816" y="68728"/>
                  </a:cubicBezTo>
                  <a:cubicBezTo>
                    <a:pt x="77452" y="67458"/>
                    <a:pt x="77452" y="66188"/>
                    <a:pt x="77452" y="64918"/>
                  </a:cubicBezTo>
                  <a:cubicBezTo>
                    <a:pt x="76816" y="62378"/>
                    <a:pt x="76816" y="59838"/>
                    <a:pt x="76816" y="56663"/>
                  </a:cubicBezTo>
                  <a:lnTo>
                    <a:pt x="76816" y="56663"/>
                  </a:lnTo>
                  <a:lnTo>
                    <a:pt x="76816" y="56663"/>
                  </a:lnTo>
                  <a:close/>
                </a:path>
              </a:pathLst>
            </a:custGeom>
            <a:solidFill>
              <a:srgbClr val="FFFFFF"/>
            </a:solidFill>
            <a:ln w="6350" cap="flat">
              <a:noFill/>
              <a:prstDash val="solid"/>
              <a:miter/>
            </a:ln>
          </p:spPr>
          <p:txBody>
            <a:bodyPr rtlCol="0" anchor="ctr"/>
            <a:lstStyle/>
            <a:p>
              <a:endParaRPr lang="en-GB"/>
            </a:p>
          </p:txBody>
        </p:sp>
        <p:sp>
          <p:nvSpPr>
            <p:cNvPr id="126" name="Freeform 125"/>
            <p:cNvSpPr/>
            <p:nvPr/>
          </p:nvSpPr>
          <p:spPr>
            <a:xfrm>
              <a:off x="-9711099" y="3175634"/>
              <a:ext cx="438883" cy="99695"/>
            </a:xfrm>
            <a:custGeom>
              <a:avLst/>
              <a:gdLst>
                <a:gd name="connsiteX0" fmla="*/ 41721 w 438883"/>
                <a:gd name="connsiteY0" fmla="*/ 26183 h 99695"/>
                <a:gd name="connsiteX1" fmla="*/ 180151 w 438883"/>
                <a:gd name="connsiteY1" fmla="*/ 27453 h 99695"/>
                <a:gd name="connsiteX2" fmla="*/ 258256 w 438883"/>
                <a:gd name="connsiteY2" fmla="*/ 29358 h 99695"/>
                <a:gd name="connsiteX3" fmla="*/ 256351 w 438883"/>
                <a:gd name="connsiteY3" fmla="*/ 27453 h 99695"/>
                <a:gd name="connsiteX4" fmla="*/ 255081 w 438883"/>
                <a:gd name="connsiteY4" fmla="*/ 26818 h 99695"/>
                <a:gd name="connsiteX5" fmla="*/ 251271 w 438883"/>
                <a:gd name="connsiteY5" fmla="*/ 26183 h 99695"/>
                <a:gd name="connsiteX6" fmla="*/ 190311 w 438883"/>
                <a:gd name="connsiteY6" fmla="*/ 17293 h 99695"/>
                <a:gd name="connsiteX7" fmla="*/ 117921 w 438883"/>
                <a:gd name="connsiteY7" fmla="*/ 16658 h 99695"/>
                <a:gd name="connsiteX8" fmla="*/ 107126 w 438883"/>
                <a:gd name="connsiteY8" fmla="*/ 12848 h 99695"/>
                <a:gd name="connsiteX9" fmla="*/ 111571 w 438883"/>
                <a:gd name="connsiteY9" fmla="*/ 12213 h 99695"/>
                <a:gd name="connsiteX10" fmla="*/ 166816 w 438883"/>
                <a:gd name="connsiteY10" fmla="*/ 10308 h 99695"/>
                <a:gd name="connsiteX11" fmla="*/ 169356 w 438883"/>
                <a:gd name="connsiteY11" fmla="*/ 10308 h 99695"/>
                <a:gd name="connsiteX12" fmla="*/ 244286 w 438883"/>
                <a:gd name="connsiteY12" fmla="*/ 16658 h 99695"/>
                <a:gd name="connsiteX13" fmla="*/ 244286 w 438883"/>
                <a:gd name="connsiteY13" fmla="*/ 16658 h 99695"/>
                <a:gd name="connsiteX14" fmla="*/ 246826 w 438883"/>
                <a:gd name="connsiteY14" fmla="*/ 16658 h 99695"/>
                <a:gd name="connsiteX15" fmla="*/ 247461 w 438883"/>
                <a:gd name="connsiteY15" fmla="*/ 16658 h 99695"/>
                <a:gd name="connsiteX16" fmla="*/ 302706 w 438883"/>
                <a:gd name="connsiteY16" fmla="*/ 20468 h 99695"/>
                <a:gd name="connsiteX17" fmla="*/ 303341 w 438883"/>
                <a:gd name="connsiteY17" fmla="*/ 20468 h 99695"/>
                <a:gd name="connsiteX18" fmla="*/ 314136 w 438883"/>
                <a:gd name="connsiteY18" fmla="*/ 20468 h 99695"/>
                <a:gd name="connsiteX19" fmla="*/ 324931 w 438883"/>
                <a:gd name="connsiteY19" fmla="*/ 20468 h 99695"/>
                <a:gd name="connsiteX20" fmla="*/ 337631 w 438883"/>
                <a:gd name="connsiteY20" fmla="*/ 20468 h 99695"/>
                <a:gd name="connsiteX21" fmla="*/ 338266 w 438883"/>
                <a:gd name="connsiteY21" fmla="*/ 20468 h 99695"/>
                <a:gd name="connsiteX22" fmla="*/ 348426 w 438883"/>
                <a:gd name="connsiteY22" fmla="*/ 20468 h 99695"/>
                <a:gd name="connsiteX23" fmla="*/ 361126 w 438883"/>
                <a:gd name="connsiteY23" fmla="*/ 20468 h 99695"/>
                <a:gd name="connsiteX24" fmla="*/ 405576 w 438883"/>
                <a:gd name="connsiteY24" fmla="*/ 38883 h 99695"/>
                <a:gd name="connsiteX25" fmla="*/ 402401 w 438883"/>
                <a:gd name="connsiteY25" fmla="*/ 52853 h 99695"/>
                <a:gd name="connsiteX26" fmla="*/ 395416 w 438883"/>
                <a:gd name="connsiteY26" fmla="*/ 66188 h 99695"/>
                <a:gd name="connsiteX27" fmla="*/ 387796 w 438883"/>
                <a:gd name="connsiteY27" fmla="*/ 83968 h 99695"/>
                <a:gd name="connsiteX28" fmla="*/ 389066 w 438883"/>
                <a:gd name="connsiteY28" fmla="*/ 93493 h 99695"/>
                <a:gd name="connsiteX29" fmla="*/ 391606 w 438883"/>
                <a:gd name="connsiteY29" fmla="*/ 98573 h 99695"/>
                <a:gd name="connsiteX30" fmla="*/ 399861 w 438883"/>
                <a:gd name="connsiteY30" fmla="*/ 87778 h 99695"/>
                <a:gd name="connsiteX31" fmla="*/ 397956 w 438883"/>
                <a:gd name="connsiteY31" fmla="*/ 84603 h 99695"/>
                <a:gd name="connsiteX32" fmla="*/ 412561 w 438883"/>
                <a:gd name="connsiteY32" fmla="*/ 54123 h 99695"/>
                <a:gd name="connsiteX33" fmla="*/ 429706 w 438883"/>
                <a:gd name="connsiteY33" fmla="*/ 36978 h 99695"/>
                <a:gd name="connsiteX34" fmla="*/ 437961 w 438883"/>
                <a:gd name="connsiteY34" fmla="*/ 21103 h 99695"/>
                <a:gd name="connsiteX35" fmla="*/ 425261 w 438883"/>
                <a:gd name="connsiteY35" fmla="*/ 8403 h 99695"/>
                <a:gd name="connsiteX36" fmla="*/ 408116 w 438883"/>
                <a:gd name="connsiteY36" fmla="*/ 2688 h 99695"/>
                <a:gd name="connsiteX37" fmla="*/ 368746 w 438883"/>
                <a:gd name="connsiteY37" fmla="*/ -1122 h 99695"/>
                <a:gd name="connsiteX38" fmla="*/ 332551 w 438883"/>
                <a:gd name="connsiteY38" fmla="*/ 1418 h 99695"/>
                <a:gd name="connsiteX39" fmla="*/ 288101 w 438883"/>
                <a:gd name="connsiteY39" fmla="*/ 3958 h 99695"/>
                <a:gd name="connsiteX40" fmla="*/ 244286 w 438883"/>
                <a:gd name="connsiteY40" fmla="*/ 2053 h 99695"/>
                <a:gd name="connsiteX41" fmla="*/ 239841 w 438883"/>
                <a:gd name="connsiteY41" fmla="*/ 2053 h 99695"/>
                <a:gd name="connsiteX42" fmla="*/ 211266 w 438883"/>
                <a:gd name="connsiteY42" fmla="*/ 148 h 99695"/>
                <a:gd name="connsiteX43" fmla="*/ 143956 w 438883"/>
                <a:gd name="connsiteY43" fmla="*/ 148 h 99695"/>
                <a:gd name="connsiteX44" fmla="*/ 135701 w 438883"/>
                <a:gd name="connsiteY44" fmla="*/ 783 h 99695"/>
                <a:gd name="connsiteX45" fmla="*/ 66486 w 438883"/>
                <a:gd name="connsiteY45" fmla="*/ 3323 h 99695"/>
                <a:gd name="connsiteX46" fmla="*/ 32196 w 438883"/>
                <a:gd name="connsiteY46" fmla="*/ 1418 h 99695"/>
                <a:gd name="connsiteX47" fmla="*/ 13781 w 438883"/>
                <a:gd name="connsiteY47" fmla="*/ -487 h 99695"/>
                <a:gd name="connsiteX48" fmla="*/ 9336 w 438883"/>
                <a:gd name="connsiteY48" fmla="*/ 148 h 99695"/>
                <a:gd name="connsiteX49" fmla="*/ 7431 w 438883"/>
                <a:gd name="connsiteY49" fmla="*/ 783 h 99695"/>
                <a:gd name="connsiteX50" fmla="*/ -824 w 438883"/>
                <a:gd name="connsiteY50" fmla="*/ 10308 h 99695"/>
                <a:gd name="connsiteX51" fmla="*/ 22671 w 438883"/>
                <a:gd name="connsiteY51" fmla="*/ 22373 h 99695"/>
                <a:gd name="connsiteX52" fmla="*/ 41721 w 438883"/>
                <a:gd name="connsiteY52" fmla="*/ 26183 h 9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38883" h="99695">
                  <a:moveTo>
                    <a:pt x="41721" y="26183"/>
                  </a:moveTo>
                  <a:cubicBezTo>
                    <a:pt x="67756" y="26183"/>
                    <a:pt x="142051" y="26183"/>
                    <a:pt x="180151" y="27453"/>
                  </a:cubicBezTo>
                  <a:cubicBezTo>
                    <a:pt x="218251" y="28088"/>
                    <a:pt x="257621" y="31263"/>
                    <a:pt x="258256" y="29358"/>
                  </a:cubicBezTo>
                  <a:cubicBezTo>
                    <a:pt x="258256" y="28088"/>
                    <a:pt x="257621" y="27453"/>
                    <a:pt x="256351" y="27453"/>
                  </a:cubicBezTo>
                  <a:cubicBezTo>
                    <a:pt x="255716" y="27453"/>
                    <a:pt x="255081" y="26818"/>
                    <a:pt x="255081" y="26818"/>
                  </a:cubicBezTo>
                  <a:cubicBezTo>
                    <a:pt x="253811" y="26183"/>
                    <a:pt x="252541" y="26183"/>
                    <a:pt x="251271" y="26183"/>
                  </a:cubicBezTo>
                  <a:cubicBezTo>
                    <a:pt x="230951" y="22373"/>
                    <a:pt x="210631" y="19833"/>
                    <a:pt x="190311" y="17293"/>
                  </a:cubicBezTo>
                  <a:cubicBezTo>
                    <a:pt x="171896" y="15388"/>
                    <a:pt x="123636" y="16023"/>
                    <a:pt x="117921" y="16658"/>
                  </a:cubicBezTo>
                  <a:cubicBezTo>
                    <a:pt x="114111" y="16658"/>
                    <a:pt x="109666" y="16658"/>
                    <a:pt x="107126" y="12848"/>
                  </a:cubicBezTo>
                  <a:cubicBezTo>
                    <a:pt x="108396" y="12848"/>
                    <a:pt x="109666" y="12213"/>
                    <a:pt x="111571" y="12213"/>
                  </a:cubicBezTo>
                  <a:cubicBezTo>
                    <a:pt x="129986" y="10308"/>
                    <a:pt x="148401" y="10308"/>
                    <a:pt x="166816" y="10308"/>
                  </a:cubicBezTo>
                  <a:cubicBezTo>
                    <a:pt x="167451" y="10308"/>
                    <a:pt x="168721" y="10308"/>
                    <a:pt x="169356" y="10308"/>
                  </a:cubicBezTo>
                  <a:cubicBezTo>
                    <a:pt x="194756" y="10943"/>
                    <a:pt x="219521" y="14753"/>
                    <a:pt x="244286" y="16658"/>
                  </a:cubicBezTo>
                  <a:cubicBezTo>
                    <a:pt x="244286" y="16658"/>
                    <a:pt x="244286" y="16658"/>
                    <a:pt x="244286" y="16658"/>
                  </a:cubicBezTo>
                  <a:cubicBezTo>
                    <a:pt x="244286" y="16658"/>
                    <a:pt x="245556" y="16658"/>
                    <a:pt x="246826" y="16658"/>
                  </a:cubicBezTo>
                  <a:cubicBezTo>
                    <a:pt x="246826" y="16658"/>
                    <a:pt x="247461" y="16658"/>
                    <a:pt x="247461" y="16658"/>
                  </a:cubicBezTo>
                  <a:cubicBezTo>
                    <a:pt x="256986" y="17293"/>
                    <a:pt x="294451" y="20468"/>
                    <a:pt x="302706" y="20468"/>
                  </a:cubicBezTo>
                  <a:cubicBezTo>
                    <a:pt x="303341" y="20468"/>
                    <a:pt x="303341" y="20468"/>
                    <a:pt x="303341" y="20468"/>
                  </a:cubicBezTo>
                  <a:cubicBezTo>
                    <a:pt x="307151" y="20468"/>
                    <a:pt x="310326" y="20468"/>
                    <a:pt x="314136" y="20468"/>
                  </a:cubicBezTo>
                  <a:cubicBezTo>
                    <a:pt x="317946" y="20468"/>
                    <a:pt x="321121" y="20468"/>
                    <a:pt x="324931" y="20468"/>
                  </a:cubicBezTo>
                  <a:cubicBezTo>
                    <a:pt x="329376" y="20468"/>
                    <a:pt x="333186" y="20468"/>
                    <a:pt x="337631" y="20468"/>
                  </a:cubicBezTo>
                  <a:lnTo>
                    <a:pt x="338266" y="20468"/>
                  </a:lnTo>
                  <a:cubicBezTo>
                    <a:pt x="341441" y="20468"/>
                    <a:pt x="345251" y="20468"/>
                    <a:pt x="348426" y="20468"/>
                  </a:cubicBezTo>
                  <a:cubicBezTo>
                    <a:pt x="352871" y="20468"/>
                    <a:pt x="357316" y="20468"/>
                    <a:pt x="361126" y="20468"/>
                  </a:cubicBezTo>
                  <a:cubicBezTo>
                    <a:pt x="374461" y="20468"/>
                    <a:pt x="401766" y="22373"/>
                    <a:pt x="405576" y="38883"/>
                  </a:cubicBezTo>
                  <a:cubicBezTo>
                    <a:pt x="406846" y="43963"/>
                    <a:pt x="404306" y="48408"/>
                    <a:pt x="402401" y="52853"/>
                  </a:cubicBezTo>
                  <a:cubicBezTo>
                    <a:pt x="400496" y="57298"/>
                    <a:pt x="397956" y="61743"/>
                    <a:pt x="395416" y="66188"/>
                  </a:cubicBezTo>
                  <a:cubicBezTo>
                    <a:pt x="392241" y="71903"/>
                    <a:pt x="389066" y="77618"/>
                    <a:pt x="387796" y="83968"/>
                  </a:cubicBezTo>
                  <a:cubicBezTo>
                    <a:pt x="387796" y="87143"/>
                    <a:pt x="387796" y="90318"/>
                    <a:pt x="389066" y="93493"/>
                  </a:cubicBezTo>
                  <a:cubicBezTo>
                    <a:pt x="389701" y="94763"/>
                    <a:pt x="390971" y="96668"/>
                    <a:pt x="391606" y="98573"/>
                  </a:cubicBezTo>
                  <a:cubicBezTo>
                    <a:pt x="394146" y="94763"/>
                    <a:pt x="396686" y="90953"/>
                    <a:pt x="399861" y="87778"/>
                  </a:cubicBezTo>
                  <a:cubicBezTo>
                    <a:pt x="399226" y="86508"/>
                    <a:pt x="397956" y="84603"/>
                    <a:pt x="397956" y="84603"/>
                  </a:cubicBezTo>
                  <a:cubicBezTo>
                    <a:pt x="392241" y="73808"/>
                    <a:pt x="405576" y="61108"/>
                    <a:pt x="412561" y="54123"/>
                  </a:cubicBezTo>
                  <a:cubicBezTo>
                    <a:pt x="418276" y="48408"/>
                    <a:pt x="424626" y="42693"/>
                    <a:pt x="429706" y="36978"/>
                  </a:cubicBezTo>
                  <a:cubicBezTo>
                    <a:pt x="433516" y="32533"/>
                    <a:pt x="438596" y="27453"/>
                    <a:pt x="437961" y="21103"/>
                  </a:cubicBezTo>
                  <a:cubicBezTo>
                    <a:pt x="437326" y="14118"/>
                    <a:pt x="430976" y="10943"/>
                    <a:pt x="425261" y="8403"/>
                  </a:cubicBezTo>
                  <a:cubicBezTo>
                    <a:pt x="419546" y="5863"/>
                    <a:pt x="413831" y="4593"/>
                    <a:pt x="408116" y="2688"/>
                  </a:cubicBezTo>
                  <a:cubicBezTo>
                    <a:pt x="395416" y="-487"/>
                    <a:pt x="381446" y="-1122"/>
                    <a:pt x="368746" y="-1122"/>
                  </a:cubicBezTo>
                  <a:cubicBezTo>
                    <a:pt x="356681" y="-1122"/>
                    <a:pt x="344616" y="148"/>
                    <a:pt x="332551" y="1418"/>
                  </a:cubicBezTo>
                  <a:cubicBezTo>
                    <a:pt x="317946" y="3323"/>
                    <a:pt x="303341" y="3958"/>
                    <a:pt x="288101" y="3958"/>
                  </a:cubicBezTo>
                  <a:cubicBezTo>
                    <a:pt x="273496" y="3958"/>
                    <a:pt x="258891" y="3323"/>
                    <a:pt x="244286" y="2053"/>
                  </a:cubicBezTo>
                  <a:cubicBezTo>
                    <a:pt x="243016" y="2053"/>
                    <a:pt x="241111" y="2053"/>
                    <a:pt x="239841" y="2053"/>
                  </a:cubicBezTo>
                  <a:cubicBezTo>
                    <a:pt x="230951" y="1418"/>
                    <a:pt x="221426" y="783"/>
                    <a:pt x="211266" y="148"/>
                  </a:cubicBezTo>
                  <a:cubicBezTo>
                    <a:pt x="196661" y="-1122"/>
                    <a:pt x="150941" y="-487"/>
                    <a:pt x="143956" y="148"/>
                  </a:cubicBezTo>
                  <a:cubicBezTo>
                    <a:pt x="141416" y="148"/>
                    <a:pt x="138241" y="148"/>
                    <a:pt x="135701" y="783"/>
                  </a:cubicBezTo>
                  <a:cubicBezTo>
                    <a:pt x="112841" y="2053"/>
                    <a:pt x="89346" y="4593"/>
                    <a:pt x="66486" y="3323"/>
                  </a:cubicBezTo>
                  <a:cubicBezTo>
                    <a:pt x="55056" y="2688"/>
                    <a:pt x="43626" y="2688"/>
                    <a:pt x="32196" y="1418"/>
                  </a:cubicBezTo>
                  <a:lnTo>
                    <a:pt x="13781" y="-487"/>
                  </a:lnTo>
                  <a:cubicBezTo>
                    <a:pt x="11876" y="-487"/>
                    <a:pt x="10606" y="-487"/>
                    <a:pt x="9336" y="148"/>
                  </a:cubicBezTo>
                  <a:cubicBezTo>
                    <a:pt x="8701" y="148"/>
                    <a:pt x="8066" y="148"/>
                    <a:pt x="7431" y="783"/>
                  </a:cubicBezTo>
                  <a:cubicBezTo>
                    <a:pt x="4891" y="2053"/>
                    <a:pt x="-1459" y="9673"/>
                    <a:pt x="-824" y="10308"/>
                  </a:cubicBezTo>
                  <a:cubicBezTo>
                    <a:pt x="-189" y="10943"/>
                    <a:pt x="21401" y="21738"/>
                    <a:pt x="22671" y="22373"/>
                  </a:cubicBezTo>
                  <a:cubicBezTo>
                    <a:pt x="31561" y="24278"/>
                    <a:pt x="34101" y="26183"/>
                    <a:pt x="41721" y="26183"/>
                  </a:cubicBezTo>
                </a:path>
              </a:pathLst>
            </a:custGeom>
            <a:solidFill>
              <a:srgbClr val="FFFFFF"/>
            </a:solidFill>
            <a:ln w="6350" cap="flat">
              <a:noFill/>
              <a:prstDash val="solid"/>
              <a:miter/>
            </a:ln>
          </p:spPr>
          <p:txBody>
            <a:bodyPr rtlCol="0" anchor="ctr"/>
            <a:lstStyle/>
            <a:p>
              <a:endParaRPr lang="en-GB"/>
            </a:p>
          </p:txBody>
        </p:sp>
        <p:sp>
          <p:nvSpPr>
            <p:cNvPr id="127" name="Freeform 126"/>
            <p:cNvSpPr/>
            <p:nvPr/>
          </p:nvSpPr>
          <p:spPr>
            <a:xfrm>
              <a:off x="-9111669" y="3175000"/>
              <a:ext cx="436650" cy="101600"/>
            </a:xfrm>
            <a:custGeom>
              <a:avLst/>
              <a:gdLst>
                <a:gd name="connsiteX0" fmla="*/ 428446 w 436650"/>
                <a:gd name="connsiteY0" fmla="*/ 783 h 101600"/>
                <a:gd name="connsiteX1" fmla="*/ 426541 w 436650"/>
                <a:gd name="connsiteY1" fmla="*/ 148 h 101600"/>
                <a:gd name="connsiteX2" fmla="*/ 422096 w 436650"/>
                <a:gd name="connsiteY2" fmla="*/ -487 h 101600"/>
                <a:gd name="connsiteX3" fmla="*/ 403681 w 436650"/>
                <a:gd name="connsiteY3" fmla="*/ 1418 h 101600"/>
                <a:gd name="connsiteX4" fmla="*/ 369391 w 436650"/>
                <a:gd name="connsiteY4" fmla="*/ 3323 h 101600"/>
                <a:gd name="connsiteX5" fmla="*/ 300176 w 436650"/>
                <a:gd name="connsiteY5" fmla="*/ 783 h 101600"/>
                <a:gd name="connsiteX6" fmla="*/ 291921 w 436650"/>
                <a:gd name="connsiteY6" fmla="*/ 148 h 101600"/>
                <a:gd name="connsiteX7" fmla="*/ 224611 w 436650"/>
                <a:gd name="connsiteY7" fmla="*/ 148 h 101600"/>
                <a:gd name="connsiteX8" fmla="*/ 196036 w 436650"/>
                <a:gd name="connsiteY8" fmla="*/ 2053 h 101600"/>
                <a:gd name="connsiteX9" fmla="*/ 191591 w 436650"/>
                <a:gd name="connsiteY9" fmla="*/ 2053 h 101600"/>
                <a:gd name="connsiteX10" fmla="*/ 147776 w 436650"/>
                <a:gd name="connsiteY10" fmla="*/ 3958 h 101600"/>
                <a:gd name="connsiteX11" fmla="*/ 103326 w 436650"/>
                <a:gd name="connsiteY11" fmla="*/ 1418 h 101600"/>
                <a:gd name="connsiteX12" fmla="*/ 67131 w 436650"/>
                <a:gd name="connsiteY12" fmla="*/ -1122 h 101600"/>
                <a:gd name="connsiteX13" fmla="*/ 27761 w 436650"/>
                <a:gd name="connsiteY13" fmla="*/ 2688 h 101600"/>
                <a:gd name="connsiteX14" fmla="*/ 15696 w 436650"/>
                <a:gd name="connsiteY14" fmla="*/ 6498 h 101600"/>
                <a:gd name="connsiteX15" fmla="*/ 15061 w 436650"/>
                <a:gd name="connsiteY15" fmla="*/ 7133 h 101600"/>
                <a:gd name="connsiteX16" fmla="*/ 12521 w 436650"/>
                <a:gd name="connsiteY16" fmla="*/ 8403 h 101600"/>
                <a:gd name="connsiteX17" fmla="*/ 12521 w 436650"/>
                <a:gd name="connsiteY17" fmla="*/ 8403 h 101600"/>
                <a:gd name="connsiteX18" fmla="*/ 11886 w 436650"/>
                <a:gd name="connsiteY18" fmla="*/ 9038 h 101600"/>
                <a:gd name="connsiteX19" fmla="*/ -814 w 436650"/>
                <a:gd name="connsiteY19" fmla="*/ 21738 h 101600"/>
                <a:gd name="connsiteX20" fmla="*/ 7441 w 436650"/>
                <a:gd name="connsiteY20" fmla="*/ 37613 h 101600"/>
                <a:gd name="connsiteX21" fmla="*/ 24586 w 436650"/>
                <a:gd name="connsiteY21" fmla="*/ 54758 h 101600"/>
                <a:gd name="connsiteX22" fmla="*/ 39191 w 436650"/>
                <a:gd name="connsiteY22" fmla="*/ 85238 h 101600"/>
                <a:gd name="connsiteX23" fmla="*/ 36651 w 436650"/>
                <a:gd name="connsiteY23" fmla="*/ 89048 h 101600"/>
                <a:gd name="connsiteX24" fmla="*/ 44906 w 436650"/>
                <a:gd name="connsiteY24" fmla="*/ 100478 h 101600"/>
                <a:gd name="connsiteX25" fmla="*/ 47446 w 436650"/>
                <a:gd name="connsiteY25" fmla="*/ 94763 h 101600"/>
                <a:gd name="connsiteX26" fmla="*/ 48716 w 436650"/>
                <a:gd name="connsiteY26" fmla="*/ 85238 h 101600"/>
                <a:gd name="connsiteX27" fmla="*/ 41096 w 436650"/>
                <a:gd name="connsiteY27" fmla="*/ 67458 h 101600"/>
                <a:gd name="connsiteX28" fmla="*/ 34111 w 436650"/>
                <a:gd name="connsiteY28" fmla="*/ 54758 h 101600"/>
                <a:gd name="connsiteX29" fmla="*/ 30936 w 436650"/>
                <a:gd name="connsiteY29" fmla="*/ 40788 h 101600"/>
                <a:gd name="connsiteX30" fmla="*/ 75386 w 436650"/>
                <a:gd name="connsiteY30" fmla="*/ 22373 h 101600"/>
                <a:gd name="connsiteX31" fmla="*/ 88086 w 436650"/>
                <a:gd name="connsiteY31" fmla="*/ 22373 h 101600"/>
                <a:gd name="connsiteX32" fmla="*/ 98246 w 436650"/>
                <a:gd name="connsiteY32" fmla="*/ 22373 h 101600"/>
                <a:gd name="connsiteX33" fmla="*/ 98881 w 436650"/>
                <a:gd name="connsiteY33" fmla="*/ 22373 h 101600"/>
                <a:gd name="connsiteX34" fmla="*/ 111581 w 436650"/>
                <a:gd name="connsiteY34" fmla="*/ 22373 h 101600"/>
                <a:gd name="connsiteX35" fmla="*/ 122376 w 436650"/>
                <a:gd name="connsiteY35" fmla="*/ 22373 h 101600"/>
                <a:gd name="connsiteX36" fmla="*/ 133171 w 436650"/>
                <a:gd name="connsiteY36" fmla="*/ 22373 h 101600"/>
                <a:gd name="connsiteX37" fmla="*/ 133806 w 436650"/>
                <a:gd name="connsiteY37" fmla="*/ 22373 h 101600"/>
                <a:gd name="connsiteX38" fmla="*/ 189051 w 436650"/>
                <a:gd name="connsiteY38" fmla="*/ 18563 h 101600"/>
                <a:gd name="connsiteX39" fmla="*/ 189686 w 436650"/>
                <a:gd name="connsiteY39" fmla="*/ 18563 h 101600"/>
                <a:gd name="connsiteX40" fmla="*/ 192226 w 436650"/>
                <a:gd name="connsiteY40" fmla="*/ 18563 h 101600"/>
                <a:gd name="connsiteX41" fmla="*/ 192226 w 436650"/>
                <a:gd name="connsiteY41" fmla="*/ 18563 h 101600"/>
                <a:gd name="connsiteX42" fmla="*/ 267156 w 436650"/>
                <a:gd name="connsiteY42" fmla="*/ 12213 h 101600"/>
                <a:gd name="connsiteX43" fmla="*/ 269696 w 436650"/>
                <a:gd name="connsiteY43" fmla="*/ 12213 h 101600"/>
                <a:gd name="connsiteX44" fmla="*/ 324941 w 436650"/>
                <a:gd name="connsiteY44" fmla="*/ 14118 h 101600"/>
                <a:gd name="connsiteX45" fmla="*/ 329386 w 436650"/>
                <a:gd name="connsiteY45" fmla="*/ 14753 h 101600"/>
                <a:gd name="connsiteX46" fmla="*/ 318591 w 436650"/>
                <a:gd name="connsiteY46" fmla="*/ 18563 h 101600"/>
                <a:gd name="connsiteX47" fmla="*/ 246201 w 436650"/>
                <a:gd name="connsiteY47" fmla="*/ 19198 h 101600"/>
                <a:gd name="connsiteX48" fmla="*/ 185241 w 436650"/>
                <a:gd name="connsiteY48" fmla="*/ 27453 h 101600"/>
                <a:gd name="connsiteX49" fmla="*/ 181431 w 436650"/>
                <a:gd name="connsiteY49" fmla="*/ 28088 h 101600"/>
                <a:gd name="connsiteX50" fmla="*/ 180161 w 436650"/>
                <a:gd name="connsiteY50" fmla="*/ 28723 h 101600"/>
                <a:gd name="connsiteX51" fmla="*/ 178256 w 436650"/>
                <a:gd name="connsiteY51" fmla="*/ 30628 h 101600"/>
                <a:gd name="connsiteX52" fmla="*/ 256361 w 436650"/>
                <a:gd name="connsiteY52" fmla="*/ 28723 h 101600"/>
                <a:gd name="connsiteX53" fmla="*/ 394791 w 436650"/>
                <a:gd name="connsiteY53" fmla="*/ 27453 h 101600"/>
                <a:gd name="connsiteX54" fmla="*/ 411936 w 436650"/>
                <a:gd name="connsiteY54" fmla="*/ 23008 h 101600"/>
                <a:gd name="connsiteX55" fmla="*/ 435431 w 436650"/>
                <a:gd name="connsiteY55" fmla="*/ 10943 h 101600"/>
                <a:gd name="connsiteX56" fmla="*/ 428446 w 436650"/>
                <a:gd name="connsiteY56" fmla="*/ 783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6650" h="101600">
                  <a:moveTo>
                    <a:pt x="428446" y="783"/>
                  </a:moveTo>
                  <a:cubicBezTo>
                    <a:pt x="427811" y="783"/>
                    <a:pt x="427176" y="148"/>
                    <a:pt x="426541" y="148"/>
                  </a:cubicBezTo>
                  <a:cubicBezTo>
                    <a:pt x="425271" y="-487"/>
                    <a:pt x="423366" y="-487"/>
                    <a:pt x="422096" y="-487"/>
                  </a:cubicBezTo>
                  <a:lnTo>
                    <a:pt x="403681" y="1418"/>
                  </a:lnTo>
                  <a:cubicBezTo>
                    <a:pt x="392251" y="2053"/>
                    <a:pt x="380821" y="2688"/>
                    <a:pt x="369391" y="3323"/>
                  </a:cubicBezTo>
                  <a:cubicBezTo>
                    <a:pt x="346531" y="4593"/>
                    <a:pt x="323036" y="2053"/>
                    <a:pt x="300176" y="783"/>
                  </a:cubicBezTo>
                  <a:cubicBezTo>
                    <a:pt x="297636" y="783"/>
                    <a:pt x="294461" y="783"/>
                    <a:pt x="291921" y="148"/>
                  </a:cubicBezTo>
                  <a:cubicBezTo>
                    <a:pt x="284936" y="-487"/>
                    <a:pt x="239851" y="-1122"/>
                    <a:pt x="224611" y="148"/>
                  </a:cubicBezTo>
                  <a:cubicBezTo>
                    <a:pt x="215086" y="783"/>
                    <a:pt x="205561" y="1418"/>
                    <a:pt x="196036" y="2053"/>
                  </a:cubicBezTo>
                  <a:cubicBezTo>
                    <a:pt x="194766" y="2053"/>
                    <a:pt x="192861" y="2053"/>
                    <a:pt x="191591" y="2053"/>
                  </a:cubicBezTo>
                  <a:cubicBezTo>
                    <a:pt x="176986" y="2688"/>
                    <a:pt x="162381" y="3323"/>
                    <a:pt x="147776" y="3958"/>
                  </a:cubicBezTo>
                  <a:cubicBezTo>
                    <a:pt x="133171" y="3958"/>
                    <a:pt x="117931" y="3323"/>
                    <a:pt x="103326" y="1418"/>
                  </a:cubicBezTo>
                  <a:cubicBezTo>
                    <a:pt x="91261" y="148"/>
                    <a:pt x="79196" y="-1122"/>
                    <a:pt x="67131" y="-1122"/>
                  </a:cubicBezTo>
                  <a:cubicBezTo>
                    <a:pt x="53796" y="-1122"/>
                    <a:pt x="40461" y="-487"/>
                    <a:pt x="27761" y="2688"/>
                  </a:cubicBezTo>
                  <a:cubicBezTo>
                    <a:pt x="23316" y="3323"/>
                    <a:pt x="19506" y="4593"/>
                    <a:pt x="15696" y="6498"/>
                  </a:cubicBezTo>
                  <a:cubicBezTo>
                    <a:pt x="15061" y="6498"/>
                    <a:pt x="15061" y="6498"/>
                    <a:pt x="15061" y="7133"/>
                  </a:cubicBezTo>
                  <a:cubicBezTo>
                    <a:pt x="14426" y="7768"/>
                    <a:pt x="13156" y="7768"/>
                    <a:pt x="12521" y="8403"/>
                  </a:cubicBezTo>
                  <a:lnTo>
                    <a:pt x="12521" y="8403"/>
                  </a:lnTo>
                  <a:cubicBezTo>
                    <a:pt x="12521" y="8403"/>
                    <a:pt x="11886" y="8403"/>
                    <a:pt x="11886" y="9038"/>
                  </a:cubicBezTo>
                  <a:cubicBezTo>
                    <a:pt x="6171" y="11578"/>
                    <a:pt x="-179" y="14753"/>
                    <a:pt x="-814" y="21738"/>
                  </a:cubicBezTo>
                  <a:cubicBezTo>
                    <a:pt x="-1449" y="28088"/>
                    <a:pt x="3631" y="33168"/>
                    <a:pt x="7441" y="37613"/>
                  </a:cubicBezTo>
                  <a:cubicBezTo>
                    <a:pt x="12521" y="43963"/>
                    <a:pt x="18871" y="49043"/>
                    <a:pt x="24586" y="54758"/>
                  </a:cubicBezTo>
                  <a:cubicBezTo>
                    <a:pt x="30936" y="61743"/>
                    <a:pt x="44906" y="74443"/>
                    <a:pt x="39191" y="85238"/>
                  </a:cubicBezTo>
                  <a:cubicBezTo>
                    <a:pt x="39191" y="85238"/>
                    <a:pt x="37286" y="87778"/>
                    <a:pt x="36651" y="89048"/>
                  </a:cubicBezTo>
                  <a:cubicBezTo>
                    <a:pt x="39826" y="92858"/>
                    <a:pt x="42366" y="96033"/>
                    <a:pt x="44906" y="100478"/>
                  </a:cubicBezTo>
                  <a:cubicBezTo>
                    <a:pt x="45541" y="98573"/>
                    <a:pt x="46811" y="96668"/>
                    <a:pt x="47446" y="94763"/>
                  </a:cubicBezTo>
                  <a:cubicBezTo>
                    <a:pt x="48716" y="91588"/>
                    <a:pt x="49351" y="88413"/>
                    <a:pt x="48716" y="85238"/>
                  </a:cubicBezTo>
                  <a:cubicBezTo>
                    <a:pt x="47446" y="78888"/>
                    <a:pt x="44271" y="73173"/>
                    <a:pt x="41096" y="67458"/>
                  </a:cubicBezTo>
                  <a:cubicBezTo>
                    <a:pt x="38556" y="63013"/>
                    <a:pt x="36016" y="59203"/>
                    <a:pt x="34111" y="54758"/>
                  </a:cubicBezTo>
                  <a:cubicBezTo>
                    <a:pt x="32206" y="50313"/>
                    <a:pt x="30301" y="45868"/>
                    <a:pt x="30936" y="40788"/>
                  </a:cubicBezTo>
                  <a:cubicBezTo>
                    <a:pt x="34746" y="23643"/>
                    <a:pt x="62051" y="22373"/>
                    <a:pt x="75386" y="22373"/>
                  </a:cubicBezTo>
                  <a:cubicBezTo>
                    <a:pt x="79831" y="22373"/>
                    <a:pt x="84276" y="22373"/>
                    <a:pt x="88086" y="22373"/>
                  </a:cubicBezTo>
                  <a:cubicBezTo>
                    <a:pt x="91261" y="22373"/>
                    <a:pt x="95071" y="22373"/>
                    <a:pt x="98246" y="22373"/>
                  </a:cubicBezTo>
                  <a:cubicBezTo>
                    <a:pt x="98246" y="22373"/>
                    <a:pt x="98881" y="22373"/>
                    <a:pt x="98881" y="22373"/>
                  </a:cubicBezTo>
                  <a:cubicBezTo>
                    <a:pt x="103326" y="22373"/>
                    <a:pt x="107136" y="22373"/>
                    <a:pt x="111581" y="22373"/>
                  </a:cubicBezTo>
                  <a:cubicBezTo>
                    <a:pt x="115391" y="22373"/>
                    <a:pt x="118566" y="22373"/>
                    <a:pt x="122376" y="22373"/>
                  </a:cubicBezTo>
                  <a:cubicBezTo>
                    <a:pt x="126186" y="22373"/>
                    <a:pt x="129361" y="22373"/>
                    <a:pt x="133171" y="22373"/>
                  </a:cubicBezTo>
                  <a:cubicBezTo>
                    <a:pt x="133171" y="22373"/>
                    <a:pt x="133806" y="22373"/>
                    <a:pt x="133806" y="22373"/>
                  </a:cubicBezTo>
                  <a:cubicBezTo>
                    <a:pt x="142061" y="22373"/>
                    <a:pt x="179526" y="19198"/>
                    <a:pt x="189051" y="18563"/>
                  </a:cubicBezTo>
                  <a:cubicBezTo>
                    <a:pt x="189051" y="18563"/>
                    <a:pt x="189686" y="18563"/>
                    <a:pt x="189686" y="18563"/>
                  </a:cubicBezTo>
                  <a:cubicBezTo>
                    <a:pt x="190956" y="18563"/>
                    <a:pt x="192226" y="18563"/>
                    <a:pt x="192226" y="18563"/>
                  </a:cubicBezTo>
                  <a:cubicBezTo>
                    <a:pt x="192226" y="18563"/>
                    <a:pt x="192226" y="18563"/>
                    <a:pt x="192226" y="18563"/>
                  </a:cubicBezTo>
                  <a:cubicBezTo>
                    <a:pt x="217626" y="16023"/>
                    <a:pt x="242391" y="12848"/>
                    <a:pt x="267156" y="12213"/>
                  </a:cubicBezTo>
                  <a:cubicBezTo>
                    <a:pt x="267791" y="12213"/>
                    <a:pt x="268426" y="12213"/>
                    <a:pt x="269696" y="12213"/>
                  </a:cubicBezTo>
                  <a:cubicBezTo>
                    <a:pt x="288111" y="12213"/>
                    <a:pt x="306526" y="12213"/>
                    <a:pt x="324941" y="14118"/>
                  </a:cubicBezTo>
                  <a:cubicBezTo>
                    <a:pt x="326211" y="14118"/>
                    <a:pt x="328116" y="14118"/>
                    <a:pt x="329386" y="14753"/>
                  </a:cubicBezTo>
                  <a:cubicBezTo>
                    <a:pt x="327481" y="18563"/>
                    <a:pt x="323036" y="19198"/>
                    <a:pt x="318591" y="18563"/>
                  </a:cubicBezTo>
                  <a:cubicBezTo>
                    <a:pt x="313511" y="18563"/>
                    <a:pt x="264616" y="17293"/>
                    <a:pt x="246201" y="19198"/>
                  </a:cubicBezTo>
                  <a:cubicBezTo>
                    <a:pt x="225881" y="21103"/>
                    <a:pt x="205561" y="23643"/>
                    <a:pt x="185241" y="27453"/>
                  </a:cubicBezTo>
                  <a:cubicBezTo>
                    <a:pt x="183971" y="27453"/>
                    <a:pt x="182701" y="28088"/>
                    <a:pt x="181431" y="28088"/>
                  </a:cubicBezTo>
                  <a:cubicBezTo>
                    <a:pt x="180796" y="28088"/>
                    <a:pt x="180796" y="28088"/>
                    <a:pt x="180161" y="28723"/>
                  </a:cubicBezTo>
                  <a:cubicBezTo>
                    <a:pt x="179526" y="29358"/>
                    <a:pt x="178256" y="29993"/>
                    <a:pt x="178256" y="30628"/>
                  </a:cubicBezTo>
                  <a:cubicBezTo>
                    <a:pt x="178256" y="32533"/>
                    <a:pt x="217626" y="29993"/>
                    <a:pt x="256361" y="28723"/>
                  </a:cubicBezTo>
                  <a:cubicBezTo>
                    <a:pt x="295096" y="27453"/>
                    <a:pt x="368756" y="27453"/>
                    <a:pt x="394791" y="27453"/>
                  </a:cubicBezTo>
                  <a:cubicBezTo>
                    <a:pt x="402411" y="27453"/>
                    <a:pt x="404316" y="25548"/>
                    <a:pt x="411936" y="23008"/>
                  </a:cubicBezTo>
                  <a:cubicBezTo>
                    <a:pt x="413206" y="22373"/>
                    <a:pt x="434796" y="11578"/>
                    <a:pt x="435431" y="10943"/>
                  </a:cubicBezTo>
                  <a:cubicBezTo>
                    <a:pt x="437336" y="9038"/>
                    <a:pt x="430986" y="1418"/>
                    <a:pt x="428446" y="783"/>
                  </a:cubicBezTo>
                </a:path>
              </a:pathLst>
            </a:custGeom>
            <a:solidFill>
              <a:srgbClr val="FFFFFF"/>
            </a:solidFill>
            <a:ln w="6350" cap="flat">
              <a:noFill/>
              <a:prstDash val="solid"/>
              <a:miter/>
            </a:ln>
          </p:spPr>
          <p:txBody>
            <a:bodyPr rtlCol="0" anchor="ctr"/>
            <a:lstStyle/>
            <a:p>
              <a:endParaRPr lang="en-GB"/>
            </a:p>
          </p:txBody>
        </p:sp>
      </p:grpSp>
      <p:grpSp>
        <p:nvGrpSpPr>
          <p:cNvPr id="128" name="Graphic 79"/>
          <p:cNvGrpSpPr/>
          <p:nvPr userDrawn="1"/>
        </p:nvGrpSpPr>
        <p:grpSpPr>
          <a:xfrm>
            <a:off x="7022466" y="4538344"/>
            <a:ext cx="1321434" cy="156844"/>
            <a:chOff x="-6693534" y="4538344"/>
            <a:chExt cx="1321434" cy="156844"/>
          </a:xfrm>
          <a:solidFill>
            <a:srgbClr val="FFFFFF"/>
          </a:solidFill>
        </p:grpSpPr>
        <p:sp>
          <p:nvSpPr>
            <p:cNvPr id="129" name="Freeform 128"/>
            <p:cNvSpPr/>
            <p:nvPr/>
          </p:nvSpPr>
          <p:spPr>
            <a:xfrm>
              <a:off x="-5474334" y="4540250"/>
              <a:ext cx="102234" cy="152400"/>
            </a:xfrm>
            <a:custGeom>
              <a:avLst/>
              <a:gdLst>
                <a:gd name="connsiteX0" fmla="*/ 25782 w 102234"/>
                <a:gd name="connsiteY0" fmla="*/ -1575 h 152400"/>
                <a:gd name="connsiteX1" fmla="*/ 25782 w 102234"/>
                <a:gd name="connsiteY1" fmla="*/ -1575 h 152400"/>
                <a:gd name="connsiteX2" fmla="*/ -2158 w 102234"/>
                <a:gd name="connsiteY2" fmla="*/ -1575 h 152400"/>
                <a:gd name="connsiteX3" fmla="*/ -2158 w 102234"/>
                <a:gd name="connsiteY3" fmla="*/ 7950 h 152400"/>
                <a:gd name="connsiteX4" fmla="*/ 25782 w 102234"/>
                <a:gd name="connsiteY4" fmla="*/ 7950 h 152400"/>
                <a:gd name="connsiteX5" fmla="*/ 91187 w 102234"/>
                <a:gd name="connsiteY5" fmla="*/ 74625 h 152400"/>
                <a:gd name="connsiteX6" fmla="*/ 25782 w 102234"/>
                <a:gd name="connsiteY6" fmla="*/ 141300 h 152400"/>
                <a:gd name="connsiteX7" fmla="*/ -2158 w 102234"/>
                <a:gd name="connsiteY7" fmla="*/ 141300 h 152400"/>
                <a:gd name="connsiteX8" fmla="*/ -2158 w 102234"/>
                <a:gd name="connsiteY8" fmla="*/ 150825 h 152400"/>
                <a:gd name="connsiteX9" fmla="*/ 25782 w 102234"/>
                <a:gd name="connsiteY9" fmla="*/ 150825 h 152400"/>
                <a:gd name="connsiteX10" fmla="*/ 100077 w 102234"/>
                <a:gd name="connsiteY10" fmla="*/ 74625 h 152400"/>
                <a:gd name="connsiteX11" fmla="*/ 25782 w 102234"/>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4" h="152400">
                  <a:moveTo>
                    <a:pt x="25782" y="-1575"/>
                  </a:moveTo>
                  <a:lnTo>
                    <a:pt x="25782" y="-1575"/>
                  </a:lnTo>
                  <a:lnTo>
                    <a:pt x="-2158" y="-1575"/>
                  </a:lnTo>
                  <a:lnTo>
                    <a:pt x="-2158" y="7950"/>
                  </a:lnTo>
                  <a:lnTo>
                    <a:pt x="25782" y="7950"/>
                  </a:lnTo>
                  <a:cubicBezTo>
                    <a:pt x="61977" y="7950"/>
                    <a:pt x="91187" y="37795"/>
                    <a:pt x="91187" y="74625"/>
                  </a:cubicBezTo>
                  <a:cubicBezTo>
                    <a:pt x="91187" y="111455"/>
                    <a:pt x="61977" y="141300"/>
                    <a:pt x="25782" y="141300"/>
                  </a:cubicBezTo>
                  <a:lnTo>
                    <a:pt x="-2158" y="141300"/>
                  </a:lnTo>
                  <a:lnTo>
                    <a:pt x="-2158" y="150825"/>
                  </a:lnTo>
                  <a:lnTo>
                    <a:pt x="25782" y="150825"/>
                  </a:lnTo>
                  <a:cubicBezTo>
                    <a:pt x="67057" y="150825"/>
                    <a:pt x="100077" y="116536"/>
                    <a:pt x="100077" y="74625"/>
                  </a:cubicBezTo>
                  <a:cubicBezTo>
                    <a:pt x="100077" y="32714"/>
                    <a:pt x="67057" y="-1575"/>
                    <a:pt x="25782" y="-1575"/>
                  </a:cubicBezTo>
                  <a:close/>
                </a:path>
              </a:pathLst>
            </a:custGeom>
            <a:solidFill>
              <a:srgbClr val="FFFFFF"/>
            </a:solidFill>
            <a:ln w="6350" cap="flat">
              <a:noFill/>
              <a:prstDash val="solid"/>
              <a:miter/>
            </a:ln>
          </p:spPr>
          <p:txBody>
            <a:bodyPr rtlCol="0" anchor="ctr"/>
            <a:lstStyle/>
            <a:p>
              <a:endParaRPr lang="en-GB"/>
            </a:p>
          </p:txBody>
        </p:sp>
        <p:sp>
          <p:nvSpPr>
            <p:cNvPr id="130" name="Freeform 129"/>
            <p:cNvSpPr/>
            <p:nvPr/>
          </p:nvSpPr>
          <p:spPr>
            <a:xfrm>
              <a:off x="-5494019"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1" name="Freeform 130"/>
            <p:cNvSpPr/>
            <p:nvPr/>
          </p:nvSpPr>
          <p:spPr>
            <a:xfrm>
              <a:off x="-5733415"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2" name="Freeform 131"/>
            <p:cNvSpPr/>
            <p:nvPr/>
          </p:nvSpPr>
          <p:spPr>
            <a:xfrm>
              <a:off x="-5770244"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3" name="Freeform 132"/>
            <p:cNvSpPr/>
            <p:nvPr/>
          </p:nvSpPr>
          <p:spPr>
            <a:xfrm>
              <a:off x="-5920740" y="4540250"/>
              <a:ext cx="8890" cy="149860"/>
            </a:xfrm>
            <a:custGeom>
              <a:avLst/>
              <a:gdLst>
                <a:gd name="connsiteX0" fmla="*/ -2158 w 8890"/>
                <a:gd name="connsiteY0" fmla="*/ -1575 h 149860"/>
                <a:gd name="connsiteX1" fmla="*/ -2158 w 8890"/>
                <a:gd name="connsiteY1" fmla="*/ -1575 h 149860"/>
                <a:gd name="connsiteX2" fmla="*/ 6732 w 8890"/>
                <a:gd name="connsiteY2" fmla="*/ -1575 h 149860"/>
                <a:gd name="connsiteX3" fmla="*/ 6732 w 8890"/>
                <a:gd name="connsiteY3" fmla="*/ 148286 h 149860"/>
                <a:gd name="connsiteX4" fmla="*/ -2158 w 8890"/>
                <a:gd name="connsiteY4" fmla="*/ 148286 h 149860"/>
                <a:gd name="connsiteX5" fmla="*/ -2158 w 8890"/>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 h="149860">
                  <a:moveTo>
                    <a:pt x="-2158" y="-1575"/>
                  </a:moveTo>
                  <a:lnTo>
                    <a:pt x="-2158" y="-1575"/>
                  </a:lnTo>
                  <a:lnTo>
                    <a:pt x="6732" y="-1575"/>
                  </a:lnTo>
                  <a:lnTo>
                    <a:pt x="6732"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4" name="Freeform 133"/>
            <p:cNvSpPr/>
            <p:nvPr/>
          </p:nvSpPr>
          <p:spPr>
            <a:xfrm>
              <a:off x="-6107430"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7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7" y="61291"/>
                  </a:lnTo>
                  <a:lnTo>
                    <a:pt x="5462" y="-1575"/>
                  </a:lnTo>
                  <a:lnTo>
                    <a:pt x="-2158" y="2871"/>
                  </a:lnTo>
                  <a:close/>
                </a:path>
              </a:pathLst>
            </a:custGeom>
            <a:solidFill>
              <a:srgbClr val="FFFFFF"/>
            </a:solidFill>
            <a:ln w="6350" cap="flat">
              <a:noFill/>
              <a:prstDash val="solid"/>
              <a:miter/>
            </a:ln>
          </p:spPr>
          <p:txBody>
            <a:bodyPr rtlCol="0" anchor="ctr"/>
            <a:lstStyle/>
            <a:p>
              <a:endParaRPr lang="en-GB"/>
            </a:p>
          </p:txBody>
        </p:sp>
        <p:sp>
          <p:nvSpPr>
            <p:cNvPr id="135" name="Freeform 134"/>
            <p:cNvSpPr/>
            <p:nvPr/>
          </p:nvSpPr>
          <p:spPr>
            <a:xfrm>
              <a:off x="-615695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7 w 91440"/>
                <a:gd name="connsiteY5" fmla="*/ 7314 h 149859"/>
                <a:gd name="connsiteX6" fmla="*/ 67692 w 91440"/>
                <a:gd name="connsiteY6" fmla="*/ 12395 h 149859"/>
                <a:gd name="connsiteX7" fmla="*/ 76582 w 91440"/>
                <a:gd name="connsiteY7" fmla="*/ 21920 h 149859"/>
                <a:gd name="connsiteX8" fmla="*/ 79757 w 91440"/>
                <a:gd name="connsiteY8" fmla="*/ 36525 h 149859"/>
                <a:gd name="connsiteX9" fmla="*/ 70232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7 w 91440"/>
                <a:gd name="connsiteY13" fmla="*/ 54304 h 149859"/>
                <a:gd name="connsiteX14" fmla="*/ 89282 w 91440"/>
                <a:gd name="connsiteY14" fmla="*/ 35889 h 149859"/>
                <a:gd name="connsiteX15" fmla="*/ 84837 w 91440"/>
                <a:gd name="connsiteY15" fmla="*/ 16839 h 149859"/>
                <a:gd name="connsiteX16" fmla="*/ 73407 w 91440"/>
                <a:gd name="connsiteY16" fmla="*/ 5409 h 149859"/>
                <a:gd name="connsiteX17" fmla="*/ 58167 w 91440"/>
                <a:gd name="connsiteY17" fmla="*/ -305 h 149859"/>
                <a:gd name="connsiteX18" fmla="*/ 41657 w 91440"/>
                <a:gd name="connsiteY18" fmla="*/ -1575 h 149859"/>
                <a:gd name="connsiteX19" fmla="*/ -2158 w 91440"/>
                <a:gd name="connsiteY19" fmla="*/ -1575 h 149859"/>
                <a:gd name="connsiteX20" fmla="*/ -2158 w 91440"/>
                <a:gd name="connsiteY20" fmla="*/ 148284 h 149859"/>
                <a:gd name="connsiteX21" fmla="*/ 6732 w 91440"/>
                <a:gd name="connsiteY21" fmla="*/ 148284 h 149859"/>
                <a:gd name="connsiteX22" fmla="*/ 6732 w 91440"/>
                <a:gd name="connsiteY22" fmla="*/ 74625 h 149859"/>
                <a:gd name="connsiteX23" fmla="*/ 40387 w 91440"/>
                <a:gd name="connsiteY23" fmla="*/ 74625 h 149859"/>
                <a:gd name="connsiteX24" fmla="*/ 44832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2" y="6679"/>
                    <a:pt x="54357" y="7314"/>
                  </a:cubicBezTo>
                  <a:cubicBezTo>
                    <a:pt x="59437" y="8584"/>
                    <a:pt x="63882" y="9854"/>
                    <a:pt x="67692" y="12395"/>
                  </a:cubicBezTo>
                  <a:cubicBezTo>
                    <a:pt x="71502" y="14300"/>
                    <a:pt x="74042" y="17475"/>
                    <a:pt x="76582" y="21920"/>
                  </a:cubicBezTo>
                  <a:cubicBezTo>
                    <a:pt x="78487" y="25729"/>
                    <a:pt x="79757" y="30809"/>
                    <a:pt x="79757" y="36525"/>
                  </a:cubicBezTo>
                  <a:cubicBezTo>
                    <a:pt x="79757" y="46684"/>
                    <a:pt x="77217" y="53670"/>
                    <a:pt x="70232" y="58750"/>
                  </a:cubicBezTo>
                  <a:cubicBezTo>
                    <a:pt x="63882" y="63195"/>
                    <a:pt x="53722" y="66370"/>
                    <a:pt x="41022" y="66370"/>
                  </a:cubicBezTo>
                  <a:close/>
                  <a:moveTo>
                    <a:pt x="74042" y="65734"/>
                  </a:moveTo>
                  <a:lnTo>
                    <a:pt x="74042" y="65734"/>
                  </a:lnTo>
                  <a:cubicBezTo>
                    <a:pt x="78487" y="63195"/>
                    <a:pt x="82297" y="58750"/>
                    <a:pt x="84837" y="54304"/>
                  </a:cubicBezTo>
                  <a:cubicBezTo>
                    <a:pt x="87377" y="49859"/>
                    <a:pt x="89282" y="43509"/>
                    <a:pt x="89282" y="35889"/>
                  </a:cubicBezTo>
                  <a:cubicBezTo>
                    <a:pt x="89282" y="28270"/>
                    <a:pt x="88012" y="21920"/>
                    <a:pt x="84837" y="16839"/>
                  </a:cubicBezTo>
                  <a:cubicBezTo>
                    <a:pt x="82297" y="11759"/>
                    <a:pt x="78487" y="7950"/>
                    <a:pt x="73407" y="5409"/>
                  </a:cubicBezTo>
                  <a:cubicBezTo>
                    <a:pt x="68962" y="2870"/>
                    <a:pt x="64517" y="329"/>
                    <a:pt x="58167" y="-305"/>
                  </a:cubicBezTo>
                  <a:cubicBezTo>
                    <a:pt x="53087" y="-1575"/>
                    <a:pt x="46737" y="-1575"/>
                    <a:pt x="41657" y="-1575"/>
                  </a:cubicBezTo>
                  <a:lnTo>
                    <a:pt x="-2158" y="-1575"/>
                  </a:lnTo>
                  <a:lnTo>
                    <a:pt x="-2158" y="148284"/>
                  </a:lnTo>
                  <a:lnTo>
                    <a:pt x="6732" y="148284"/>
                  </a:lnTo>
                  <a:lnTo>
                    <a:pt x="6732" y="74625"/>
                  </a:lnTo>
                  <a:lnTo>
                    <a:pt x="40387" y="74625"/>
                  </a:lnTo>
                  <a:lnTo>
                    <a:pt x="44832" y="73989"/>
                  </a:lnTo>
                  <a:cubicBezTo>
                    <a:pt x="49912" y="73989"/>
                    <a:pt x="54992" y="73354"/>
                    <a:pt x="60072" y="72084"/>
                  </a:cubicBezTo>
                  <a:cubicBezTo>
                    <a:pt x="64517" y="70814"/>
                    <a:pt x="69597" y="68909"/>
                    <a:pt x="74042" y="65734"/>
                  </a:cubicBezTo>
                  <a:close/>
                </a:path>
              </a:pathLst>
            </a:custGeom>
            <a:solidFill>
              <a:srgbClr val="FFFFFF"/>
            </a:solidFill>
            <a:ln w="6350" cap="flat">
              <a:noFill/>
              <a:prstDash val="solid"/>
              <a:miter/>
            </a:ln>
          </p:spPr>
          <p:txBody>
            <a:bodyPr rtlCol="0" anchor="ctr"/>
            <a:lstStyle/>
            <a:p>
              <a:endParaRPr lang="en-GB"/>
            </a:p>
          </p:txBody>
        </p:sp>
        <p:sp>
          <p:nvSpPr>
            <p:cNvPr id="136" name="Freeform 135"/>
            <p:cNvSpPr/>
            <p:nvPr/>
          </p:nvSpPr>
          <p:spPr>
            <a:xfrm>
              <a:off x="-6395084" y="4640580"/>
              <a:ext cx="59054" cy="8889"/>
            </a:xfrm>
            <a:custGeom>
              <a:avLst/>
              <a:gdLst>
                <a:gd name="connsiteX0" fmla="*/ -2158 w 59054"/>
                <a:gd name="connsiteY0" fmla="*/ -1575 h 8889"/>
                <a:gd name="connsiteX1" fmla="*/ -2158 w 59054"/>
                <a:gd name="connsiteY1" fmla="*/ -1575 h 8889"/>
                <a:gd name="connsiteX2" fmla="*/ 56897 w 59054"/>
                <a:gd name="connsiteY2" fmla="*/ -1575 h 8889"/>
                <a:gd name="connsiteX3" fmla="*/ 56897 w 59054"/>
                <a:gd name="connsiteY3" fmla="*/ 7314 h 8889"/>
                <a:gd name="connsiteX4" fmla="*/ -2158 w 59054"/>
                <a:gd name="connsiteY4" fmla="*/ 7314 h 8889"/>
                <a:gd name="connsiteX5" fmla="*/ -2158 w 59054"/>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4"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7" name="Freeform 136"/>
            <p:cNvSpPr/>
            <p:nvPr/>
          </p:nvSpPr>
          <p:spPr>
            <a:xfrm>
              <a:off x="-6433819"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8" name="Freeform 137"/>
            <p:cNvSpPr/>
            <p:nvPr/>
          </p:nvSpPr>
          <p:spPr>
            <a:xfrm>
              <a:off x="-6693534" y="4538344"/>
              <a:ext cx="135254" cy="156844"/>
            </a:xfrm>
            <a:custGeom>
              <a:avLst/>
              <a:gdLst>
                <a:gd name="connsiteX0" fmla="*/ 73407 w 135254"/>
                <a:gd name="connsiteY0" fmla="*/ 6680 h 156844"/>
                <a:gd name="connsiteX1" fmla="*/ 73407 w 135254"/>
                <a:gd name="connsiteY1" fmla="*/ 6680 h 156844"/>
                <a:gd name="connsiteX2" fmla="*/ 126747 w 135254"/>
                <a:gd name="connsiteY2" fmla="*/ 35255 h 156844"/>
                <a:gd name="connsiteX3" fmla="*/ 133097 w 135254"/>
                <a:gd name="connsiteY3" fmla="*/ 29541 h 156844"/>
                <a:gd name="connsiteX4" fmla="*/ 72772 w 135254"/>
                <a:gd name="connsiteY4" fmla="*/ -1575 h 156844"/>
                <a:gd name="connsiteX5" fmla="*/ -2158 w 135254"/>
                <a:gd name="connsiteY5" fmla="*/ 76530 h 156844"/>
                <a:gd name="connsiteX6" fmla="*/ 72772 w 135254"/>
                <a:gd name="connsiteY6" fmla="*/ 155270 h 156844"/>
                <a:gd name="connsiteX7" fmla="*/ 133097 w 135254"/>
                <a:gd name="connsiteY7" fmla="*/ 123520 h 156844"/>
                <a:gd name="connsiteX8" fmla="*/ 126747 w 135254"/>
                <a:gd name="connsiteY8" fmla="*/ 117805 h 156844"/>
                <a:gd name="connsiteX9" fmla="*/ 73407 w 135254"/>
                <a:gd name="connsiteY9" fmla="*/ 146380 h 156844"/>
                <a:gd name="connsiteX10" fmla="*/ 6732 w 135254"/>
                <a:gd name="connsiteY10" fmla="*/ 76530 h 156844"/>
                <a:gd name="connsiteX11" fmla="*/ 73407 w 135254"/>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4" h="156844">
                  <a:moveTo>
                    <a:pt x="73407" y="6680"/>
                  </a:moveTo>
                  <a:lnTo>
                    <a:pt x="73407" y="6680"/>
                  </a:lnTo>
                  <a:cubicBezTo>
                    <a:pt x="95632" y="6680"/>
                    <a:pt x="115317" y="18111"/>
                    <a:pt x="126747" y="35255"/>
                  </a:cubicBezTo>
                  <a:lnTo>
                    <a:pt x="133097" y="29541"/>
                  </a:lnTo>
                  <a:cubicBezTo>
                    <a:pt x="119762" y="10491"/>
                    <a:pt x="97537" y="-1575"/>
                    <a:pt x="72772" y="-1575"/>
                  </a:cubicBezTo>
                  <a:cubicBezTo>
                    <a:pt x="31497" y="-1575"/>
                    <a:pt x="-2158" y="33350"/>
                    <a:pt x="-2158" y="76530"/>
                  </a:cubicBezTo>
                  <a:cubicBezTo>
                    <a:pt x="-2158" y="119711"/>
                    <a:pt x="31497" y="155270"/>
                    <a:pt x="72772" y="155270"/>
                  </a:cubicBezTo>
                  <a:cubicBezTo>
                    <a:pt x="97537" y="155270"/>
                    <a:pt x="119762" y="143205"/>
                    <a:pt x="133097" y="123520"/>
                  </a:cubicBezTo>
                  <a:lnTo>
                    <a:pt x="126747" y="117805"/>
                  </a:lnTo>
                  <a:cubicBezTo>
                    <a:pt x="114682" y="135586"/>
                    <a:pt x="94997" y="146380"/>
                    <a:pt x="73407" y="146380"/>
                  </a:cubicBezTo>
                  <a:cubicBezTo>
                    <a:pt x="36577" y="146380"/>
                    <a:pt x="6732" y="115266"/>
                    <a:pt x="6732" y="76530"/>
                  </a:cubicBezTo>
                  <a:cubicBezTo>
                    <a:pt x="6732" y="37795"/>
                    <a:pt x="36577" y="6680"/>
                    <a:pt x="73407" y="6680"/>
                  </a:cubicBezTo>
                  <a:close/>
                </a:path>
              </a:pathLst>
            </a:custGeom>
            <a:solidFill>
              <a:srgbClr val="FFFFFF"/>
            </a:solidFill>
            <a:ln w="6350" cap="flat">
              <a:noFill/>
              <a:prstDash val="solid"/>
              <a:miter/>
            </a:ln>
          </p:spPr>
          <p:txBody>
            <a:bodyPr rtlCol="0" anchor="ctr"/>
            <a:lstStyle/>
            <a:p>
              <a:endParaRPr lang="en-GB"/>
            </a:p>
          </p:txBody>
        </p:sp>
      </p:grpSp>
      <p:grpSp>
        <p:nvGrpSpPr>
          <p:cNvPr id="139" name="Graphic 79"/>
          <p:cNvGrpSpPr/>
          <p:nvPr userDrawn="1"/>
        </p:nvGrpSpPr>
        <p:grpSpPr>
          <a:xfrm>
            <a:off x="8832850" y="1952625"/>
            <a:ext cx="876582" cy="575151"/>
            <a:chOff x="-4883150" y="1952625"/>
            <a:chExt cx="876582" cy="575151"/>
          </a:xfrm>
          <a:solidFill>
            <a:srgbClr val="FFFFFF"/>
          </a:solidFill>
        </p:grpSpPr>
        <p:sp>
          <p:nvSpPr>
            <p:cNvPr id="140" name="Freeform 139"/>
            <p:cNvSpPr/>
            <p:nvPr/>
          </p:nvSpPr>
          <p:spPr>
            <a:xfrm>
              <a:off x="-4701540" y="1952625"/>
              <a:ext cx="510540" cy="395605"/>
            </a:xfrm>
            <a:custGeom>
              <a:avLst/>
              <a:gdLst>
                <a:gd name="connsiteX0" fmla="*/ -2035 w 510540"/>
                <a:gd name="connsiteY0" fmla="*/ -681 h 395605"/>
                <a:gd name="connsiteX1" fmla="*/ -2035 w 510540"/>
                <a:gd name="connsiteY1" fmla="*/ -681 h 395605"/>
                <a:gd name="connsiteX2" fmla="*/ 248790 w 510540"/>
                <a:gd name="connsiteY2" fmla="*/ 87584 h 395605"/>
                <a:gd name="connsiteX3" fmla="*/ 257680 w 510540"/>
                <a:gd name="connsiteY3" fmla="*/ 87584 h 395605"/>
                <a:gd name="connsiteX4" fmla="*/ 508505 w 510540"/>
                <a:gd name="connsiteY4" fmla="*/ -681 h 395605"/>
                <a:gd name="connsiteX5" fmla="*/ 418335 w 510540"/>
                <a:gd name="connsiteY5" fmla="*/ 141559 h 395605"/>
                <a:gd name="connsiteX6" fmla="*/ 375790 w 510540"/>
                <a:gd name="connsiteY6" fmla="*/ 124414 h 395605"/>
                <a:gd name="connsiteX7" fmla="*/ 401190 w 510540"/>
                <a:gd name="connsiteY7" fmla="*/ 81234 h 395605"/>
                <a:gd name="connsiteX8" fmla="*/ 319910 w 510540"/>
                <a:gd name="connsiteY8" fmla="*/ 121874 h 395605"/>
                <a:gd name="connsiteX9" fmla="*/ 375790 w 510540"/>
                <a:gd name="connsiteY9" fmla="*/ 143464 h 395605"/>
                <a:gd name="connsiteX10" fmla="*/ 398015 w 510540"/>
                <a:gd name="connsiteY10" fmla="*/ 168229 h 395605"/>
                <a:gd name="connsiteX11" fmla="*/ 384045 w 510540"/>
                <a:gd name="connsiteY11" fmla="*/ 203789 h 395605"/>
                <a:gd name="connsiteX12" fmla="*/ 262760 w 510540"/>
                <a:gd name="connsiteY12" fmla="*/ 394924 h 395605"/>
                <a:gd name="connsiteX13" fmla="*/ 263395 w 510540"/>
                <a:gd name="connsiteY13" fmla="*/ 344759 h 395605"/>
                <a:gd name="connsiteX14" fmla="*/ 309750 w 510540"/>
                <a:gd name="connsiteY14" fmla="*/ 191089 h 395605"/>
                <a:gd name="connsiteX15" fmla="*/ 298320 w 510540"/>
                <a:gd name="connsiteY15" fmla="*/ 176484 h 395605"/>
                <a:gd name="connsiteX16" fmla="*/ 252600 w 510540"/>
                <a:gd name="connsiteY16" fmla="*/ 154894 h 395605"/>
                <a:gd name="connsiteX17" fmla="*/ 205610 w 510540"/>
                <a:gd name="connsiteY17" fmla="*/ 177754 h 395605"/>
                <a:gd name="connsiteX18" fmla="*/ 196720 w 510540"/>
                <a:gd name="connsiteY18" fmla="*/ 190454 h 395605"/>
                <a:gd name="connsiteX19" fmla="*/ 243075 w 510540"/>
                <a:gd name="connsiteY19" fmla="*/ 344124 h 395605"/>
                <a:gd name="connsiteX20" fmla="*/ 243075 w 510540"/>
                <a:gd name="connsiteY20" fmla="*/ 394924 h 395605"/>
                <a:gd name="connsiteX21" fmla="*/ 123060 w 510540"/>
                <a:gd name="connsiteY21" fmla="*/ 205694 h 395605"/>
                <a:gd name="connsiteX22" fmla="*/ 107820 w 510540"/>
                <a:gd name="connsiteY22" fmla="*/ 167594 h 395605"/>
                <a:gd name="connsiteX23" fmla="*/ 130045 w 510540"/>
                <a:gd name="connsiteY23" fmla="*/ 142829 h 395605"/>
                <a:gd name="connsiteX24" fmla="*/ 185925 w 510540"/>
                <a:gd name="connsiteY24" fmla="*/ 121239 h 395605"/>
                <a:gd name="connsiteX25" fmla="*/ 104645 w 510540"/>
                <a:gd name="connsiteY25" fmla="*/ 80599 h 395605"/>
                <a:gd name="connsiteX26" fmla="*/ 130045 w 510540"/>
                <a:gd name="connsiteY26" fmla="*/ 123779 h 395605"/>
                <a:gd name="connsiteX27" fmla="*/ 86865 w 510540"/>
                <a:gd name="connsiteY27" fmla="*/ 140924 h 395605"/>
                <a:gd name="connsiteX28" fmla="*/ -2035 w 510540"/>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40" h="395605">
                  <a:moveTo>
                    <a:pt x="-2035" y="-681"/>
                  </a:moveTo>
                  <a:lnTo>
                    <a:pt x="-2035" y="-681"/>
                  </a:lnTo>
                  <a:cubicBezTo>
                    <a:pt x="81785" y="28529"/>
                    <a:pt x="164970" y="59009"/>
                    <a:pt x="248790" y="87584"/>
                  </a:cubicBezTo>
                  <a:cubicBezTo>
                    <a:pt x="251965" y="88854"/>
                    <a:pt x="254505" y="88854"/>
                    <a:pt x="257680" y="87584"/>
                  </a:cubicBezTo>
                  <a:cubicBezTo>
                    <a:pt x="341500" y="59009"/>
                    <a:pt x="424685" y="28529"/>
                    <a:pt x="508505" y="-681"/>
                  </a:cubicBezTo>
                  <a:cubicBezTo>
                    <a:pt x="478660" y="46944"/>
                    <a:pt x="448815" y="93934"/>
                    <a:pt x="418335" y="141559"/>
                  </a:cubicBezTo>
                  <a:cubicBezTo>
                    <a:pt x="404365" y="135209"/>
                    <a:pt x="389760" y="130129"/>
                    <a:pt x="375790" y="124414"/>
                  </a:cubicBezTo>
                  <a:cubicBezTo>
                    <a:pt x="384045" y="109809"/>
                    <a:pt x="392935" y="95839"/>
                    <a:pt x="401190" y="81234"/>
                  </a:cubicBezTo>
                  <a:cubicBezTo>
                    <a:pt x="374520" y="95204"/>
                    <a:pt x="346580" y="107904"/>
                    <a:pt x="319910" y="121874"/>
                  </a:cubicBezTo>
                  <a:cubicBezTo>
                    <a:pt x="338960" y="128859"/>
                    <a:pt x="357375" y="135844"/>
                    <a:pt x="375790" y="143464"/>
                  </a:cubicBezTo>
                  <a:cubicBezTo>
                    <a:pt x="386585" y="147909"/>
                    <a:pt x="397380" y="156164"/>
                    <a:pt x="398015" y="168229"/>
                  </a:cubicBezTo>
                  <a:cubicBezTo>
                    <a:pt x="399920" y="181564"/>
                    <a:pt x="390395" y="192994"/>
                    <a:pt x="384045" y="203789"/>
                  </a:cubicBezTo>
                  <a:cubicBezTo>
                    <a:pt x="343405" y="267289"/>
                    <a:pt x="303400" y="331424"/>
                    <a:pt x="262760" y="394924"/>
                  </a:cubicBezTo>
                  <a:cubicBezTo>
                    <a:pt x="262760" y="377779"/>
                    <a:pt x="260855" y="361269"/>
                    <a:pt x="263395" y="344759"/>
                  </a:cubicBezTo>
                  <a:cubicBezTo>
                    <a:pt x="279270" y="293324"/>
                    <a:pt x="295145" y="242524"/>
                    <a:pt x="309750" y="191089"/>
                  </a:cubicBezTo>
                  <a:cubicBezTo>
                    <a:pt x="312925" y="183469"/>
                    <a:pt x="304035" y="179024"/>
                    <a:pt x="298320" y="176484"/>
                  </a:cubicBezTo>
                  <a:cubicBezTo>
                    <a:pt x="283080" y="169499"/>
                    <a:pt x="268475" y="160609"/>
                    <a:pt x="252600" y="154894"/>
                  </a:cubicBezTo>
                  <a:cubicBezTo>
                    <a:pt x="236725" y="161879"/>
                    <a:pt x="221485" y="170134"/>
                    <a:pt x="205610" y="177754"/>
                  </a:cubicBezTo>
                  <a:cubicBezTo>
                    <a:pt x="200530" y="179659"/>
                    <a:pt x="194180" y="184104"/>
                    <a:pt x="196720" y="190454"/>
                  </a:cubicBezTo>
                  <a:cubicBezTo>
                    <a:pt x="211325" y="241889"/>
                    <a:pt x="227200" y="293324"/>
                    <a:pt x="243075" y="344124"/>
                  </a:cubicBezTo>
                  <a:cubicBezTo>
                    <a:pt x="244980" y="360634"/>
                    <a:pt x="243075" y="377779"/>
                    <a:pt x="243075" y="394924"/>
                  </a:cubicBezTo>
                  <a:cubicBezTo>
                    <a:pt x="203070" y="332059"/>
                    <a:pt x="163065" y="268559"/>
                    <a:pt x="123060" y="205694"/>
                  </a:cubicBezTo>
                  <a:cubicBezTo>
                    <a:pt x="116075" y="194264"/>
                    <a:pt x="105915" y="182199"/>
                    <a:pt x="107820" y="167594"/>
                  </a:cubicBezTo>
                  <a:cubicBezTo>
                    <a:pt x="108455" y="155529"/>
                    <a:pt x="119885" y="147274"/>
                    <a:pt x="130045" y="142829"/>
                  </a:cubicBezTo>
                  <a:cubicBezTo>
                    <a:pt x="148460" y="135209"/>
                    <a:pt x="167510" y="128224"/>
                    <a:pt x="185925" y="121239"/>
                  </a:cubicBezTo>
                  <a:cubicBezTo>
                    <a:pt x="159255" y="107269"/>
                    <a:pt x="131950" y="94569"/>
                    <a:pt x="104645" y="80599"/>
                  </a:cubicBezTo>
                  <a:cubicBezTo>
                    <a:pt x="112900" y="95204"/>
                    <a:pt x="121790" y="109174"/>
                    <a:pt x="130045" y="123779"/>
                  </a:cubicBezTo>
                  <a:cubicBezTo>
                    <a:pt x="115440" y="129494"/>
                    <a:pt x="101470" y="134574"/>
                    <a:pt x="86865" y="140924"/>
                  </a:cubicBezTo>
                  <a:cubicBezTo>
                    <a:pt x="57655" y="93934"/>
                    <a:pt x="27810" y="46309"/>
                    <a:pt x="-2035" y="-681"/>
                  </a:cubicBezTo>
                  <a:close/>
                </a:path>
              </a:pathLst>
            </a:custGeom>
            <a:solidFill>
              <a:srgbClr val="FFFFFF"/>
            </a:solidFill>
            <a:ln w="6350" cap="flat">
              <a:noFill/>
              <a:prstDash val="solid"/>
              <a:miter/>
            </a:ln>
          </p:spPr>
          <p:txBody>
            <a:bodyPr rtlCol="0" anchor="ctr"/>
            <a:lstStyle/>
            <a:p>
              <a:endParaRPr lang="en-GB"/>
            </a:p>
          </p:txBody>
        </p:sp>
        <p:sp>
          <p:nvSpPr>
            <p:cNvPr id="141" name="Freeform 140"/>
            <p:cNvSpPr/>
            <p:nvPr/>
          </p:nvSpPr>
          <p:spPr>
            <a:xfrm>
              <a:off x="-4525009" y="2444750"/>
              <a:ext cx="159483" cy="82550"/>
            </a:xfrm>
            <a:custGeom>
              <a:avLst/>
              <a:gdLst>
                <a:gd name="connsiteX0" fmla="*/ 23365 w 159483"/>
                <a:gd name="connsiteY0" fmla="*/ 17734 h 82550"/>
                <a:gd name="connsiteX1" fmla="*/ 23365 w 159483"/>
                <a:gd name="connsiteY1" fmla="*/ 17734 h 82550"/>
                <a:gd name="connsiteX2" fmla="*/ 24000 w 159483"/>
                <a:gd name="connsiteY2" fmla="*/ 36784 h 82550"/>
                <a:gd name="connsiteX3" fmla="*/ 130680 w 159483"/>
                <a:gd name="connsiteY3" fmla="*/ 36149 h 82550"/>
                <a:gd name="connsiteX4" fmla="*/ 133855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0 w 159483"/>
                <a:gd name="connsiteY9" fmla="*/ -681 h 82550"/>
                <a:gd name="connsiteX10" fmla="*/ 156715 w 159483"/>
                <a:gd name="connsiteY10" fmla="*/ 13289 h 82550"/>
                <a:gd name="connsiteX11" fmla="*/ 156715 w 159483"/>
                <a:gd name="connsiteY11" fmla="*/ 41229 h 82550"/>
                <a:gd name="connsiteX12" fmla="*/ 135760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0" y="36784"/>
                  </a:cubicBezTo>
                  <a:cubicBezTo>
                    <a:pt x="59560" y="36149"/>
                    <a:pt x="95120" y="36784"/>
                    <a:pt x="130680" y="36149"/>
                  </a:cubicBezTo>
                  <a:cubicBezTo>
                    <a:pt x="137030" y="32339"/>
                    <a:pt x="132585" y="24084"/>
                    <a:pt x="133855" y="17734"/>
                  </a:cubicBezTo>
                  <a:cubicBezTo>
                    <a:pt x="97025" y="17099"/>
                    <a:pt x="60195" y="18369"/>
                    <a:pt x="23365" y="17734"/>
                  </a:cubicBezTo>
                  <a:close/>
                  <a:moveTo>
                    <a:pt x="-2035" y="81869"/>
                  </a:moveTo>
                  <a:lnTo>
                    <a:pt x="-2035" y="81869"/>
                  </a:lnTo>
                  <a:cubicBezTo>
                    <a:pt x="-2035" y="54564"/>
                    <a:pt x="-2035" y="26624"/>
                    <a:pt x="-2035" y="-681"/>
                  </a:cubicBezTo>
                  <a:cubicBezTo>
                    <a:pt x="44320" y="-681"/>
                    <a:pt x="90040" y="-681"/>
                    <a:pt x="135760" y="-681"/>
                  </a:cubicBezTo>
                  <a:cubicBezTo>
                    <a:pt x="144650" y="-681"/>
                    <a:pt x="155445" y="3764"/>
                    <a:pt x="156715" y="13289"/>
                  </a:cubicBezTo>
                  <a:cubicBezTo>
                    <a:pt x="157985" y="22179"/>
                    <a:pt x="157350" y="32339"/>
                    <a:pt x="156715" y="41229"/>
                  </a:cubicBezTo>
                  <a:cubicBezTo>
                    <a:pt x="156080" y="51389"/>
                    <a:pt x="145285" y="57739"/>
                    <a:pt x="135760" y="57104"/>
                  </a:cubicBezTo>
                  <a:cubicBezTo>
                    <a:pt x="98295" y="57104"/>
                    <a:pt x="60830" y="57104"/>
                    <a:pt x="23365" y="57104"/>
                  </a:cubicBezTo>
                  <a:cubicBezTo>
                    <a:pt x="23365" y="65359"/>
                    <a:pt x="23365" y="73614"/>
                    <a:pt x="23365" y="81869"/>
                  </a:cubicBezTo>
                  <a:cubicBezTo>
                    <a:pt x="15110" y="81869"/>
                    <a:pt x="6855" y="81869"/>
                    <a:pt x="-2035" y="81869"/>
                  </a:cubicBezTo>
                  <a:close/>
                </a:path>
              </a:pathLst>
            </a:custGeom>
            <a:solidFill>
              <a:srgbClr val="FFFFFF"/>
            </a:solidFill>
            <a:ln w="6350" cap="flat">
              <a:noFill/>
              <a:prstDash val="solid"/>
              <a:miter/>
            </a:ln>
          </p:spPr>
          <p:txBody>
            <a:bodyPr rtlCol="0" anchor="ctr"/>
            <a:lstStyle/>
            <a:p>
              <a:endParaRPr lang="en-GB"/>
            </a:p>
          </p:txBody>
        </p:sp>
        <p:sp>
          <p:nvSpPr>
            <p:cNvPr id="142" name="Freeform 141"/>
            <p:cNvSpPr/>
            <p:nvPr/>
          </p:nvSpPr>
          <p:spPr>
            <a:xfrm>
              <a:off x="-48831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0 w 156844"/>
                <a:gd name="connsiteY5" fmla="*/ 22179 h 82005"/>
                <a:gd name="connsiteX6" fmla="*/ 20825 w 156844"/>
                <a:gd name="connsiteY6" fmla="*/ 24719 h 82005"/>
                <a:gd name="connsiteX7" fmla="*/ 20825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80" y="3764"/>
                    <a:pt x="13205" y="-681"/>
                    <a:pt x="21460" y="-681"/>
                  </a:cubicBezTo>
                  <a:cubicBezTo>
                    <a:pt x="65910" y="-681"/>
                    <a:pt x="110360" y="-681"/>
                    <a:pt x="154810" y="-681"/>
                  </a:cubicBezTo>
                  <a:cubicBezTo>
                    <a:pt x="154810" y="6939"/>
                    <a:pt x="154810" y="14559"/>
                    <a:pt x="154810" y="22179"/>
                  </a:cubicBezTo>
                  <a:cubicBezTo>
                    <a:pt x="110995" y="22179"/>
                    <a:pt x="67815" y="21544"/>
                    <a:pt x="24000" y="22179"/>
                  </a:cubicBezTo>
                  <a:cubicBezTo>
                    <a:pt x="23365" y="22814"/>
                    <a:pt x="21460" y="24084"/>
                    <a:pt x="20825" y="24719"/>
                  </a:cubicBezTo>
                  <a:cubicBezTo>
                    <a:pt x="20190" y="35514"/>
                    <a:pt x="20825" y="46309"/>
                    <a:pt x="20825" y="57104"/>
                  </a:cubicBezTo>
                  <a:cubicBezTo>
                    <a:pt x="24635" y="57739"/>
                    <a:pt x="28445" y="59009"/>
                    <a:pt x="32890" y="59009"/>
                  </a:cubicBezTo>
                  <a:cubicBezTo>
                    <a:pt x="73530" y="59009"/>
                    <a:pt x="114170" y="59009"/>
                    <a:pt x="154810" y="59009"/>
                  </a:cubicBezTo>
                  <a:cubicBezTo>
                    <a:pt x="154810" y="65994"/>
                    <a:pt x="154810" y="73614"/>
                    <a:pt x="154810" y="80599"/>
                  </a:cubicBezTo>
                  <a:cubicBezTo>
                    <a:pt x="112265" y="81869"/>
                    <a:pt x="69720" y="80599"/>
                    <a:pt x="26540" y="81234"/>
                  </a:cubicBezTo>
                  <a:cubicBezTo>
                    <a:pt x="16380" y="81869"/>
                    <a:pt x="3045" y="79329"/>
                    <a:pt x="-765" y="68534"/>
                  </a:cubicBezTo>
                  <a:cubicBezTo>
                    <a:pt x="-2670" y="59009"/>
                    <a:pt x="-1400" y="48849"/>
                    <a:pt x="-2035" y="38689"/>
                  </a:cubicBezTo>
                  <a:cubicBezTo>
                    <a:pt x="-1400" y="30434"/>
                    <a:pt x="-2670" y="20909"/>
                    <a:pt x="-130" y="12019"/>
                  </a:cubicBezTo>
                  <a:close/>
                </a:path>
              </a:pathLst>
            </a:custGeom>
            <a:solidFill>
              <a:srgbClr val="FFFFFF"/>
            </a:solidFill>
            <a:ln w="6350" cap="flat">
              <a:noFill/>
              <a:prstDash val="solid"/>
              <a:miter/>
            </a:ln>
          </p:spPr>
          <p:txBody>
            <a:bodyPr rtlCol="0" anchor="ctr"/>
            <a:lstStyle/>
            <a:p>
              <a:endParaRPr lang="en-GB"/>
            </a:p>
          </p:txBody>
        </p:sp>
        <p:sp>
          <p:nvSpPr>
            <p:cNvPr id="143" name="Freeform 142"/>
            <p:cNvSpPr/>
            <p:nvPr/>
          </p:nvSpPr>
          <p:spPr>
            <a:xfrm>
              <a:off x="-4704124" y="2444115"/>
              <a:ext cx="160064" cy="82733"/>
            </a:xfrm>
            <a:custGeom>
              <a:avLst/>
              <a:gdLst>
                <a:gd name="connsiteX0" fmla="*/ -1991 w 160064"/>
                <a:gd name="connsiteY0" fmla="*/ 61549 h 82733"/>
                <a:gd name="connsiteX1" fmla="*/ -1991 w 160064"/>
                <a:gd name="connsiteY1" fmla="*/ 61549 h 82733"/>
                <a:gd name="connsiteX2" fmla="*/ -1991 w 160064"/>
                <a:gd name="connsiteY2" fmla="*/ -681 h 82733"/>
                <a:gd name="connsiteX3" fmla="*/ 25949 w 160064"/>
                <a:gd name="connsiteY3" fmla="*/ -681 h 82733"/>
                <a:gd name="connsiteX4" fmla="*/ 26584 w 160064"/>
                <a:gd name="connsiteY4" fmla="*/ 59009 h 82733"/>
                <a:gd name="connsiteX5" fmla="*/ 129454 w 160064"/>
                <a:gd name="connsiteY5" fmla="*/ 59009 h 82733"/>
                <a:gd name="connsiteX6" fmla="*/ 130089 w 160064"/>
                <a:gd name="connsiteY6" fmla="*/ -681 h 82733"/>
                <a:gd name="connsiteX7" fmla="*/ 158029 w 160064"/>
                <a:gd name="connsiteY7" fmla="*/ -681 h 82733"/>
                <a:gd name="connsiteX8" fmla="*/ 158029 w 160064"/>
                <a:gd name="connsiteY8" fmla="*/ 61549 h 82733"/>
                <a:gd name="connsiteX9" fmla="*/ 136439 w 160064"/>
                <a:gd name="connsiteY9" fmla="*/ 81869 h 82733"/>
                <a:gd name="connsiteX10" fmla="*/ 39919 w 160064"/>
                <a:gd name="connsiteY10" fmla="*/ 81869 h 82733"/>
                <a:gd name="connsiteX11" fmla="*/ 11979 w 160064"/>
                <a:gd name="connsiteY11" fmla="*/ 79964 h 82733"/>
                <a:gd name="connsiteX12" fmla="*/ -1991 w 160064"/>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4" h="82733">
                  <a:moveTo>
                    <a:pt x="-1991" y="61549"/>
                  </a:moveTo>
                  <a:lnTo>
                    <a:pt x="-1991" y="61549"/>
                  </a:lnTo>
                  <a:cubicBezTo>
                    <a:pt x="-1991" y="41229"/>
                    <a:pt x="-1991" y="20274"/>
                    <a:pt x="-1991" y="-681"/>
                  </a:cubicBezTo>
                  <a:cubicBezTo>
                    <a:pt x="7534" y="-681"/>
                    <a:pt x="16424" y="-681"/>
                    <a:pt x="25949" y="-681"/>
                  </a:cubicBezTo>
                  <a:cubicBezTo>
                    <a:pt x="26584" y="19004"/>
                    <a:pt x="25314" y="39324"/>
                    <a:pt x="26584" y="59009"/>
                  </a:cubicBezTo>
                  <a:cubicBezTo>
                    <a:pt x="60874" y="59644"/>
                    <a:pt x="95164" y="59009"/>
                    <a:pt x="129454" y="59009"/>
                  </a:cubicBezTo>
                  <a:cubicBezTo>
                    <a:pt x="130724" y="39324"/>
                    <a:pt x="130089" y="19004"/>
                    <a:pt x="130089" y="-681"/>
                  </a:cubicBezTo>
                  <a:cubicBezTo>
                    <a:pt x="139614" y="-681"/>
                    <a:pt x="148504" y="-681"/>
                    <a:pt x="158029" y="-681"/>
                  </a:cubicBezTo>
                  <a:cubicBezTo>
                    <a:pt x="158029" y="19639"/>
                    <a:pt x="158029" y="40594"/>
                    <a:pt x="158029" y="61549"/>
                  </a:cubicBezTo>
                  <a:cubicBezTo>
                    <a:pt x="158029" y="72344"/>
                    <a:pt x="147234" y="81869"/>
                    <a:pt x="136439" y="81869"/>
                  </a:cubicBezTo>
                  <a:cubicBezTo>
                    <a:pt x="104054" y="82504"/>
                    <a:pt x="72304" y="81234"/>
                    <a:pt x="39919" y="81869"/>
                  </a:cubicBezTo>
                  <a:cubicBezTo>
                    <a:pt x="30394" y="81869"/>
                    <a:pt x="20869" y="82504"/>
                    <a:pt x="11979" y="79964"/>
                  </a:cubicBezTo>
                  <a:cubicBezTo>
                    <a:pt x="3724" y="77424"/>
                    <a:pt x="-2626" y="70439"/>
                    <a:pt x="-1991" y="61549"/>
                  </a:cubicBezTo>
                  <a:close/>
                </a:path>
              </a:pathLst>
            </a:custGeom>
            <a:solidFill>
              <a:srgbClr val="FFFFFF"/>
            </a:solidFill>
            <a:ln w="6350" cap="flat">
              <a:noFill/>
              <a:prstDash val="solid"/>
              <a:miter/>
            </a:ln>
          </p:spPr>
          <p:txBody>
            <a:bodyPr rtlCol="0" anchor="ctr"/>
            <a:lstStyle/>
            <a:p>
              <a:endParaRPr lang="en-GB"/>
            </a:p>
          </p:txBody>
        </p:sp>
        <p:sp>
          <p:nvSpPr>
            <p:cNvPr id="144" name="Freeform 143"/>
            <p:cNvSpPr/>
            <p:nvPr/>
          </p:nvSpPr>
          <p:spPr>
            <a:xfrm>
              <a:off x="-4344669"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5 w 158114"/>
                <a:gd name="connsiteY3" fmla="*/ 37419 h 83026"/>
                <a:gd name="connsiteX4" fmla="*/ 132585 w 158114"/>
                <a:gd name="connsiteY4" fmla="*/ 34879 h 83026"/>
                <a:gd name="connsiteX5" fmla="*/ 128775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5 w 158114"/>
                <a:gd name="connsiteY10" fmla="*/ 13924 h 83026"/>
                <a:gd name="connsiteX11" fmla="*/ 154175 w 158114"/>
                <a:gd name="connsiteY11" fmla="*/ 41864 h 83026"/>
                <a:gd name="connsiteX12" fmla="*/ 139570 w 158114"/>
                <a:gd name="connsiteY12" fmla="*/ 57104 h 83026"/>
                <a:gd name="connsiteX13" fmla="*/ 156079 w 158114"/>
                <a:gd name="connsiteY13" fmla="*/ 81234 h 83026"/>
                <a:gd name="connsiteX14" fmla="*/ 122425 w 158114"/>
                <a:gd name="connsiteY14" fmla="*/ 74884 h 83026"/>
                <a:gd name="connsiteX15" fmla="*/ 111629 w 158114"/>
                <a:gd name="connsiteY15" fmla="*/ 57104 h 83026"/>
                <a:gd name="connsiteX16" fmla="*/ 24000 w 158114"/>
                <a:gd name="connsiteY16" fmla="*/ 57104 h 83026"/>
                <a:gd name="connsiteX17" fmla="*/ 24000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5" y="37419"/>
                  </a:cubicBezTo>
                  <a:cubicBezTo>
                    <a:pt x="130045" y="36784"/>
                    <a:pt x="131315" y="35514"/>
                    <a:pt x="132585" y="34879"/>
                  </a:cubicBezTo>
                  <a:cubicBezTo>
                    <a:pt x="131950" y="29164"/>
                    <a:pt x="135760" y="20909"/>
                    <a:pt x="128775" y="17734"/>
                  </a:cubicBezTo>
                  <a:cubicBezTo>
                    <a:pt x="93850" y="16464"/>
                    <a:pt x="60195" y="17734"/>
                    <a:pt x="25904" y="17099"/>
                  </a:cubicBezTo>
                  <a:close/>
                  <a:moveTo>
                    <a:pt x="-765" y="-681"/>
                  </a:moveTo>
                  <a:lnTo>
                    <a:pt x="-765" y="-681"/>
                  </a:lnTo>
                  <a:cubicBezTo>
                    <a:pt x="43050" y="-681"/>
                    <a:pt x="87500" y="-681"/>
                    <a:pt x="131315" y="-681"/>
                  </a:cubicBezTo>
                  <a:cubicBezTo>
                    <a:pt x="140840" y="-681"/>
                    <a:pt x="152270" y="4399"/>
                    <a:pt x="154175" y="13924"/>
                  </a:cubicBezTo>
                  <a:cubicBezTo>
                    <a:pt x="154810" y="23449"/>
                    <a:pt x="154810" y="32339"/>
                    <a:pt x="154175" y="41864"/>
                  </a:cubicBezTo>
                  <a:cubicBezTo>
                    <a:pt x="152904" y="49484"/>
                    <a:pt x="145920" y="53929"/>
                    <a:pt x="139570" y="57104"/>
                  </a:cubicBezTo>
                  <a:cubicBezTo>
                    <a:pt x="145285" y="64724"/>
                    <a:pt x="151000" y="72979"/>
                    <a:pt x="156079" y="81234"/>
                  </a:cubicBezTo>
                  <a:cubicBezTo>
                    <a:pt x="145285" y="80599"/>
                    <a:pt x="128775" y="86949"/>
                    <a:pt x="122425" y="74884"/>
                  </a:cubicBezTo>
                  <a:cubicBezTo>
                    <a:pt x="118615" y="69169"/>
                    <a:pt x="115440" y="62819"/>
                    <a:pt x="111629" y="57104"/>
                  </a:cubicBezTo>
                  <a:cubicBezTo>
                    <a:pt x="82420" y="57104"/>
                    <a:pt x="53210" y="57104"/>
                    <a:pt x="24000" y="57104"/>
                  </a:cubicBezTo>
                  <a:cubicBezTo>
                    <a:pt x="24000" y="65359"/>
                    <a:pt x="24000" y="72979"/>
                    <a:pt x="24000" y="81234"/>
                  </a:cubicBezTo>
                  <a:cubicBezTo>
                    <a:pt x="15110" y="81869"/>
                    <a:pt x="6854" y="81869"/>
                    <a:pt x="-2035" y="81234"/>
                  </a:cubicBezTo>
                  <a:cubicBezTo>
                    <a:pt x="-765" y="54564"/>
                    <a:pt x="-765" y="26624"/>
                    <a:pt x="-765" y="-681"/>
                  </a:cubicBezTo>
                  <a:close/>
                </a:path>
              </a:pathLst>
            </a:custGeom>
            <a:solidFill>
              <a:srgbClr val="FFFFFF"/>
            </a:solidFill>
            <a:ln w="6350" cap="flat">
              <a:noFill/>
              <a:prstDash val="solid"/>
              <a:miter/>
            </a:ln>
          </p:spPr>
          <p:txBody>
            <a:bodyPr rtlCol="0" anchor="ctr"/>
            <a:lstStyle/>
            <a:p>
              <a:endParaRPr lang="en-GB"/>
            </a:p>
          </p:txBody>
        </p:sp>
        <p:sp>
          <p:nvSpPr>
            <p:cNvPr id="145" name="Freeform 144"/>
            <p:cNvSpPr/>
            <p:nvPr/>
          </p:nvSpPr>
          <p:spPr>
            <a:xfrm>
              <a:off x="-4163872" y="2442812"/>
              <a:ext cx="157304" cy="84487"/>
            </a:xfrm>
            <a:custGeom>
              <a:avLst/>
              <a:gdLst>
                <a:gd name="connsiteX0" fmla="*/ 24178 w 157304"/>
                <a:gd name="connsiteY0" fmla="*/ 18401 h 84487"/>
                <a:gd name="connsiteX1" fmla="*/ 24178 w 157304"/>
                <a:gd name="connsiteY1" fmla="*/ 18401 h 84487"/>
                <a:gd name="connsiteX2" fmla="*/ 24178 w 157304"/>
                <a:gd name="connsiteY2" fmla="*/ 37451 h 84487"/>
                <a:gd name="connsiteX3" fmla="*/ 130223 w 157304"/>
                <a:gd name="connsiteY3" fmla="*/ 37451 h 84487"/>
                <a:gd name="connsiteX4" fmla="*/ 130223 w 157304"/>
                <a:gd name="connsiteY4" fmla="*/ 18401 h 84487"/>
                <a:gd name="connsiteX5" fmla="*/ 24178 w 157304"/>
                <a:gd name="connsiteY5" fmla="*/ 18401 h 84487"/>
                <a:gd name="connsiteX6" fmla="*/ -1857 w 157304"/>
                <a:gd name="connsiteY6" fmla="*/ 20306 h 84487"/>
                <a:gd name="connsiteX7" fmla="*/ -1857 w 157304"/>
                <a:gd name="connsiteY7" fmla="*/ 20306 h 84487"/>
                <a:gd name="connsiteX8" fmla="*/ 22907 w 157304"/>
                <a:gd name="connsiteY8" fmla="*/ -649 h 84487"/>
                <a:gd name="connsiteX9" fmla="*/ 154988 w 157304"/>
                <a:gd name="connsiteY9" fmla="*/ -649 h 84487"/>
                <a:gd name="connsiteX10" fmla="*/ 154988 w 157304"/>
                <a:gd name="connsiteY10" fmla="*/ 83171 h 84487"/>
                <a:gd name="connsiteX11" fmla="*/ 132128 w 157304"/>
                <a:gd name="connsiteY11" fmla="*/ 83171 h 84487"/>
                <a:gd name="connsiteX12" fmla="*/ 130857 w 157304"/>
                <a:gd name="connsiteY12" fmla="*/ 58406 h 84487"/>
                <a:gd name="connsiteX13" fmla="*/ 24178 w 157304"/>
                <a:gd name="connsiteY13" fmla="*/ 58406 h 84487"/>
                <a:gd name="connsiteX14" fmla="*/ 24178 w 157304"/>
                <a:gd name="connsiteY14" fmla="*/ 83806 h 84487"/>
                <a:gd name="connsiteX15" fmla="*/ -1222 w 157304"/>
                <a:gd name="connsiteY15" fmla="*/ 83806 h 84487"/>
                <a:gd name="connsiteX16" fmla="*/ -1857 w 157304"/>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4" h="84487">
                  <a:moveTo>
                    <a:pt x="24178" y="18401"/>
                  </a:moveTo>
                  <a:lnTo>
                    <a:pt x="24178" y="18401"/>
                  </a:lnTo>
                  <a:cubicBezTo>
                    <a:pt x="24178" y="24751"/>
                    <a:pt x="24178" y="31101"/>
                    <a:pt x="24178" y="37451"/>
                  </a:cubicBezTo>
                  <a:cubicBezTo>
                    <a:pt x="59738" y="37451"/>
                    <a:pt x="94663" y="37451"/>
                    <a:pt x="130223" y="37451"/>
                  </a:cubicBezTo>
                  <a:cubicBezTo>
                    <a:pt x="130223" y="31101"/>
                    <a:pt x="130223" y="24751"/>
                    <a:pt x="130223" y="18401"/>
                  </a:cubicBezTo>
                  <a:cubicBezTo>
                    <a:pt x="94663" y="18401"/>
                    <a:pt x="59103" y="17766"/>
                    <a:pt x="24178" y="18401"/>
                  </a:cubicBezTo>
                  <a:close/>
                  <a:moveTo>
                    <a:pt x="-1857" y="20306"/>
                  </a:moveTo>
                  <a:lnTo>
                    <a:pt x="-1857" y="20306"/>
                  </a:lnTo>
                  <a:cubicBezTo>
                    <a:pt x="-2493" y="7606"/>
                    <a:pt x="10843" y="-1284"/>
                    <a:pt x="22907" y="-649"/>
                  </a:cubicBezTo>
                  <a:cubicBezTo>
                    <a:pt x="66723" y="-649"/>
                    <a:pt x="111173" y="-649"/>
                    <a:pt x="154988" y="-649"/>
                  </a:cubicBezTo>
                  <a:cubicBezTo>
                    <a:pt x="154988" y="27291"/>
                    <a:pt x="155623" y="55231"/>
                    <a:pt x="154988" y="83171"/>
                  </a:cubicBezTo>
                  <a:cubicBezTo>
                    <a:pt x="147368" y="83171"/>
                    <a:pt x="139748" y="84441"/>
                    <a:pt x="132128" y="83171"/>
                  </a:cubicBezTo>
                  <a:cubicBezTo>
                    <a:pt x="128318" y="76187"/>
                    <a:pt x="131493" y="66662"/>
                    <a:pt x="130857" y="58406"/>
                  </a:cubicBezTo>
                  <a:cubicBezTo>
                    <a:pt x="95298" y="58406"/>
                    <a:pt x="59738" y="58406"/>
                    <a:pt x="24178" y="58406"/>
                  </a:cubicBezTo>
                  <a:cubicBezTo>
                    <a:pt x="24178" y="66662"/>
                    <a:pt x="24178" y="74916"/>
                    <a:pt x="24178" y="83806"/>
                  </a:cubicBezTo>
                  <a:cubicBezTo>
                    <a:pt x="15288" y="83806"/>
                    <a:pt x="7032" y="83806"/>
                    <a:pt x="-1222" y="83806"/>
                  </a:cubicBezTo>
                  <a:cubicBezTo>
                    <a:pt x="-1222" y="62216"/>
                    <a:pt x="-2493" y="41262"/>
                    <a:pt x="-1857" y="20306"/>
                  </a:cubicBezTo>
                  <a:close/>
                </a:path>
              </a:pathLst>
            </a:custGeom>
            <a:solidFill>
              <a:srgbClr val="FFFFFF"/>
            </a:solidFill>
            <a:ln w="6350" cap="flat">
              <a:noFill/>
              <a:prstDash val="solid"/>
              <a:miter/>
            </a:ln>
          </p:spPr>
          <p:txBody>
            <a:bodyPr rtlCol="0" anchor="ctr"/>
            <a:lstStyle/>
            <a:p>
              <a:endParaRPr lang="en-GB"/>
            </a:p>
          </p:txBody>
        </p:sp>
      </p:grpSp>
      <p:grpSp>
        <p:nvGrpSpPr>
          <p:cNvPr id="146" name="Graphic 79"/>
          <p:cNvGrpSpPr/>
          <p:nvPr userDrawn="1"/>
        </p:nvGrpSpPr>
        <p:grpSpPr>
          <a:xfrm>
            <a:off x="7356357" y="3079750"/>
            <a:ext cx="655275" cy="692528"/>
            <a:chOff x="-6359643" y="3079750"/>
            <a:chExt cx="655275" cy="692528"/>
          </a:xfrm>
          <a:solidFill>
            <a:srgbClr val="FFFFFF"/>
          </a:solidFill>
        </p:grpSpPr>
        <p:sp>
          <p:nvSpPr>
            <p:cNvPr id="147" name="Freeform 146"/>
            <p:cNvSpPr/>
            <p:nvPr/>
          </p:nvSpPr>
          <p:spPr>
            <a:xfrm>
              <a:off x="-6359643" y="3079750"/>
              <a:ext cx="655275" cy="692528"/>
            </a:xfrm>
            <a:custGeom>
              <a:avLst/>
              <a:gdLst>
                <a:gd name="connsiteX0" fmla="*/ 323853 w 655275"/>
                <a:gd name="connsiteY0" fmla="*/ -1072 h 692528"/>
                <a:gd name="connsiteX1" fmla="*/ 323853 w 655275"/>
                <a:gd name="connsiteY1" fmla="*/ -1072 h 692528"/>
                <a:gd name="connsiteX2" fmla="*/ 579123 w 655275"/>
                <a:gd name="connsiteY2" fmla="*/ 50363 h 692528"/>
                <a:gd name="connsiteX3" fmla="*/ 615953 w 655275"/>
                <a:gd name="connsiteY3" fmla="*/ 70683 h 692528"/>
                <a:gd name="connsiteX4" fmla="*/ 650878 w 655275"/>
                <a:gd name="connsiteY4" fmla="*/ 138628 h 692528"/>
                <a:gd name="connsiteX5" fmla="*/ 648338 w 655275"/>
                <a:gd name="connsiteY5" fmla="*/ 205303 h 692528"/>
                <a:gd name="connsiteX6" fmla="*/ 610238 w 655275"/>
                <a:gd name="connsiteY6" fmla="*/ 357068 h 692528"/>
                <a:gd name="connsiteX7" fmla="*/ 393703 w 655275"/>
                <a:gd name="connsiteY7" fmla="*/ 661868 h 692528"/>
                <a:gd name="connsiteX8" fmla="*/ 356873 w 655275"/>
                <a:gd name="connsiteY8" fmla="*/ 685998 h 692528"/>
                <a:gd name="connsiteX9" fmla="*/ 273688 w 655275"/>
                <a:gd name="connsiteY9" fmla="*/ 675203 h 692528"/>
                <a:gd name="connsiteX10" fmla="*/ 211458 w 655275"/>
                <a:gd name="connsiteY10" fmla="*/ 620593 h 692528"/>
                <a:gd name="connsiteX11" fmla="*/ 17148 w 655275"/>
                <a:gd name="connsiteY11" fmla="*/ 285313 h 692528"/>
                <a:gd name="connsiteX12" fmla="*/ -1902 w 655275"/>
                <a:gd name="connsiteY12" fmla="*/ 178633 h 692528"/>
                <a:gd name="connsiteX13" fmla="*/ 6988 w 655275"/>
                <a:gd name="connsiteY13" fmla="*/ 105608 h 692528"/>
                <a:gd name="connsiteX14" fmla="*/ 53978 w 655275"/>
                <a:gd name="connsiteY14" fmla="*/ 57348 h 692528"/>
                <a:gd name="connsiteX15" fmla="*/ 195583 w 655275"/>
                <a:gd name="connsiteY15" fmla="*/ 10358 h 692528"/>
                <a:gd name="connsiteX16" fmla="*/ 323853 w 655275"/>
                <a:gd name="connsiteY16" fmla="*/ -1072 h 692528"/>
                <a:gd name="connsiteX17" fmla="*/ 608968 w 655275"/>
                <a:gd name="connsiteY17" fmla="*/ 283408 h 692528"/>
                <a:gd name="connsiteX18" fmla="*/ 608968 w 655275"/>
                <a:gd name="connsiteY18" fmla="*/ 283408 h 692528"/>
                <a:gd name="connsiteX19" fmla="*/ 605158 w 655275"/>
                <a:gd name="connsiteY19" fmla="*/ 283408 h 692528"/>
                <a:gd name="connsiteX20" fmla="*/ 532768 w 655275"/>
                <a:gd name="connsiteY20" fmla="*/ 287853 h 692528"/>
                <a:gd name="connsiteX21" fmla="*/ 420373 w 655275"/>
                <a:gd name="connsiteY21" fmla="*/ 303093 h 692528"/>
                <a:gd name="connsiteX22" fmla="*/ 283848 w 655275"/>
                <a:gd name="connsiteY22" fmla="*/ 336113 h 692528"/>
                <a:gd name="connsiteX23" fmla="*/ 178438 w 655275"/>
                <a:gd name="connsiteY23" fmla="*/ 385008 h 692528"/>
                <a:gd name="connsiteX24" fmla="*/ 134623 w 655275"/>
                <a:gd name="connsiteY24" fmla="*/ 425013 h 692528"/>
                <a:gd name="connsiteX25" fmla="*/ 132083 w 655275"/>
                <a:gd name="connsiteY25" fmla="*/ 491053 h 692528"/>
                <a:gd name="connsiteX26" fmla="*/ 213363 w 655275"/>
                <a:gd name="connsiteY26" fmla="*/ 592653 h 692528"/>
                <a:gd name="connsiteX27" fmla="*/ 285753 w 655275"/>
                <a:gd name="connsiteY27" fmla="*/ 656788 h 692528"/>
                <a:gd name="connsiteX28" fmla="*/ 340363 w 655275"/>
                <a:gd name="connsiteY28" fmla="*/ 666313 h 692528"/>
                <a:gd name="connsiteX29" fmla="*/ 373383 w 655275"/>
                <a:gd name="connsiteY29" fmla="*/ 647898 h 692528"/>
                <a:gd name="connsiteX30" fmla="*/ 598173 w 655275"/>
                <a:gd name="connsiteY30" fmla="*/ 318968 h 692528"/>
                <a:gd name="connsiteX31" fmla="*/ 608968 w 655275"/>
                <a:gd name="connsiteY31" fmla="*/ 283408 h 692528"/>
                <a:gd name="connsiteX32" fmla="*/ 615318 w 655275"/>
                <a:gd name="connsiteY32" fmla="*/ 254833 h 692528"/>
                <a:gd name="connsiteX33" fmla="*/ 615318 w 655275"/>
                <a:gd name="connsiteY33" fmla="*/ 254833 h 692528"/>
                <a:gd name="connsiteX34" fmla="*/ 615953 w 655275"/>
                <a:gd name="connsiteY34" fmla="*/ 250388 h 692528"/>
                <a:gd name="connsiteX35" fmla="*/ 625478 w 655275"/>
                <a:gd name="connsiteY35" fmla="*/ 193238 h 692528"/>
                <a:gd name="connsiteX36" fmla="*/ 626113 w 655275"/>
                <a:gd name="connsiteY36" fmla="*/ 139898 h 692528"/>
                <a:gd name="connsiteX37" fmla="*/ 580393 w 655275"/>
                <a:gd name="connsiteY37" fmla="*/ 76398 h 692528"/>
                <a:gd name="connsiteX38" fmla="*/ 358778 w 655275"/>
                <a:gd name="connsiteY38" fmla="*/ 21788 h 692528"/>
                <a:gd name="connsiteX39" fmla="*/ 219713 w 655275"/>
                <a:gd name="connsiteY39" fmla="*/ 28773 h 692528"/>
                <a:gd name="connsiteX40" fmla="*/ 62868 w 655275"/>
                <a:gd name="connsiteY40" fmla="*/ 77033 h 692528"/>
                <a:gd name="connsiteX41" fmla="*/ 20958 w 655275"/>
                <a:gd name="connsiteY41" fmla="*/ 131643 h 692528"/>
                <a:gd name="connsiteX42" fmla="*/ 20323 w 655275"/>
                <a:gd name="connsiteY42" fmla="*/ 189428 h 692528"/>
                <a:gd name="connsiteX43" fmla="*/ 44453 w 655275"/>
                <a:gd name="connsiteY43" fmla="*/ 304998 h 692528"/>
                <a:gd name="connsiteX44" fmla="*/ 49533 w 655275"/>
                <a:gd name="connsiteY44" fmla="*/ 322778 h 692528"/>
                <a:gd name="connsiteX45" fmla="*/ 95253 w 655275"/>
                <a:gd name="connsiteY45" fmla="*/ 296108 h 692528"/>
                <a:gd name="connsiteX46" fmla="*/ 123193 w 655275"/>
                <a:gd name="connsiteY46" fmla="*/ 287218 h 692528"/>
                <a:gd name="connsiteX47" fmla="*/ 281943 w 655275"/>
                <a:gd name="connsiteY47" fmla="*/ 264358 h 692528"/>
                <a:gd name="connsiteX48" fmla="*/ 384813 w 655275"/>
                <a:gd name="connsiteY48" fmla="*/ 258008 h 692528"/>
                <a:gd name="connsiteX49" fmla="*/ 601348 w 655275"/>
                <a:gd name="connsiteY49" fmla="*/ 254198 h 692528"/>
                <a:gd name="connsiteX50" fmla="*/ 615318 w 655275"/>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5" h="692528">
                  <a:moveTo>
                    <a:pt x="323853" y="-1072"/>
                  </a:moveTo>
                  <a:lnTo>
                    <a:pt x="323853" y="-1072"/>
                  </a:lnTo>
                  <a:cubicBezTo>
                    <a:pt x="412118" y="-1072"/>
                    <a:pt x="497843" y="14168"/>
                    <a:pt x="579123" y="50363"/>
                  </a:cubicBezTo>
                  <a:cubicBezTo>
                    <a:pt x="591823" y="55443"/>
                    <a:pt x="603888" y="61793"/>
                    <a:pt x="615953" y="70683"/>
                  </a:cubicBezTo>
                  <a:cubicBezTo>
                    <a:pt x="636273" y="88463"/>
                    <a:pt x="647068" y="111958"/>
                    <a:pt x="650878" y="138628"/>
                  </a:cubicBezTo>
                  <a:cubicBezTo>
                    <a:pt x="654688" y="160853"/>
                    <a:pt x="651513" y="183078"/>
                    <a:pt x="648338" y="205303"/>
                  </a:cubicBezTo>
                  <a:cubicBezTo>
                    <a:pt x="641353" y="256738"/>
                    <a:pt x="628653" y="307538"/>
                    <a:pt x="610238" y="357068"/>
                  </a:cubicBezTo>
                  <a:cubicBezTo>
                    <a:pt x="563883" y="476448"/>
                    <a:pt x="493398" y="579953"/>
                    <a:pt x="393703" y="661868"/>
                  </a:cubicBezTo>
                  <a:cubicBezTo>
                    <a:pt x="382273" y="671393"/>
                    <a:pt x="371478" y="680283"/>
                    <a:pt x="356873" y="685998"/>
                  </a:cubicBezTo>
                  <a:cubicBezTo>
                    <a:pt x="327663" y="695523"/>
                    <a:pt x="299723" y="692983"/>
                    <a:pt x="273688" y="675203"/>
                  </a:cubicBezTo>
                  <a:cubicBezTo>
                    <a:pt x="251463" y="659328"/>
                    <a:pt x="231143" y="640278"/>
                    <a:pt x="211458" y="620593"/>
                  </a:cubicBezTo>
                  <a:cubicBezTo>
                    <a:pt x="116208" y="527248"/>
                    <a:pt x="51438" y="414853"/>
                    <a:pt x="17148" y="285313"/>
                  </a:cubicBezTo>
                  <a:cubicBezTo>
                    <a:pt x="8258" y="250388"/>
                    <a:pt x="1908" y="214828"/>
                    <a:pt x="-1902" y="178633"/>
                  </a:cubicBezTo>
                  <a:cubicBezTo>
                    <a:pt x="-3807" y="153868"/>
                    <a:pt x="-2537" y="129738"/>
                    <a:pt x="6988" y="105608"/>
                  </a:cubicBezTo>
                  <a:cubicBezTo>
                    <a:pt x="16513" y="84018"/>
                    <a:pt x="33023" y="68143"/>
                    <a:pt x="53978" y="57348"/>
                  </a:cubicBezTo>
                  <a:cubicBezTo>
                    <a:pt x="99698" y="35123"/>
                    <a:pt x="146688" y="19883"/>
                    <a:pt x="195583" y="10358"/>
                  </a:cubicBezTo>
                  <a:cubicBezTo>
                    <a:pt x="238128" y="1468"/>
                    <a:pt x="280673" y="-1072"/>
                    <a:pt x="323853" y="-1072"/>
                  </a:cubicBezTo>
                  <a:close/>
                  <a:moveTo>
                    <a:pt x="608968" y="283408"/>
                  </a:moveTo>
                  <a:lnTo>
                    <a:pt x="608968" y="283408"/>
                  </a:lnTo>
                  <a:cubicBezTo>
                    <a:pt x="607063" y="283408"/>
                    <a:pt x="606428" y="282773"/>
                    <a:pt x="605158" y="283408"/>
                  </a:cubicBezTo>
                  <a:cubicBezTo>
                    <a:pt x="581028" y="284043"/>
                    <a:pt x="556898" y="285313"/>
                    <a:pt x="532768" y="287853"/>
                  </a:cubicBezTo>
                  <a:cubicBezTo>
                    <a:pt x="495303" y="292298"/>
                    <a:pt x="457838" y="296743"/>
                    <a:pt x="420373" y="303093"/>
                  </a:cubicBezTo>
                  <a:cubicBezTo>
                    <a:pt x="374018" y="310078"/>
                    <a:pt x="328298" y="320873"/>
                    <a:pt x="283848" y="336113"/>
                  </a:cubicBezTo>
                  <a:cubicBezTo>
                    <a:pt x="246383" y="348813"/>
                    <a:pt x="211458" y="362783"/>
                    <a:pt x="178438" y="385008"/>
                  </a:cubicBezTo>
                  <a:cubicBezTo>
                    <a:pt x="162563" y="396438"/>
                    <a:pt x="146053" y="409138"/>
                    <a:pt x="134623" y="425013"/>
                  </a:cubicBezTo>
                  <a:cubicBezTo>
                    <a:pt x="117478" y="446603"/>
                    <a:pt x="116843" y="467558"/>
                    <a:pt x="132083" y="491053"/>
                  </a:cubicBezTo>
                  <a:cubicBezTo>
                    <a:pt x="155578" y="527883"/>
                    <a:pt x="182883" y="561538"/>
                    <a:pt x="213363" y="592653"/>
                  </a:cubicBezTo>
                  <a:cubicBezTo>
                    <a:pt x="235588" y="615513"/>
                    <a:pt x="259083" y="638373"/>
                    <a:pt x="285753" y="656788"/>
                  </a:cubicBezTo>
                  <a:cubicBezTo>
                    <a:pt x="301628" y="669488"/>
                    <a:pt x="320678" y="672028"/>
                    <a:pt x="340363" y="666313"/>
                  </a:cubicBezTo>
                  <a:cubicBezTo>
                    <a:pt x="353698" y="663773"/>
                    <a:pt x="363858" y="655518"/>
                    <a:pt x="373383" y="647898"/>
                  </a:cubicBezTo>
                  <a:cubicBezTo>
                    <a:pt x="481333" y="560268"/>
                    <a:pt x="553723" y="449143"/>
                    <a:pt x="598173" y="318968"/>
                  </a:cubicBezTo>
                  <a:cubicBezTo>
                    <a:pt x="601983" y="307538"/>
                    <a:pt x="605793" y="294838"/>
                    <a:pt x="608968" y="283408"/>
                  </a:cubicBezTo>
                  <a:close/>
                  <a:moveTo>
                    <a:pt x="615318" y="254833"/>
                  </a:moveTo>
                  <a:lnTo>
                    <a:pt x="615318" y="254833"/>
                  </a:lnTo>
                  <a:cubicBezTo>
                    <a:pt x="615953" y="252928"/>
                    <a:pt x="615953" y="252293"/>
                    <a:pt x="615953" y="250388"/>
                  </a:cubicBezTo>
                  <a:cubicBezTo>
                    <a:pt x="619763" y="231338"/>
                    <a:pt x="622938" y="212288"/>
                    <a:pt x="625478" y="193238"/>
                  </a:cubicBezTo>
                  <a:cubicBezTo>
                    <a:pt x="628018" y="175458"/>
                    <a:pt x="629923" y="157678"/>
                    <a:pt x="626113" y="139898"/>
                  </a:cubicBezTo>
                  <a:cubicBezTo>
                    <a:pt x="621668" y="110688"/>
                    <a:pt x="607063" y="89733"/>
                    <a:pt x="580393" y="76398"/>
                  </a:cubicBezTo>
                  <a:cubicBezTo>
                    <a:pt x="509908" y="43378"/>
                    <a:pt x="435613" y="25598"/>
                    <a:pt x="358778" y="21788"/>
                  </a:cubicBezTo>
                  <a:cubicBezTo>
                    <a:pt x="312423" y="19248"/>
                    <a:pt x="266068" y="21153"/>
                    <a:pt x="219713" y="28773"/>
                  </a:cubicBezTo>
                  <a:cubicBezTo>
                    <a:pt x="165103" y="37028"/>
                    <a:pt x="112398" y="52903"/>
                    <a:pt x="62868" y="77033"/>
                  </a:cubicBezTo>
                  <a:cubicBezTo>
                    <a:pt x="40643" y="88463"/>
                    <a:pt x="26038" y="106243"/>
                    <a:pt x="20958" y="131643"/>
                  </a:cubicBezTo>
                  <a:cubicBezTo>
                    <a:pt x="16513" y="151328"/>
                    <a:pt x="17148" y="169743"/>
                    <a:pt x="20323" y="189428"/>
                  </a:cubicBezTo>
                  <a:cubicBezTo>
                    <a:pt x="24768" y="228798"/>
                    <a:pt x="33023" y="266898"/>
                    <a:pt x="44453" y="304998"/>
                  </a:cubicBezTo>
                  <a:cubicBezTo>
                    <a:pt x="46358" y="310078"/>
                    <a:pt x="48263" y="316428"/>
                    <a:pt x="49533" y="322778"/>
                  </a:cubicBezTo>
                  <a:cubicBezTo>
                    <a:pt x="62233" y="309443"/>
                    <a:pt x="78108" y="302458"/>
                    <a:pt x="95253" y="296108"/>
                  </a:cubicBezTo>
                  <a:cubicBezTo>
                    <a:pt x="104143" y="292298"/>
                    <a:pt x="113033" y="289758"/>
                    <a:pt x="123193" y="287218"/>
                  </a:cubicBezTo>
                  <a:cubicBezTo>
                    <a:pt x="175263" y="273883"/>
                    <a:pt x="228603" y="267533"/>
                    <a:pt x="281943" y="264358"/>
                  </a:cubicBezTo>
                  <a:cubicBezTo>
                    <a:pt x="316868" y="261818"/>
                    <a:pt x="350523" y="259913"/>
                    <a:pt x="384813" y="258008"/>
                  </a:cubicBezTo>
                  <a:cubicBezTo>
                    <a:pt x="457203" y="255468"/>
                    <a:pt x="529593" y="253563"/>
                    <a:pt x="601348" y="254198"/>
                  </a:cubicBezTo>
                  <a:cubicBezTo>
                    <a:pt x="606428" y="254833"/>
                    <a:pt x="610873" y="254833"/>
                    <a:pt x="615318" y="254833"/>
                  </a:cubicBezTo>
                  <a:close/>
                </a:path>
              </a:pathLst>
            </a:custGeom>
            <a:solidFill>
              <a:srgbClr val="FFFFFF"/>
            </a:solidFill>
            <a:ln w="6350" cap="flat">
              <a:noFill/>
              <a:prstDash val="solid"/>
              <a:miter/>
            </a:ln>
          </p:spPr>
          <p:txBody>
            <a:bodyPr rtlCol="0" anchor="ctr"/>
            <a:lstStyle/>
            <a:p>
              <a:endParaRPr lang="en-GB"/>
            </a:p>
          </p:txBody>
        </p:sp>
        <p:sp>
          <p:nvSpPr>
            <p:cNvPr id="148" name="Freeform 147"/>
            <p:cNvSpPr/>
            <p:nvPr/>
          </p:nvSpPr>
          <p:spPr>
            <a:xfrm>
              <a:off x="-6287134" y="3201669"/>
              <a:ext cx="100990" cy="87630"/>
            </a:xfrm>
            <a:custGeom>
              <a:avLst/>
              <a:gdLst>
                <a:gd name="connsiteX0" fmla="*/ -2656 w 100990"/>
                <a:gd name="connsiteY0" fmla="*/ 86558 h 87630"/>
                <a:gd name="connsiteX1" fmla="*/ -2656 w 100990"/>
                <a:gd name="connsiteY1" fmla="*/ 86558 h 87630"/>
                <a:gd name="connsiteX2" fmla="*/ 4329 w 100990"/>
                <a:gd name="connsiteY2" fmla="*/ 50364 h 87630"/>
                <a:gd name="connsiteX3" fmla="*/ 15124 w 100990"/>
                <a:gd name="connsiteY3" fmla="*/ 1468 h 87630"/>
                <a:gd name="connsiteX4" fmla="*/ 18934 w 100990"/>
                <a:gd name="connsiteY4" fmla="*/ -1072 h 87630"/>
                <a:gd name="connsiteX5" fmla="*/ 67194 w 100990"/>
                <a:gd name="connsiteY5" fmla="*/ -436 h 87630"/>
                <a:gd name="connsiteX6" fmla="*/ 75449 w 100990"/>
                <a:gd name="connsiteY6" fmla="*/ 198 h 87630"/>
                <a:gd name="connsiteX7" fmla="*/ 98309 w 100990"/>
                <a:gd name="connsiteY7" fmla="*/ 24964 h 87630"/>
                <a:gd name="connsiteX8" fmla="*/ 58304 w 100990"/>
                <a:gd name="connsiteY8" fmla="*/ 84653 h 87630"/>
                <a:gd name="connsiteX9" fmla="*/ 48144 w 100990"/>
                <a:gd name="connsiteY9" fmla="*/ 86558 h 87630"/>
                <a:gd name="connsiteX10" fmla="*/ -2656 w 100990"/>
                <a:gd name="connsiteY10" fmla="*/ 86558 h 87630"/>
                <a:gd name="connsiteX11" fmla="*/ 46239 w 100990"/>
                <a:gd name="connsiteY11" fmla="*/ 18614 h 87630"/>
                <a:gd name="connsiteX12" fmla="*/ 46239 w 100990"/>
                <a:gd name="connsiteY12" fmla="*/ 18614 h 87630"/>
                <a:gd name="connsiteX13" fmla="*/ 36079 w 100990"/>
                <a:gd name="connsiteY13" fmla="*/ 65603 h 87630"/>
                <a:gd name="connsiteX14" fmla="*/ 55129 w 100990"/>
                <a:gd name="connsiteY14" fmla="*/ 54808 h 87630"/>
                <a:gd name="connsiteX15" fmla="*/ 60844 w 100990"/>
                <a:gd name="connsiteY15" fmla="*/ 32583 h 87630"/>
                <a:gd name="connsiteX16" fmla="*/ 46239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6" y="73858"/>
                    <a:pt x="1789" y="62428"/>
                    <a:pt x="4329" y="50364"/>
                  </a:cubicBezTo>
                  <a:cubicBezTo>
                    <a:pt x="8139" y="34489"/>
                    <a:pt x="11314" y="17978"/>
                    <a:pt x="15124" y="1468"/>
                  </a:cubicBezTo>
                  <a:cubicBezTo>
                    <a:pt x="15124" y="-436"/>
                    <a:pt x="15759" y="-1072"/>
                    <a:pt x="18934" y="-1072"/>
                  </a:cubicBezTo>
                  <a:cubicBezTo>
                    <a:pt x="35444" y="-1072"/>
                    <a:pt x="50684" y="-1072"/>
                    <a:pt x="67194" y="-436"/>
                  </a:cubicBezTo>
                  <a:cubicBezTo>
                    <a:pt x="69734" y="-436"/>
                    <a:pt x="72909" y="-436"/>
                    <a:pt x="75449" y="198"/>
                  </a:cubicBezTo>
                  <a:cubicBezTo>
                    <a:pt x="90054" y="4008"/>
                    <a:pt x="97039" y="11628"/>
                    <a:pt x="98309" y="24964"/>
                  </a:cubicBezTo>
                  <a:cubicBezTo>
                    <a:pt x="98944" y="49093"/>
                    <a:pt x="87514" y="76398"/>
                    <a:pt x="58304" y="84653"/>
                  </a:cubicBezTo>
                  <a:cubicBezTo>
                    <a:pt x="54494" y="85289"/>
                    <a:pt x="51319" y="86558"/>
                    <a:pt x="48144" y="86558"/>
                  </a:cubicBezTo>
                  <a:cubicBezTo>
                    <a:pt x="30999" y="86558"/>
                    <a:pt x="14489" y="86558"/>
                    <a:pt x="-2656" y="86558"/>
                  </a:cubicBezTo>
                  <a:close/>
                  <a:moveTo>
                    <a:pt x="46239" y="18614"/>
                  </a:moveTo>
                  <a:lnTo>
                    <a:pt x="46239" y="18614"/>
                  </a:lnTo>
                  <a:cubicBezTo>
                    <a:pt x="43699" y="34489"/>
                    <a:pt x="39889" y="49728"/>
                    <a:pt x="36079" y="65603"/>
                  </a:cubicBezTo>
                  <a:cubicBezTo>
                    <a:pt x="46239" y="66239"/>
                    <a:pt x="52589" y="63698"/>
                    <a:pt x="55129" y="54808"/>
                  </a:cubicBezTo>
                  <a:cubicBezTo>
                    <a:pt x="57669" y="47823"/>
                    <a:pt x="59574" y="39568"/>
                    <a:pt x="60844" y="32583"/>
                  </a:cubicBezTo>
                  <a:cubicBezTo>
                    <a:pt x="62749" y="22423"/>
                    <a:pt x="58304" y="17978"/>
                    <a:pt x="46239" y="18614"/>
                  </a:cubicBezTo>
                  <a:close/>
                </a:path>
              </a:pathLst>
            </a:custGeom>
            <a:solidFill>
              <a:srgbClr val="FFFFFF"/>
            </a:solidFill>
            <a:ln w="6350" cap="flat">
              <a:noFill/>
              <a:prstDash val="solid"/>
              <a:miter/>
            </a:ln>
          </p:spPr>
          <p:txBody>
            <a:bodyPr rtlCol="0" anchor="ctr"/>
            <a:lstStyle/>
            <a:p>
              <a:endParaRPr lang="en-GB"/>
            </a:p>
          </p:txBody>
        </p:sp>
        <p:sp>
          <p:nvSpPr>
            <p:cNvPr id="149" name="Freeform 148"/>
            <p:cNvSpPr/>
            <p:nvPr/>
          </p:nvSpPr>
          <p:spPr>
            <a:xfrm>
              <a:off x="-6184178" y="3201034"/>
              <a:ext cx="97068" cy="90523"/>
            </a:xfrm>
            <a:custGeom>
              <a:avLst/>
              <a:gdLst>
                <a:gd name="connsiteX0" fmla="*/ 11862 w 97068"/>
                <a:gd name="connsiteY0" fmla="*/ -1072 h 90523"/>
                <a:gd name="connsiteX1" fmla="*/ 11862 w 97068"/>
                <a:gd name="connsiteY1" fmla="*/ -1072 h 90523"/>
                <a:gd name="connsiteX2" fmla="*/ 46152 w 97068"/>
                <a:gd name="connsiteY2" fmla="*/ -1072 h 90523"/>
                <a:gd name="connsiteX3" fmla="*/ 42342 w 97068"/>
                <a:gd name="connsiteY3" fmla="*/ 14803 h 90523"/>
                <a:gd name="connsiteX4" fmla="*/ 33452 w 97068"/>
                <a:gd name="connsiteY4" fmla="*/ 56078 h 90523"/>
                <a:gd name="connsiteX5" fmla="*/ 37262 w 97068"/>
                <a:gd name="connsiteY5" fmla="*/ 65603 h 90523"/>
                <a:gd name="connsiteX6" fmla="*/ 46787 w 97068"/>
                <a:gd name="connsiteY6" fmla="*/ 59253 h 90523"/>
                <a:gd name="connsiteX7" fmla="*/ 51867 w 97068"/>
                <a:gd name="connsiteY7" fmla="*/ 36393 h 90523"/>
                <a:gd name="connsiteX8" fmla="*/ 58852 w 97068"/>
                <a:gd name="connsiteY8" fmla="*/ 1468 h 90523"/>
                <a:gd name="connsiteX9" fmla="*/ 61392 w 97068"/>
                <a:gd name="connsiteY9" fmla="*/ -1072 h 90523"/>
                <a:gd name="connsiteX10" fmla="*/ 94412 w 97068"/>
                <a:gd name="connsiteY10" fmla="*/ -1072 h 90523"/>
                <a:gd name="connsiteX11" fmla="*/ 89967 w 97068"/>
                <a:gd name="connsiteY11" fmla="*/ 21153 h 90523"/>
                <a:gd name="connsiteX12" fmla="*/ 81712 w 97068"/>
                <a:gd name="connsiteY12" fmla="*/ 56713 h 90523"/>
                <a:gd name="connsiteX13" fmla="*/ 45517 w 97068"/>
                <a:gd name="connsiteY13" fmla="*/ 89098 h 90523"/>
                <a:gd name="connsiteX14" fmla="*/ 15672 w 97068"/>
                <a:gd name="connsiteY14" fmla="*/ 87193 h 90523"/>
                <a:gd name="connsiteX15" fmla="*/ -2108 w 97068"/>
                <a:gd name="connsiteY15" fmla="*/ 59253 h 90523"/>
                <a:gd name="connsiteX16" fmla="*/ 10592 w 97068"/>
                <a:gd name="connsiteY16" fmla="*/ 198 h 90523"/>
                <a:gd name="connsiteX17" fmla="*/ 11862 w 97068"/>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8"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7"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FFFFFF"/>
            </a:solidFill>
            <a:ln w="6350" cap="flat">
              <a:noFill/>
              <a:prstDash val="solid"/>
              <a:miter/>
            </a:ln>
          </p:spPr>
          <p:txBody>
            <a:bodyPr rtlCol="0" anchor="ctr"/>
            <a:lstStyle/>
            <a:p>
              <a:endParaRPr lang="en-GB"/>
            </a:p>
          </p:txBody>
        </p:sp>
        <p:sp>
          <p:nvSpPr>
            <p:cNvPr id="150" name="Freeform 149"/>
            <p:cNvSpPr/>
            <p:nvPr/>
          </p:nvSpPr>
          <p:spPr>
            <a:xfrm>
              <a:off x="-6008369"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1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4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4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4" y="88463"/>
                    <a:pt x="27189" y="90368"/>
                    <a:pt x="17664" y="89098"/>
                  </a:cubicBezTo>
                  <a:cubicBezTo>
                    <a:pt x="11314" y="88463"/>
                    <a:pt x="4329" y="89098"/>
                    <a:pt x="-2656" y="89098"/>
                  </a:cubicBezTo>
                  <a:cubicBezTo>
                    <a:pt x="-2656" y="87193"/>
                    <a:pt x="-2021" y="86558"/>
                    <a:pt x="-2021"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4"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4" y="52268"/>
                  </a:cubicBezTo>
                  <a:lnTo>
                    <a:pt x="60844" y="52268"/>
                  </a:lnTo>
                  <a:close/>
                </a:path>
              </a:pathLst>
            </a:custGeom>
            <a:solidFill>
              <a:srgbClr val="FFFFFF"/>
            </a:solidFill>
            <a:ln w="6350" cap="flat">
              <a:noFill/>
              <a:prstDash val="solid"/>
              <a:miter/>
            </a:ln>
          </p:spPr>
          <p:txBody>
            <a:bodyPr rtlCol="0" anchor="ctr"/>
            <a:lstStyle/>
            <a:p>
              <a:endParaRPr lang="en-GB"/>
            </a:p>
          </p:txBody>
        </p:sp>
        <p:sp>
          <p:nvSpPr>
            <p:cNvPr id="151" name="Freeform 150"/>
            <p:cNvSpPr/>
            <p:nvPr/>
          </p:nvSpPr>
          <p:spPr>
            <a:xfrm>
              <a:off x="-6088476" y="3199102"/>
              <a:ext cx="92085" cy="91730"/>
            </a:xfrm>
            <a:custGeom>
              <a:avLst/>
              <a:gdLst>
                <a:gd name="connsiteX0" fmla="*/ 84435 w 92085"/>
                <a:gd name="connsiteY0" fmla="*/ 57376 h 91730"/>
                <a:gd name="connsiteX1" fmla="*/ 84435 w 92085"/>
                <a:gd name="connsiteY1" fmla="*/ 57376 h 91730"/>
                <a:gd name="connsiteX2" fmla="*/ 76180 w 92085"/>
                <a:gd name="connsiteY2" fmla="*/ 73886 h 91730"/>
                <a:gd name="connsiteX3" fmla="*/ 38080 w 92085"/>
                <a:gd name="connsiteY3" fmla="*/ 90395 h 91730"/>
                <a:gd name="connsiteX4" fmla="*/ 20935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5 w 92085"/>
                <a:gd name="connsiteY8" fmla="*/ 861 h 91730"/>
                <a:gd name="connsiteX9" fmla="*/ 88245 w 92085"/>
                <a:gd name="connsiteY9" fmla="*/ 33881 h 91730"/>
                <a:gd name="connsiteX10" fmla="*/ 73005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5 w 92085"/>
                <a:gd name="connsiteY17" fmla="*/ 64995 h 91730"/>
                <a:gd name="connsiteX18" fmla="*/ 47605 w 92085"/>
                <a:gd name="connsiteY18" fmla="*/ 64361 h 91730"/>
                <a:gd name="connsiteX19" fmla="*/ 59035 w 92085"/>
                <a:gd name="connsiteY19" fmla="*/ 57376 h 91730"/>
                <a:gd name="connsiteX20" fmla="*/ 81260 w 92085"/>
                <a:gd name="connsiteY20" fmla="*/ 57376 h 91730"/>
                <a:gd name="connsiteX21" fmla="*/ 84435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5" y="57376"/>
                  </a:moveTo>
                  <a:lnTo>
                    <a:pt x="84435" y="57376"/>
                  </a:lnTo>
                  <a:cubicBezTo>
                    <a:pt x="82530" y="63726"/>
                    <a:pt x="79990" y="68806"/>
                    <a:pt x="76180" y="73886"/>
                  </a:cubicBezTo>
                  <a:cubicBezTo>
                    <a:pt x="66020" y="85316"/>
                    <a:pt x="52685" y="90395"/>
                    <a:pt x="38080" y="90395"/>
                  </a:cubicBezTo>
                  <a:cubicBezTo>
                    <a:pt x="32365" y="91031"/>
                    <a:pt x="26650" y="90395"/>
                    <a:pt x="20935" y="89761"/>
                  </a:cubicBezTo>
                  <a:cubicBezTo>
                    <a:pt x="6330" y="85951"/>
                    <a:pt x="-1290" y="76426"/>
                    <a:pt x="-2560" y="62456"/>
                  </a:cubicBezTo>
                  <a:cubicBezTo>
                    <a:pt x="-3195" y="49756"/>
                    <a:pt x="-655" y="38326"/>
                    <a:pt x="4425" y="28166"/>
                  </a:cubicBezTo>
                  <a:cubicBezTo>
                    <a:pt x="13315" y="8481"/>
                    <a:pt x="34270" y="-1680"/>
                    <a:pt x="57765" y="-1044"/>
                  </a:cubicBezTo>
                  <a:cubicBezTo>
                    <a:pt x="61575" y="-409"/>
                    <a:pt x="64115" y="-409"/>
                    <a:pt x="66655" y="861"/>
                  </a:cubicBezTo>
                  <a:cubicBezTo>
                    <a:pt x="84435" y="4670"/>
                    <a:pt x="92690" y="16101"/>
                    <a:pt x="88245" y="33881"/>
                  </a:cubicBezTo>
                  <a:lnTo>
                    <a:pt x="73005" y="33881"/>
                  </a:lnTo>
                  <a:lnTo>
                    <a:pt x="56495" y="33881"/>
                  </a:lnTo>
                  <a:lnTo>
                    <a:pt x="56495" y="30070"/>
                  </a:lnTo>
                  <a:cubicBezTo>
                    <a:pt x="56495" y="23086"/>
                    <a:pt x="50780" y="19276"/>
                    <a:pt x="45700" y="23086"/>
                  </a:cubicBezTo>
                  <a:cubicBezTo>
                    <a:pt x="43160" y="24991"/>
                    <a:pt x="39985" y="27531"/>
                    <a:pt x="39350" y="29436"/>
                  </a:cubicBezTo>
                  <a:cubicBezTo>
                    <a:pt x="36810" y="40231"/>
                    <a:pt x="34905" y="50391"/>
                    <a:pt x="33000" y="60551"/>
                  </a:cubicBezTo>
                  <a:cubicBezTo>
                    <a:pt x="32365" y="64361"/>
                    <a:pt x="33000" y="67536"/>
                    <a:pt x="37445" y="69441"/>
                  </a:cubicBezTo>
                  <a:cubicBezTo>
                    <a:pt x="41255" y="70076"/>
                    <a:pt x="44430" y="68806"/>
                    <a:pt x="47605" y="64995"/>
                  </a:cubicBezTo>
                  <a:lnTo>
                    <a:pt x="47605" y="64361"/>
                  </a:lnTo>
                  <a:cubicBezTo>
                    <a:pt x="49510" y="57376"/>
                    <a:pt x="53955" y="57376"/>
                    <a:pt x="59035" y="57376"/>
                  </a:cubicBezTo>
                  <a:cubicBezTo>
                    <a:pt x="67290" y="58011"/>
                    <a:pt x="74275" y="57376"/>
                    <a:pt x="81260" y="57376"/>
                  </a:cubicBezTo>
                  <a:lnTo>
                    <a:pt x="84435" y="57376"/>
                  </a:lnTo>
                  <a:close/>
                </a:path>
              </a:pathLst>
            </a:custGeom>
            <a:solidFill>
              <a:srgbClr val="FFFFFF"/>
            </a:solidFill>
            <a:ln w="6350" cap="flat">
              <a:noFill/>
              <a:prstDash val="solid"/>
              <a:miter/>
            </a:ln>
          </p:spPr>
          <p:txBody>
            <a:bodyPr rtlCol="0" anchor="ctr"/>
            <a:lstStyle/>
            <a:p>
              <a:endParaRPr lang="en-GB"/>
            </a:p>
          </p:txBody>
        </p:sp>
        <p:sp>
          <p:nvSpPr>
            <p:cNvPr id="152" name="Freeform 151"/>
            <p:cNvSpPr/>
            <p:nvPr/>
          </p:nvSpPr>
          <p:spPr>
            <a:xfrm>
              <a:off x="-5904865" y="3201034"/>
              <a:ext cx="82550" cy="88265"/>
            </a:xfrm>
            <a:custGeom>
              <a:avLst/>
              <a:gdLst>
                <a:gd name="connsiteX0" fmla="*/ 39889 w 82550"/>
                <a:gd name="connsiteY0" fmla="*/ 87193 h 88265"/>
                <a:gd name="connsiteX1" fmla="*/ 39889 w 82550"/>
                <a:gd name="connsiteY1" fmla="*/ 87193 h 88265"/>
                <a:gd name="connsiteX2" fmla="*/ 5599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4 w 82550"/>
                <a:gd name="connsiteY6" fmla="*/ -1072 h 88265"/>
                <a:gd name="connsiteX7" fmla="*/ 54494 w 82550"/>
                <a:gd name="connsiteY7" fmla="*/ -1072 h 88265"/>
                <a:gd name="connsiteX8" fmla="*/ 79894 w 82550"/>
                <a:gd name="connsiteY8" fmla="*/ -1072 h 88265"/>
                <a:gd name="connsiteX9" fmla="*/ 75449 w 82550"/>
                <a:gd name="connsiteY9" fmla="*/ 21153 h 88265"/>
                <a:gd name="connsiteX10" fmla="*/ 71639 w 82550"/>
                <a:gd name="connsiteY10" fmla="*/ 21788 h 88265"/>
                <a:gd name="connsiteX11" fmla="*/ 56399 w 82550"/>
                <a:gd name="connsiteY11" fmla="*/ 21788 h 88265"/>
                <a:gd name="connsiteX12" fmla="*/ 51954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9" y="87193"/>
                  </a:lnTo>
                  <a:cubicBezTo>
                    <a:pt x="10044" y="65603"/>
                    <a:pt x="14489" y="44648"/>
                    <a:pt x="19569" y="23058"/>
                  </a:cubicBezTo>
                  <a:lnTo>
                    <a:pt x="-2656" y="23058"/>
                  </a:lnTo>
                  <a:cubicBezTo>
                    <a:pt x="-751" y="14803"/>
                    <a:pt x="-116" y="7818"/>
                    <a:pt x="1789" y="833"/>
                  </a:cubicBezTo>
                  <a:cubicBezTo>
                    <a:pt x="2424" y="198"/>
                    <a:pt x="4329" y="-1072"/>
                    <a:pt x="6234" y="-1072"/>
                  </a:cubicBezTo>
                  <a:cubicBezTo>
                    <a:pt x="22109" y="-1072"/>
                    <a:pt x="37984" y="-1072"/>
                    <a:pt x="54494" y="-1072"/>
                  </a:cubicBezTo>
                  <a:lnTo>
                    <a:pt x="79894" y="-1072"/>
                  </a:lnTo>
                  <a:cubicBezTo>
                    <a:pt x="77989" y="7183"/>
                    <a:pt x="76084" y="14168"/>
                    <a:pt x="75449" y="21153"/>
                  </a:cubicBezTo>
                  <a:lnTo>
                    <a:pt x="71639" y="21788"/>
                  </a:lnTo>
                  <a:cubicBezTo>
                    <a:pt x="66559" y="21788"/>
                    <a:pt x="62114" y="22423"/>
                    <a:pt x="56399" y="21788"/>
                  </a:cubicBezTo>
                  <a:cubicBezTo>
                    <a:pt x="53859" y="21788"/>
                    <a:pt x="52589" y="22423"/>
                    <a:pt x="51954" y="25598"/>
                  </a:cubicBezTo>
                  <a:cubicBezTo>
                    <a:pt x="48144" y="45283"/>
                    <a:pt x="44334" y="63698"/>
                    <a:pt x="39889" y="83383"/>
                  </a:cubicBezTo>
                  <a:cubicBezTo>
                    <a:pt x="41159" y="84653"/>
                    <a:pt x="41159" y="85288"/>
                    <a:pt x="39889" y="87193"/>
                  </a:cubicBezTo>
                  <a:close/>
                </a:path>
              </a:pathLst>
            </a:custGeom>
            <a:solidFill>
              <a:srgbClr val="FFFFFF"/>
            </a:solidFill>
            <a:ln w="6350" cap="flat">
              <a:noFill/>
              <a:prstDash val="solid"/>
              <a:miter/>
            </a:ln>
          </p:spPr>
          <p:txBody>
            <a:bodyPr rtlCol="0" anchor="ctr"/>
            <a:lstStyle/>
            <a:p>
              <a:endParaRPr lang="en-GB"/>
            </a:p>
          </p:txBody>
        </p:sp>
        <p:sp>
          <p:nvSpPr>
            <p:cNvPr id="153" name="Freeform 152"/>
            <p:cNvSpPr/>
            <p:nvPr/>
          </p:nvSpPr>
          <p:spPr>
            <a:xfrm>
              <a:off x="-5833109" y="3200400"/>
              <a:ext cx="52704" cy="88900"/>
            </a:xfrm>
            <a:custGeom>
              <a:avLst/>
              <a:gdLst>
                <a:gd name="connsiteX0" fmla="*/ 50049 w 52704"/>
                <a:gd name="connsiteY0" fmla="*/ -437 h 88900"/>
                <a:gd name="connsiteX1" fmla="*/ 50049 w 52704"/>
                <a:gd name="connsiteY1" fmla="*/ -437 h 88900"/>
                <a:gd name="connsiteX2" fmla="*/ 31634 w 52704"/>
                <a:gd name="connsiteY2" fmla="*/ 87828 h 88900"/>
                <a:gd name="connsiteX3" fmla="*/ -2656 w 52704"/>
                <a:gd name="connsiteY3" fmla="*/ 87828 h 88900"/>
                <a:gd name="connsiteX4" fmla="*/ 3694 w 52704"/>
                <a:gd name="connsiteY4" fmla="*/ 55443 h 88900"/>
                <a:gd name="connsiteX5" fmla="*/ 15124 w 52704"/>
                <a:gd name="connsiteY5" fmla="*/ 2738 h 88900"/>
                <a:gd name="connsiteX6" fmla="*/ 17664 w 52704"/>
                <a:gd name="connsiteY6" fmla="*/ -1072 h 88900"/>
                <a:gd name="connsiteX7" fmla="*/ 50049 w 52704"/>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4" h="88900">
                  <a:moveTo>
                    <a:pt x="50049" y="-437"/>
                  </a:moveTo>
                  <a:lnTo>
                    <a:pt x="50049" y="-437"/>
                  </a:lnTo>
                  <a:cubicBezTo>
                    <a:pt x="43699" y="28773"/>
                    <a:pt x="37984" y="58618"/>
                    <a:pt x="31634" y="87828"/>
                  </a:cubicBezTo>
                  <a:lnTo>
                    <a:pt x="-2656" y="87828"/>
                  </a:lnTo>
                  <a:cubicBezTo>
                    <a:pt x="-751" y="77033"/>
                    <a:pt x="1789" y="66238"/>
                    <a:pt x="3694" y="55443"/>
                  </a:cubicBezTo>
                  <a:cubicBezTo>
                    <a:pt x="6869" y="37663"/>
                    <a:pt x="10679" y="19883"/>
                    <a:pt x="15124" y="2738"/>
                  </a:cubicBezTo>
                  <a:cubicBezTo>
                    <a:pt x="15124" y="833"/>
                    <a:pt x="17029" y="-1072"/>
                    <a:pt x="17664" y="-1072"/>
                  </a:cubicBezTo>
                  <a:cubicBezTo>
                    <a:pt x="28459" y="-437"/>
                    <a:pt x="38619" y="-437"/>
                    <a:pt x="50049" y="-437"/>
                  </a:cubicBezTo>
                  <a:close/>
                </a:path>
              </a:pathLst>
            </a:custGeom>
            <a:solidFill>
              <a:srgbClr val="FFFFFF"/>
            </a:solidFill>
            <a:ln w="6350" cap="flat">
              <a:noFill/>
              <a:prstDash val="solid"/>
              <a:miter/>
            </a:ln>
          </p:spPr>
          <p:txBody>
            <a:bodyPr rtlCol="0" anchor="ctr"/>
            <a:lstStyle/>
            <a:p>
              <a:endParaRPr lang="en-GB"/>
            </a:p>
          </p:txBody>
        </p:sp>
      </p:grpSp>
      <p:grpSp>
        <p:nvGrpSpPr>
          <p:cNvPr id="154" name="Graphic 79"/>
          <p:cNvGrpSpPr/>
          <p:nvPr userDrawn="1"/>
        </p:nvGrpSpPr>
        <p:grpSpPr>
          <a:xfrm>
            <a:off x="5765166" y="3042000"/>
            <a:ext cx="661669" cy="753109"/>
            <a:chOff x="-7950834" y="3050540"/>
            <a:chExt cx="661669" cy="753109"/>
          </a:xfrm>
        </p:grpSpPr>
        <p:sp>
          <p:nvSpPr>
            <p:cNvPr id="155" name="Freeform 154"/>
            <p:cNvSpPr/>
            <p:nvPr/>
          </p:nvSpPr>
          <p:spPr>
            <a:xfrm>
              <a:off x="-7947659" y="3053715"/>
              <a:ext cx="655319" cy="746125"/>
            </a:xfrm>
            <a:custGeom>
              <a:avLst/>
              <a:gdLst>
                <a:gd name="connsiteX0" fmla="*/ -444 w 655319"/>
                <a:gd name="connsiteY0" fmla="*/ 106370 h 746125"/>
                <a:gd name="connsiteX1" fmla="*/ 33211 w 655319"/>
                <a:gd name="connsiteY1" fmla="*/ 51760 h 746125"/>
                <a:gd name="connsiteX2" fmla="*/ 327216 w 655319"/>
                <a:gd name="connsiteY2" fmla="*/ -310 h 746125"/>
                <a:gd name="connsiteX3" fmla="*/ 621221 w 655319"/>
                <a:gd name="connsiteY3" fmla="*/ 51760 h 746125"/>
                <a:gd name="connsiteX4" fmla="*/ 654876 w 655319"/>
                <a:gd name="connsiteY4" fmla="*/ 106370 h 746125"/>
                <a:gd name="connsiteX5" fmla="*/ 354521 w 655319"/>
                <a:gd name="connsiteY5" fmla="*/ 734385 h 746125"/>
                <a:gd name="connsiteX6" fmla="*/ 327851 w 655319"/>
                <a:gd name="connsiteY6" fmla="*/ 745815 h 746125"/>
                <a:gd name="connsiteX7" fmla="*/ 301181 w 655319"/>
                <a:gd name="connsiteY7" fmla="*/ 734385 h 746125"/>
                <a:gd name="connsiteX8" fmla="*/ -444 w 655319"/>
                <a:gd name="connsiteY8" fmla="*/ 106370 h 7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319" h="746125">
                  <a:moveTo>
                    <a:pt x="-444" y="106370"/>
                  </a:moveTo>
                  <a:cubicBezTo>
                    <a:pt x="-444" y="79065"/>
                    <a:pt x="12256" y="60650"/>
                    <a:pt x="33211" y="51760"/>
                  </a:cubicBezTo>
                  <a:cubicBezTo>
                    <a:pt x="131636" y="7945"/>
                    <a:pt x="246571" y="-310"/>
                    <a:pt x="327216" y="-310"/>
                  </a:cubicBezTo>
                  <a:cubicBezTo>
                    <a:pt x="407861" y="-310"/>
                    <a:pt x="522161" y="7945"/>
                    <a:pt x="621221" y="51760"/>
                  </a:cubicBezTo>
                  <a:cubicBezTo>
                    <a:pt x="642176" y="61285"/>
                    <a:pt x="654876" y="79700"/>
                    <a:pt x="654876" y="106370"/>
                  </a:cubicBezTo>
                  <a:cubicBezTo>
                    <a:pt x="654876" y="410535"/>
                    <a:pt x="538671" y="601670"/>
                    <a:pt x="354521" y="734385"/>
                  </a:cubicBezTo>
                  <a:cubicBezTo>
                    <a:pt x="345631" y="740735"/>
                    <a:pt x="336741" y="745815"/>
                    <a:pt x="327851" y="745815"/>
                  </a:cubicBezTo>
                  <a:cubicBezTo>
                    <a:pt x="318961" y="745815"/>
                    <a:pt x="309436" y="740735"/>
                    <a:pt x="301181" y="734385"/>
                  </a:cubicBezTo>
                  <a:cubicBezTo>
                    <a:pt x="116396" y="601670"/>
                    <a:pt x="-444" y="411170"/>
                    <a:pt x="-444" y="106370"/>
                  </a:cubicBezTo>
                  <a:close/>
                </a:path>
              </a:pathLst>
            </a:custGeom>
            <a:solidFill>
              <a:srgbClr val="FFFFFF"/>
            </a:solidFill>
            <a:ln w="6350" cap="flat">
              <a:noFill/>
              <a:prstDash val="solid"/>
              <a:miter/>
            </a:ln>
          </p:spPr>
          <p:txBody>
            <a:bodyPr rtlCol="0" anchor="ctr"/>
            <a:lstStyle/>
            <a:p>
              <a:endParaRPr lang="en-GB"/>
            </a:p>
          </p:txBody>
        </p:sp>
        <p:sp>
          <p:nvSpPr>
            <p:cNvPr id="156" name="Freeform 155"/>
            <p:cNvSpPr/>
            <p:nvPr/>
          </p:nvSpPr>
          <p:spPr>
            <a:xfrm>
              <a:off x="-7950834" y="3050540"/>
              <a:ext cx="661669" cy="753109"/>
            </a:xfrm>
            <a:custGeom>
              <a:avLst/>
              <a:gdLst>
                <a:gd name="connsiteX0" fmla="*/ 330391 w 661669"/>
                <a:gd name="connsiteY0" fmla="*/ 745815 h 753109"/>
                <a:gd name="connsiteX1" fmla="*/ 355156 w 661669"/>
                <a:gd name="connsiteY1" fmla="*/ 735020 h 753109"/>
                <a:gd name="connsiteX2" fmla="*/ 654241 w 661669"/>
                <a:gd name="connsiteY2" fmla="*/ 109545 h 753109"/>
                <a:gd name="connsiteX3" fmla="*/ 622491 w 661669"/>
                <a:gd name="connsiteY3" fmla="*/ 57475 h 753109"/>
                <a:gd name="connsiteX4" fmla="*/ 329756 w 661669"/>
                <a:gd name="connsiteY4" fmla="*/ 5405 h 753109"/>
                <a:gd name="connsiteX5" fmla="*/ 37021 w 661669"/>
                <a:gd name="connsiteY5" fmla="*/ 57475 h 753109"/>
                <a:gd name="connsiteX6" fmla="*/ 5271 w 661669"/>
                <a:gd name="connsiteY6" fmla="*/ 109545 h 753109"/>
                <a:gd name="connsiteX7" fmla="*/ 304356 w 661669"/>
                <a:gd name="connsiteY7" fmla="*/ 735020 h 753109"/>
                <a:gd name="connsiteX8" fmla="*/ 330391 w 661669"/>
                <a:gd name="connsiteY8" fmla="*/ 745815 h 753109"/>
                <a:gd name="connsiteX9" fmla="*/ 301816 w 661669"/>
                <a:gd name="connsiteY9" fmla="*/ 740735 h 753109"/>
                <a:gd name="connsiteX10" fmla="*/ -444 w 661669"/>
                <a:gd name="connsiteY10" fmla="*/ 109545 h 753109"/>
                <a:gd name="connsiteX11" fmla="*/ 35116 w 661669"/>
                <a:gd name="connsiteY11" fmla="*/ 51760 h 753109"/>
                <a:gd name="connsiteX12" fmla="*/ 330391 w 661669"/>
                <a:gd name="connsiteY12" fmla="*/ -310 h 753109"/>
                <a:gd name="connsiteX13" fmla="*/ 625666 w 661669"/>
                <a:gd name="connsiteY13" fmla="*/ 51760 h 753109"/>
                <a:gd name="connsiteX14" fmla="*/ 661226 w 661669"/>
                <a:gd name="connsiteY14" fmla="*/ 109545 h 753109"/>
                <a:gd name="connsiteX15" fmla="*/ 358966 w 661669"/>
                <a:gd name="connsiteY15" fmla="*/ 740735 h 753109"/>
                <a:gd name="connsiteX16" fmla="*/ 330391 w 661669"/>
                <a:gd name="connsiteY16" fmla="*/ 752800 h 753109"/>
                <a:gd name="connsiteX17" fmla="*/ 301816 w 661669"/>
                <a:gd name="connsiteY17" fmla="*/ 740735 h 753109"/>
                <a:gd name="connsiteX18" fmla="*/ 301816 w 661669"/>
                <a:gd name="connsiteY18" fmla="*/ 740735 h 753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1669" h="753109">
                  <a:moveTo>
                    <a:pt x="330391" y="745815"/>
                  </a:moveTo>
                  <a:cubicBezTo>
                    <a:pt x="338011" y="745815"/>
                    <a:pt x="346901" y="741370"/>
                    <a:pt x="355156" y="735020"/>
                  </a:cubicBezTo>
                  <a:cubicBezTo>
                    <a:pt x="538671" y="602305"/>
                    <a:pt x="654241" y="413075"/>
                    <a:pt x="654241" y="109545"/>
                  </a:cubicBezTo>
                  <a:cubicBezTo>
                    <a:pt x="654241" y="83510"/>
                    <a:pt x="642176" y="66365"/>
                    <a:pt x="622491" y="57475"/>
                  </a:cubicBezTo>
                  <a:cubicBezTo>
                    <a:pt x="524701" y="14295"/>
                    <a:pt x="410401" y="5405"/>
                    <a:pt x="329756" y="5405"/>
                  </a:cubicBezTo>
                  <a:cubicBezTo>
                    <a:pt x="249111" y="5405"/>
                    <a:pt x="134811" y="13660"/>
                    <a:pt x="37021" y="57475"/>
                  </a:cubicBezTo>
                  <a:cubicBezTo>
                    <a:pt x="17336" y="66365"/>
                    <a:pt x="5271" y="83510"/>
                    <a:pt x="5271" y="109545"/>
                  </a:cubicBezTo>
                  <a:cubicBezTo>
                    <a:pt x="5271" y="413075"/>
                    <a:pt x="121476" y="602305"/>
                    <a:pt x="304356" y="735020"/>
                  </a:cubicBezTo>
                  <a:cubicBezTo>
                    <a:pt x="313881" y="741370"/>
                    <a:pt x="322771" y="745815"/>
                    <a:pt x="330391" y="745815"/>
                  </a:cubicBezTo>
                  <a:close/>
                  <a:moveTo>
                    <a:pt x="301816" y="740735"/>
                  </a:moveTo>
                  <a:cubicBezTo>
                    <a:pt x="117031" y="606750"/>
                    <a:pt x="-444" y="415615"/>
                    <a:pt x="-444" y="109545"/>
                  </a:cubicBezTo>
                  <a:cubicBezTo>
                    <a:pt x="-444" y="80970"/>
                    <a:pt x="12891" y="61285"/>
                    <a:pt x="35116" y="51760"/>
                  </a:cubicBezTo>
                  <a:cubicBezTo>
                    <a:pt x="134176" y="7945"/>
                    <a:pt x="249746" y="-310"/>
                    <a:pt x="330391" y="-310"/>
                  </a:cubicBezTo>
                  <a:cubicBezTo>
                    <a:pt x="411036" y="-310"/>
                    <a:pt x="526606" y="7945"/>
                    <a:pt x="625666" y="51760"/>
                  </a:cubicBezTo>
                  <a:cubicBezTo>
                    <a:pt x="647891" y="61285"/>
                    <a:pt x="661226" y="80970"/>
                    <a:pt x="661226" y="109545"/>
                  </a:cubicBezTo>
                  <a:cubicBezTo>
                    <a:pt x="661226" y="414980"/>
                    <a:pt x="544386" y="606750"/>
                    <a:pt x="358966" y="740735"/>
                  </a:cubicBezTo>
                  <a:cubicBezTo>
                    <a:pt x="350076" y="747085"/>
                    <a:pt x="339916" y="752800"/>
                    <a:pt x="330391" y="752800"/>
                  </a:cubicBezTo>
                  <a:cubicBezTo>
                    <a:pt x="320866" y="752800"/>
                    <a:pt x="310071" y="747085"/>
                    <a:pt x="301816" y="740735"/>
                  </a:cubicBezTo>
                  <a:lnTo>
                    <a:pt x="301816" y="740735"/>
                  </a:lnTo>
                  <a:close/>
                </a:path>
              </a:pathLst>
            </a:custGeom>
            <a:solidFill>
              <a:srgbClr val="002733"/>
            </a:solidFill>
            <a:ln w="6350" cap="flat">
              <a:noFill/>
              <a:prstDash val="solid"/>
              <a:miter/>
            </a:ln>
          </p:spPr>
          <p:txBody>
            <a:bodyPr rtlCol="0" anchor="ctr"/>
            <a:lstStyle/>
            <a:p>
              <a:endParaRPr lang="en-GB"/>
            </a:p>
          </p:txBody>
        </p:sp>
        <p:sp>
          <p:nvSpPr>
            <p:cNvPr id="157" name="Freeform 156"/>
            <p:cNvSpPr/>
            <p:nvPr/>
          </p:nvSpPr>
          <p:spPr>
            <a:xfrm>
              <a:off x="-7925434" y="3075940"/>
              <a:ext cx="610869" cy="702944"/>
            </a:xfrm>
            <a:custGeom>
              <a:avLst/>
              <a:gdLst>
                <a:gd name="connsiteX0" fmla="*/ 291021 w 610869"/>
                <a:gd name="connsiteY0" fmla="*/ 695015 h 702944"/>
                <a:gd name="connsiteX1" fmla="*/ -444 w 610869"/>
                <a:gd name="connsiteY1" fmla="*/ 84780 h 702944"/>
                <a:gd name="connsiteX2" fmla="*/ 19876 w 610869"/>
                <a:gd name="connsiteY2" fmla="*/ 49855 h 702944"/>
                <a:gd name="connsiteX3" fmla="*/ 304991 w 610869"/>
                <a:gd name="connsiteY3" fmla="*/ -310 h 702944"/>
                <a:gd name="connsiteX4" fmla="*/ 590106 w 610869"/>
                <a:gd name="connsiteY4" fmla="*/ 49855 h 702944"/>
                <a:gd name="connsiteX5" fmla="*/ 610426 w 610869"/>
                <a:gd name="connsiteY5" fmla="*/ 84780 h 702944"/>
                <a:gd name="connsiteX6" fmla="*/ 318961 w 610869"/>
                <a:gd name="connsiteY6" fmla="*/ 695015 h 702944"/>
                <a:gd name="connsiteX7" fmla="*/ 304991 w 610869"/>
                <a:gd name="connsiteY7" fmla="*/ 702635 h 702944"/>
                <a:gd name="connsiteX8" fmla="*/ 291021 w 610869"/>
                <a:gd name="connsiteY8" fmla="*/ 695015 h 702944"/>
                <a:gd name="connsiteX9" fmla="*/ 291021 w 610869"/>
                <a:gd name="connsiteY9" fmla="*/ 695015 h 70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869" h="702944">
                  <a:moveTo>
                    <a:pt x="291021" y="695015"/>
                  </a:moveTo>
                  <a:cubicBezTo>
                    <a:pt x="112586" y="566110"/>
                    <a:pt x="-444" y="381960"/>
                    <a:pt x="-444" y="84780"/>
                  </a:cubicBezTo>
                  <a:cubicBezTo>
                    <a:pt x="-444" y="65730"/>
                    <a:pt x="7176" y="55570"/>
                    <a:pt x="19876" y="49855"/>
                  </a:cubicBezTo>
                  <a:cubicBezTo>
                    <a:pt x="114491" y="7945"/>
                    <a:pt x="225616" y="-310"/>
                    <a:pt x="304991" y="-310"/>
                  </a:cubicBezTo>
                  <a:cubicBezTo>
                    <a:pt x="385001" y="-310"/>
                    <a:pt x="495491" y="7945"/>
                    <a:pt x="590106" y="49855"/>
                  </a:cubicBezTo>
                  <a:cubicBezTo>
                    <a:pt x="602806" y="55570"/>
                    <a:pt x="610426" y="65730"/>
                    <a:pt x="610426" y="84780"/>
                  </a:cubicBezTo>
                  <a:cubicBezTo>
                    <a:pt x="610426" y="381960"/>
                    <a:pt x="497396" y="566110"/>
                    <a:pt x="318961" y="695015"/>
                  </a:cubicBezTo>
                  <a:cubicBezTo>
                    <a:pt x="310706" y="700730"/>
                    <a:pt x="306261" y="702635"/>
                    <a:pt x="304991" y="702635"/>
                  </a:cubicBezTo>
                  <a:cubicBezTo>
                    <a:pt x="303721" y="702000"/>
                    <a:pt x="299276" y="700730"/>
                    <a:pt x="291021" y="695015"/>
                  </a:cubicBezTo>
                  <a:lnTo>
                    <a:pt x="291021" y="695015"/>
                  </a:lnTo>
                  <a:close/>
                </a:path>
              </a:pathLst>
            </a:custGeom>
            <a:solidFill>
              <a:srgbClr val="002733"/>
            </a:solidFill>
            <a:ln w="6350" cap="flat">
              <a:noFill/>
              <a:prstDash val="solid"/>
              <a:miter/>
            </a:ln>
          </p:spPr>
          <p:txBody>
            <a:bodyPr rtlCol="0" anchor="ctr"/>
            <a:lstStyle/>
            <a:p>
              <a:endParaRPr lang="en-GB"/>
            </a:p>
          </p:txBody>
        </p:sp>
        <p:sp>
          <p:nvSpPr>
            <p:cNvPr id="158" name="Freeform 157"/>
            <p:cNvSpPr/>
            <p:nvPr/>
          </p:nvSpPr>
          <p:spPr>
            <a:xfrm>
              <a:off x="-7784277" y="3196368"/>
              <a:ext cx="358841" cy="419048"/>
            </a:xfrm>
            <a:custGeom>
              <a:avLst/>
              <a:gdLst>
                <a:gd name="connsiteX0" fmla="*/ 128908 w 358841"/>
                <a:gd name="connsiteY0" fmla="*/ 323127 h 419048"/>
                <a:gd name="connsiteX1" fmla="*/ 124463 w 358841"/>
                <a:gd name="connsiteY1" fmla="*/ 321856 h 419048"/>
                <a:gd name="connsiteX2" fmla="*/ 120018 w 358841"/>
                <a:gd name="connsiteY2" fmla="*/ 328842 h 419048"/>
                <a:gd name="connsiteX3" fmla="*/ 117478 w 358841"/>
                <a:gd name="connsiteY3" fmla="*/ 335192 h 419048"/>
                <a:gd name="connsiteX4" fmla="*/ 128908 w 358841"/>
                <a:gd name="connsiteY4" fmla="*/ 323127 h 419048"/>
                <a:gd name="connsiteX5" fmla="*/ 128908 w 358841"/>
                <a:gd name="connsiteY5" fmla="*/ 323127 h 419048"/>
                <a:gd name="connsiteX6" fmla="*/ 59058 w 358841"/>
                <a:gd name="connsiteY6" fmla="*/ 332652 h 419048"/>
                <a:gd name="connsiteX7" fmla="*/ 56518 w 358841"/>
                <a:gd name="connsiteY7" fmla="*/ 327572 h 419048"/>
                <a:gd name="connsiteX8" fmla="*/ 50803 w 358841"/>
                <a:gd name="connsiteY8" fmla="*/ 339002 h 419048"/>
                <a:gd name="connsiteX9" fmla="*/ 46993 w 358841"/>
                <a:gd name="connsiteY9" fmla="*/ 350431 h 419048"/>
                <a:gd name="connsiteX10" fmla="*/ 47628 w 358841"/>
                <a:gd name="connsiteY10" fmla="*/ 350431 h 419048"/>
                <a:gd name="connsiteX11" fmla="*/ 59058 w 358841"/>
                <a:gd name="connsiteY11" fmla="*/ 332652 h 419048"/>
                <a:gd name="connsiteX12" fmla="*/ 59058 w 358841"/>
                <a:gd name="connsiteY12" fmla="*/ 332652 h 419048"/>
                <a:gd name="connsiteX13" fmla="*/ 125098 w 358841"/>
                <a:gd name="connsiteY13" fmla="*/ 168822 h 419048"/>
                <a:gd name="connsiteX14" fmla="*/ 122558 w 358841"/>
                <a:gd name="connsiteY14" fmla="*/ 162472 h 419048"/>
                <a:gd name="connsiteX15" fmla="*/ 118748 w 358841"/>
                <a:gd name="connsiteY15" fmla="*/ 173267 h 419048"/>
                <a:gd name="connsiteX16" fmla="*/ 111128 w 358841"/>
                <a:gd name="connsiteY16" fmla="*/ 188506 h 419048"/>
                <a:gd name="connsiteX17" fmla="*/ 119383 w 358841"/>
                <a:gd name="connsiteY17" fmla="*/ 196762 h 419048"/>
                <a:gd name="connsiteX18" fmla="*/ 142243 w 358841"/>
                <a:gd name="connsiteY18" fmla="*/ 194856 h 419048"/>
                <a:gd name="connsiteX19" fmla="*/ 142243 w 358841"/>
                <a:gd name="connsiteY19" fmla="*/ 194222 h 419048"/>
                <a:gd name="connsiteX20" fmla="*/ 125098 w 358841"/>
                <a:gd name="connsiteY20" fmla="*/ 168822 h 419048"/>
                <a:gd name="connsiteX21" fmla="*/ 125098 w 358841"/>
                <a:gd name="connsiteY21" fmla="*/ 168822 h 419048"/>
                <a:gd name="connsiteX22" fmla="*/ 199393 w 358841"/>
                <a:gd name="connsiteY22" fmla="*/ 141517 h 419048"/>
                <a:gd name="connsiteX23" fmla="*/ 201298 w 358841"/>
                <a:gd name="connsiteY23" fmla="*/ 144056 h 419048"/>
                <a:gd name="connsiteX24" fmla="*/ 213998 w 358841"/>
                <a:gd name="connsiteY24" fmla="*/ 154217 h 419048"/>
                <a:gd name="connsiteX25" fmla="*/ 224158 w 358841"/>
                <a:gd name="connsiteY25" fmla="*/ 152312 h 419048"/>
                <a:gd name="connsiteX26" fmla="*/ 195583 w 358841"/>
                <a:gd name="connsiteY26" fmla="*/ 126276 h 419048"/>
                <a:gd name="connsiteX27" fmla="*/ 188598 w 358841"/>
                <a:gd name="connsiteY27" fmla="*/ 126276 h 419048"/>
                <a:gd name="connsiteX28" fmla="*/ 182248 w 358841"/>
                <a:gd name="connsiteY28" fmla="*/ 138977 h 419048"/>
                <a:gd name="connsiteX29" fmla="*/ 199393 w 358841"/>
                <a:gd name="connsiteY29" fmla="*/ 141517 h 419048"/>
                <a:gd name="connsiteX30" fmla="*/ 199393 w 358841"/>
                <a:gd name="connsiteY30" fmla="*/ 141517 h 419048"/>
                <a:gd name="connsiteX31" fmla="*/ 201933 w 358841"/>
                <a:gd name="connsiteY31" fmla="*/ 88812 h 419048"/>
                <a:gd name="connsiteX32" fmla="*/ 206378 w 358841"/>
                <a:gd name="connsiteY32" fmla="*/ 87542 h 419048"/>
                <a:gd name="connsiteX33" fmla="*/ 198758 w 358841"/>
                <a:gd name="connsiteY33" fmla="*/ 78651 h 419048"/>
                <a:gd name="connsiteX34" fmla="*/ 194948 w 358841"/>
                <a:gd name="connsiteY34" fmla="*/ 79922 h 419048"/>
                <a:gd name="connsiteX35" fmla="*/ 201933 w 358841"/>
                <a:gd name="connsiteY35" fmla="*/ 88812 h 419048"/>
                <a:gd name="connsiteX36" fmla="*/ 193678 w 358841"/>
                <a:gd name="connsiteY36" fmla="*/ 20231 h 419048"/>
                <a:gd name="connsiteX37" fmla="*/ 181613 w 358841"/>
                <a:gd name="connsiteY37" fmla="*/ 15151 h 419048"/>
                <a:gd name="connsiteX38" fmla="*/ 179708 w 358841"/>
                <a:gd name="connsiteY38" fmla="*/ 18962 h 419048"/>
                <a:gd name="connsiteX39" fmla="*/ 193678 w 358841"/>
                <a:gd name="connsiteY39" fmla="*/ 20231 h 419048"/>
                <a:gd name="connsiteX40" fmla="*/ 193678 w 358841"/>
                <a:gd name="connsiteY40" fmla="*/ 20231 h 419048"/>
                <a:gd name="connsiteX41" fmla="*/ 222253 w 358841"/>
                <a:gd name="connsiteY41" fmla="*/ 277406 h 419048"/>
                <a:gd name="connsiteX42" fmla="*/ 218443 w 358841"/>
                <a:gd name="connsiteY42" fmla="*/ 280581 h 419048"/>
                <a:gd name="connsiteX43" fmla="*/ 211458 w 358841"/>
                <a:gd name="connsiteY43" fmla="*/ 275502 h 419048"/>
                <a:gd name="connsiteX44" fmla="*/ 211458 w 358841"/>
                <a:gd name="connsiteY44" fmla="*/ 265342 h 419048"/>
                <a:gd name="connsiteX45" fmla="*/ 212728 w 358841"/>
                <a:gd name="connsiteY45" fmla="*/ 264706 h 419048"/>
                <a:gd name="connsiteX46" fmla="*/ 222253 w 358841"/>
                <a:gd name="connsiteY46" fmla="*/ 277406 h 419048"/>
                <a:gd name="connsiteX47" fmla="*/ 222253 w 358841"/>
                <a:gd name="connsiteY47" fmla="*/ 277406 h 419048"/>
                <a:gd name="connsiteX48" fmla="*/ 289563 w 358841"/>
                <a:gd name="connsiteY48" fmla="*/ 241847 h 419048"/>
                <a:gd name="connsiteX49" fmla="*/ 303533 w 358841"/>
                <a:gd name="connsiteY49" fmla="*/ 252006 h 419048"/>
                <a:gd name="connsiteX50" fmla="*/ 309883 w 358841"/>
                <a:gd name="connsiteY50" fmla="*/ 286297 h 419048"/>
                <a:gd name="connsiteX51" fmla="*/ 305438 w 358841"/>
                <a:gd name="connsiteY51" fmla="*/ 318681 h 419048"/>
                <a:gd name="connsiteX52" fmla="*/ 307978 w 358841"/>
                <a:gd name="connsiteY52" fmla="*/ 342177 h 419048"/>
                <a:gd name="connsiteX53" fmla="*/ 310518 w 358841"/>
                <a:gd name="connsiteY53" fmla="*/ 363131 h 419048"/>
                <a:gd name="connsiteX54" fmla="*/ 302263 w 358841"/>
                <a:gd name="connsiteY54" fmla="*/ 369481 h 419048"/>
                <a:gd name="connsiteX55" fmla="*/ 299088 w 358841"/>
                <a:gd name="connsiteY55" fmla="*/ 361862 h 419048"/>
                <a:gd name="connsiteX56" fmla="*/ 296548 w 358841"/>
                <a:gd name="connsiteY56" fmla="*/ 369481 h 419048"/>
                <a:gd name="connsiteX57" fmla="*/ 283848 w 358841"/>
                <a:gd name="connsiteY57" fmla="*/ 359322 h 419048"/>
                <a:gd name="connsiteX58" fmla="*/ 288293 w 358841"/>
                <a:gd name="connsiteY58" fmla="*/ 337731 h 419048"/>
                <a:gd name="connsiteX59" fmla="*/ 289563 w 358841"/>
                <a:gd name="connsiteY59" fmla="*/ 311062 h 419048"/>
                <a:gd name="connsiteX60" fmla="*/ 272418 w 358841"/>
                <a:gd name="connsiteY60" fmla="*/ 281852 h 419048"/>
                <a:gd name="connsiteX61" fmla="*/ 264798 w 358841"/>
                <a:gd name="connsiteY61" fmla="*/ 286931 h 419048"/>
                <a:gd name="connsiteX62" fmla="*/ 258448 w 358841"/>
                <a:gd name="connsiteY62" fmla="*/ 292012 h 419048"/>
                <a:gd name="connsiteX63" fmla="*/ 250828 w 358841"/>
                <a:gd name="connsiteY63" fmla="*/ 300902 h 419048"/>
                <a:gd name="connsiteX64" fmla="*/ 243843 w 358841"/>
                <a:gd name="connsiteY64" fmla="*/ 319952 h 419048"/>
                <a:gd name="connsiteX65" fmla="*/ 244478 w 358841"/>
                <a:gd name="connsiteY65" fmla="*/ 330112 h 419048"/>
                <a:gd name="connsiteX66" fmla="*/ 242573 w 358841"/>
                <a:gd name="connsiteY66" fmla="*/ 335827 h 419048"/>
                <a:gd name="connsiteX67" fmla="*/ 237493 w 358841"/>
                <a:gd name="connsiteY67" fmla="*/ 340906 h 419048"/>
                <a:gd name="connsiteX68" fmla="*/ 232413 w 358841"/>
                <a:gd name="connsiteY68" fmla="*/ 347892 h 419048"/>
                <a:gd name="connsiteX69" fmla="*/ 202568 w 358841"/>
                <a:gd name="connsiteY69" fmla="*/ 349162 h 419048"/>
                <a:gd name="connsiteX70" fmla="*/ 190503 w 358841"/>
                <a:gd name="connsiteY70" fmla="*/ 345987 h 419048"/>
                <a:gd name="connsiteX71" fmla="*/ 183518 w 358841"/>
                <a:gd name="connsiteY71" fmla="*/ 330112 h 419048"/>
                <a:gd name="connsiteX72" fmla="*/ 180978 w 358841"/>
                <a:gd name="connsiteY72" fmla="*/ 321856 h 419048"/>
                <a:gd name="connsiteX73" fmla="*/ 177803 w 358841"/>
                <a:gd name="connsiteY73" fmla="*/ 316777 h 419048"/>
                <a:gd name="connsiteX74" fmla="*/ 173993 w 358841"/>
                <a:gd name="connsiteY74" fmla="*/ 315506 h 419048"/>
                <a:gd name="connsiteX75" fmla="*/ 170183 w 358841"/>
                <a:gd name="connsiteY75" fmla="*/ 322492 h 419048"/>
                <a:gd name="connsiteX76" fmla="*/ 170183 w 358841"/>
                <a:gd name="connsiteY76" fmla="*/ 328206 h 419048"/>
                <a:gd name="connsiteX77" fmla="*/ 167643 w 358841"/>
                <a:gd name="connsiteY77" fmla="*/ 341542 h 419048"/>
                <a:gd name="connsiteX78" fmla="*/ 163833 w 358841"/>
                <a:gd name="connsiteY78" fmla="*/ 344081 h 419048"/>
                <a:gd name="connsiteX79" fmla="*/ 160658 w 358841"/>
                <a:gd name="connsiteY79" fmla="*/ 359322 h 419048"/>
                <a:gd name="connsiteX80" fmla="*/ 139703 w 358841"/>
                <a:gd name="connsiteY80" fmla="*/ 367577 h 419048"/>
                <a:gd name="connsiteX81" fmla="*/ 135893 w 358841"/>
                <a:gd name="connsiteY81" fmla="*/ 367577 h 419048"/>
                <a:gd name="connsiteX82" fmla="*/ 133988 w 358841"/>
                <a:gd name="connsiteY82" fmla="*/ 359956 h 419048"/>
                <a:gd name="connsiteX83" fmla="*/ 125098 w 358841"/>
                <a:gd name="connsiteY83" fmla="*/ 362497 h 419048"/>
                <a:gd name="connsiteX84" fmla="*/ 127003 w 358841"/>
                <a:gd name="connsiteY84" fmla="*/ 356781 h 419048"/>
                <a:gd name="connsiteX85" fmla="*/ 139703 w 358841"/>
                <a:gd name="connsiteY85" fmla="*/ 339002 h 419048"/>
                <a:gd name="connsiteX86" fmla="*/ 145418 w 358841"/>
                <a:gd name="connsiteY86" fmla="*/ 330112 h 419048"/>
                <a:gd name="connsiteX87" fmla="*/ 149863 w 358841"/>
                <a:gd name="connsiteY87" fmla="*/ 323127 h 419048"/>
                <a:gd name="connsiteX88" fmla="*/ 151133 w 358841"/>
                <a:gd name="connsiteY88" fmla="*/ 313602 h 419048"/>
                <a:gd name="connsiteX89" fmla="*/ 135258 w 358841"/>
                <a:gd name="connsiteY89" fmla="*/ 325031 h 419048"/>
                <a:gd name="connsiteX90" fmla="*/ 122558 w 358841"/>
                <a:gd name="connsiteY90" fmla="*/ 341542 h 419048"/>
                <a:gd name="connsiteX91" fmla="*/ 103508 w 358841"/>
                <a:gd name="connsiteY91" fmla="*/ 373292 h 419048"/>
                <a:gd name="connsiteX92" fmla="*/ 99698 w 358841"/>
                <a:gd name="connsiteY92" fmla="*/ 375831 h 419048"/>
                <a:gd name="connsiteX93" fmla="*/ 96523 w 358841"/>
                <a:gd name="connsiteY93" fmla="*/ 385992 h 419048"/>
                <a:gd name="connsiteX94" fmla="*/ 72393 w 358841"/>
                <a:gd name="connsiteY94" fmla="*/ 392977 h 419048"/>
                <a:gd name="connsiteX95" fmla="*/ 71758 w 358841"/>
                <a:gd name="connsiteY95" fmla="*/ 384722 h 419048"/>
                <a:gd name="connsiteX96" fmla="*/ 64138 w 358841"/>
                <a:gd name="connsiteY96" fmla="*/ 389167 h 419048"/>
                <a:gd name="connsiteX97" fmla="*/ 64138 w 358841"/>
                <a:gd name="connsiteY97" fmla="*/ 365037 h 419048"/>
                <a:gd name="connsiteX98" fmla="*/ 77473 w 358841"/>
                <a:gd name="connsiteY98" fmla="*/ 353606 h 419048"/>
                <a:gd name="connsiteX99" fmla="*/ 97793 w 358841"/>
                <a:gd name="connsiteY99" fmla="*/ 339637 h 419048"/>
                <a:gd name="connsiteX100" fmla="*/ 100968 w 358841"/>
                <a:gd name="connsiteY100" fmla="*/ 326937 h 419048"/>
                <a:gd name="connsiteX101" fmla="*/ 106683 w 358841"/>
                <a:gd name="connsiteY101" fmla="*/ 315506 h 419048"/>
                <a:gd name="connsiteX102" fmla="*/ 100968 w 358841"/>
                <a:gd name="connsiteY102" fmla="*/ 313602 h 419048"/>
                <a:gd name="connsiteX103" fmla="*/ 94618 w 358841"/>
                <a:gd name="connsiteY103" fmla="*/ 279947 h 419048"/>
                <a:gd name="connsiteX104" fmla="*/ 78743 w 358841"/>
                <a:gd name="connsiteY104" fmla="*/ 302172 h 419048"/>
                <a:gd name="connsiteX105" fmla="*/ 66043 w 358841"/>
                <a:gd name="connsiteY105" fmla="*/ 325667 h 419048"/>
                <a:gd name="connsiteX106" fmla="*/ 48898 w 358841"/>
                <a:gd name="connsiteY106" fmla="*/ 361227 h 419048"/>
                <a:gd name="connsiteX107" fmla="*/ 38738 w 358841"/>
                <a:gd name="connsiteY107" fmla="*/ 395517 h 419048"/>
                <a:gd name="connsiteX108" fmla="*/ 33658 w 358841"/>
                <a:gd name="connsiteY108" fmla="*/ 412662 h 419048"/>
                <a:gd name="connsiteX109" fmla="*/ 8258 w 358841"/>
                <a:gd name="connsiteY109" fmla="*/ 417742 h 419048"/>
                <a:gd name="connsiteX110" fmla="*/ 11433 w 358841"/>
                <a:gd name="connsiteY110" fmla="*/ 406312 h 419048"/>
                <a:gd name="connsiteX111" fmla="*/ 638 w 358841"/>
                <a:gd name="connsiteY111" fmla="*/ 414567 h 419048"/>
                <a:gd name="connsiteX112" fmla="*/ 10163 w 358841"/>
                <a:gd name="connsiteY112" fmla="*/ 390437 h 419048"/>
                <a:gd name="connsiteX113" fmla="*/ 12068 w 358841"/>
                <a:gd name="connsiteY113" fmla="*/ 386627 h 419048"/>
                <a:gd name="connsiteX114" fmla="*/ 31753 w 358841"/>
                <a:gd name="connsiteY114" fmla="*/ 355512 h 419048"/>
                <a:gd name="connsiteX115" fmla="*/ 41278 w 358841"/>
                <a:gd name="connsiteY115" fmla="*/ 322492 h 419048"/>
                <a:gd name="connsiteX116" fmla="*/ 43183 w 358841"/>
                <a:gd name="connsiteY116" fmla="*/ 288837 h 419048"/>
                <a:gd name="connsiteX117" fmla="*/ 55248 w 358841"/>
                <a:gd name="connsiteY117" fmla="*/ 237402 h 419048"/>
                <a:gd name="connsiteX118" fmla="*/ 64773 w 358841"/>
                <a:gd name="connsiteY118" fmla="*/ 200572 h 419048"/>
                <a:gd name="connsiteX119" fmla="*/ 87633 w 358841"/>
                <a:gd name="connsiteY119" fmla="*/ 152947 h 419048"/>
                <a:gd name="connsiteX120" fmla="*/ 112398 w 358841"/>
                <a:gd name="connsiteY120" fmla="*/ 107226 h 419048"/>
                <a:gd name="connsiteX121" fmla="*/ 137163 w 358841"/>
                <a:gd name="connsiteY121" fmla="*/ 93892 h 419048"/>
                <a:gd name="connsiteX122" fmla="*/ 170818 w 358841"/>
                <a:gd name="connsiteY122" fmla="*/ 67856 h 419048"/>
                <a:gd name="connsiteX123" fmla="*/ 191138 w 358841"/>
                <a:gd name="connsiteY123" fmla="*/ 63412 h 419048"/>
                <a:gd name="connsiteX124" fmla="*/ 233048 w 358841"/>
                <a:gd name="connsiteY124" fmla="*/ 78017 h 419048"/>
                <a:gd name="connsiteX125" fmla="*/ 254003 w 358841"/>
                <a:gd name="connsiteY125" fmla="*/ 82462 h 419048"/>
                <a:gd name="connsiteX126" fmla="*/ 235588 w 358841"/>
                <a:gd name="connsiteY126" fmla="*/ 45631 h 419048"/>
                <a:gd name="connsiteX127" fmla="*/ 177168 w 358841"/>
                <a:gd name="connsiteY127" fmla="*/ 44997 h 419048"/>
                <a:gd name="connsiteX128" fmla="*/ 125098 w 358841"/>
                <a:gd name="connsiteY128" fmla="*/ 15787 h 419048"/>
                <a:gd name="connsiteX129" fmla="*/ 232413 w 358841"/>
                <a:gd name="connsiteY129" fmla="*/ 14517 h 419048"/>
                <a:gd name="connsiteX130" fmla="*/ 201933 w 358841"/>
                <a:gd name="connsiteY130" fmla="*/ 13247 h 419048"/>
                <a:gd name="connsiteX131" fmla="*/ 190503 w 358841"/>
                <a:gd name="connsiteY131" fmla="*/ 13881 h 419048"/>
                <a:gd name="connsiteX132" fmla="*/ 204473 w 358841"/>
                <a:gd name="connsiteY132" fmla="*/ 18326 h 419048"/>
                <a:gd name="connsiteX133" fmla="*/ 208918 w 358841"/>
                <a:gd name="connsiteY133" fmla="*/ 23406 h 419048"/>
                <a:gd name="connsiteX134" fmla="*/ 146053 w 358841"/>
                <a:gd name="connsiteY134" fmla="*/ 10706 h 419048"/>
                <a:gd name="connsiteX135" fmla="*/ 137163 w 358841"/>
                <a:gd name="connsiteY135" fmla="*/ 30392 h 419048"/>
                <a:gd name="connsiteX136" fmla="*/ 249558 w 358841"/>
                <a:gd name="connsiteY136" fmla="*/ 37376 h 419048"/>
                <a:gd name="connsiteX137" fmla="*/ 280673 w 358841"/>
                <a:gd name="connsiteY137" fmla="*/ 60872 h 419048"/>
                <a:gd name="connsiteX138" fmla="*/ 276228 w 358841"/>
                <a:gd name="connsiteY138" fmla="*/ 88176 h 419048"/>
                <a:gd name="connsiteX139" fmla="*/ 291468 w 358841"/>
                <a:gd name="connsiteY139" fmla="*/ 117387 h 419048"/>
                <a:gd name="connsiteX140" fmla="*/ 307978 w 358841"/>
                <a:gd name="connsiteY140" fmla="*/ 156122 h 419048"/>
                <a:gd name="connsiteX141" fmla="*/ 304803 w 358841"/>
                <a:gd name="connsiteY141" fmla="*/ 185331 h 419048"/>
                <a:gd name="connsiteX142" fmla="*/ 306708 w 358841"/>
                <a:gd name="connsiteY142" fmla="*/ 215812 h 419048"/>
                <a:gd name="connsiteX143" fmla="*/ 297183 w 358841"/>
                <a:gd name="connsiteY143" fmla="*/ 214542 h 419048"/>
                <a:gd name="connsiteX144" fmla="*/ 298453 w 358841"/>
                <a:gd name="connsiteY144" fmla="*/ 201206 h 419048"/>
                <a:gd name="connsiteX145" fmla="*/ 294008 w 358841"/>
                <a:gd name="connsiteY145" fmla="*/ 180887 h 419048"/>
                <a:gd name="connsiteX146" fmla="*/ 299088 w 358841"/>
                <a:gd name="connsiteY146" fmla="*/ 149137 h 419048"/>
                <a:gd name="connsiteX147" fmla="*/ 290833 w 358841"/>
                <a:gd name="connsiteY147" fmla="*/ 128817 h 419048"/>
                <a:gd name="connsiteX148" fmla="*/ 284483 w 358841"/>
                <a:gd name="connsiteY148" fmla="*/ 117387 h 419048"/>
                <a:gd name="connsiteX149" fmla="*/ 274323 w 358841"/>
                <a:gd name="connsiteY149" fmla="*/ 98337 h 419048"/>
                <a:gd name="connsiteX150" fmla="*/ 266703 w 358841"/>
                <a:gd name="connsiteY150" fmla="*/ 91351 h 419048"/>
                <a:gd name="connsiteX151" fmla="*/ 256543 w 358841"/>
                <a:gd name="connsiteY151" fmla="*/ 93256 h 419048"/>
                <a:gd name="connsiteX152" fmla="*/ 247018 w 358841"/>
                <a:gd name="connsiteY152" fmla="*/ 96431 h 419048"/>
                <a:gd name="connsiteX153" fmla="*/ 247018 w 358841"/>
                <a:gd name="connsiteY153" fmla="*/ 102781 h 419048"/>
                <a:gd name="connsiteX154" fmla="*/ 255908 w 358841"/>
                <a:gd name="connsiteY154" fmla="*/ 111037 h 419048"/>
                <a:gd name="connsiteX155" fmla="*/ 254638 w 358841"/>
                <a:gd name="connsiteY155" fmla="*/ 134531 h 419048"/>
                <a:gd name="connsiteX156" fmla="*/ 238763 w 358841"/>
                <a:gd name="connsiteY156" fmla="*/ 125642 h 419048"/>
                <a:gd name="connsiteX157" fmla="*/ 215903 w 358841"/>
                <a:gd name="connsiteY157" fmla="*/ 93256 h 419048"/>
                <a:gd name="connsiteX158" fmla="*/ 203838 w 358841"/>
                <a:gd name="connsiteY158" fmla="*/ 89447 h 419048"/>
                <a:gd name="connsiteX159" fmla="*/ 203838 w 358841"/>
                <a:gd name="connsiteY159" fmla="*/ 91987 h 419048"/>
                <a:gd name="connsiteX160" fmla="*/ 226698 w 358841"/>
                <a:gd name="connsiteY160" fmla="*/ 131356 h 419048"/>
                <a:gd name="connsiteX161" fmla="*/ 243843 w 358841"/>
                <a:gd name="connsiteY161" fmla="*/ 172631 h 419048"/>
                <a:gd name="connsiteX162" fmla="*/ 243843 w 358841"/>
                <a:gd name="connsiteY162" fmla="*/ 180887 h 419048"/>
                <a:gd name="connsiteX163" fmla="*/ 238128 w 358841"/>
                <a:gd name="connsiteY163" fmla="*/ 170727 h 419048"/>
                <a:gd name="connsiteX164" fmla="*/ 234953 w 358841"/>
                <a:gd name="connsiteY164" fmla="*/ 162472 h 419048"/>
                <a:gd name="connsiteX165" fmla="*/ 216538 w 358841"/>
                <a:gd name="connsiteY165" fmla="*/ 164377 h 419048"/>
                <a:gd name="connsiteX166" fmla="*/ 207013 w 358841"/>
                <a:gd name="connsiteY166" fmla="*/ 166917 h 419048"/>
                <a:gd name="connsiteX167" fmla="*/ 210188 w 358841"/>
                <a:gd name="connsiteY167" fmla="*/ 172631 h 419048"/>
                <a:gd name="connsiteX168" fmla="*/ 228603 w 358841"/>
                <a:gd name="connsiteY168" fmla="*/ 180252 h 419048"/>
                <a:gd name="connsiteX169" fmla="*/ 227333 w 358841"/>
                <a:gd name="connsiteY169" fmla="*/ 182156 h 419048"/>
                <a:gd name="connsiteX170" fmla="*/ 220348 w 358841"/>
                <a:gd name="connsiteY170" fmla="*/ 177712 h 419048"/>
                <a:gd name="connsiteX171" fmla="*/ 212093 w 358841"/>
                <a:gd name="connsiteY171" fmla="*/ 181522 h 419048"/>
                <a:gd name="connsiteX172" fmla="*/ 214633 w 358841"/>
                <a:gd name="connsiteY172" fmla="*/ 186602 h 419048"/>
                <a:gd name="connsiteX173" fmla="*/ 237493 w 358841"/>
                <a:gd name="connsiteY173" fmla="*/ 196762 h 419048"/>
                <a:gd name="connsiteX174" fmla="*/ 242573 w 358841"/>
                <a:gd name="connsiteY174" fmla="*/ 201206 h 419048"/>
                <a:gd name="connsiteX175" fmla="*/ 250828 w 358841"/>
                <a:gd name="connsiteY175" fmla="*/ 201206 h 419048"/>
                <a:gd name="connsiteX176" fmla="*/ 295278 w 358841"/>
                <a:gd name="connsiteY176" fmla="*/ 218987 h 419048"/>
                <a:gd name="connsiteX177" fmla="*/ 332743 w 358841"/>
                <a:gd name="connsiteY177" fmla="*/ 242481 h 419048"/>
                <a:gd name="connsiteX178" fmla="*/ 352428 w 358841"/>
                <a:gd name="connsiteY178" fmla="*/ 243117 h 419048"/>
                <a:gd name="connsiteX179" fmla="*/ 353698 w 358841"/>
                <a:gd name="connsiteY179" fmla="*/ 247562 h 419048"/>
                <a:gd name="connsiteX180" fmla="*/ 287023 w 358841"/>
                <a:gd name="connsiteY180" fmla="*/ 232322 h 419048"/>
                <a:gd name="connsiteX181" fmla="*/ 286388 w 358841"/>
                <a:gd name="connsiteY181" fmla="*/ 217081 h 419048"/>
                <a:gd name="connsiteX182" fmla="*/ 277498 w 358841"/>
                <a:gd name="connsiteY182" fmla="*/ 212637 h 419048"/>
                <a:gd name="connsiteX183" fmla="*/ 267973 w 358841"/>
                <a:gd name="connsiteY183" fmla="*/ 212002 h 419048"/>
                <a:gd name="connsiteX184" fmla="*/ 260353 w 358841"/>
                <a:gd name="connsiteY184" fmla="*/ 207556 h 419048"/>
                <a:gd name="connsiteX185" fmla="*/ 255908 w 358841"/>
                <a:gd name="connsiteY185" fmla="*/ 208192 h 419048"/>
                <a:gd name="connsiteX186" fmla="*/ 254003 w 358841"/>
                <a:gd name="connsiteY186" fmla="*/ 212002 h 419048"/>
                <a:gd name="connsiteX187" fmla="*/ 254638 w 358841"/>
                <a:gd name="connsiteY187" fmla="*/ 217081 h 419048"/>
                <a:gd name="connsiteX188" fmla="*/ 262258 w 358841"/>
                <a:gd name="connsiteY188" fmla="*/ 220256 h 419048"/>
                <a:gd name="connsiteX189" fmla="*/ 262893 w 358841"/>
                <a:gd name="connsiteY189" fmla="*/ 222797 h 419048"/>
                <a:gd name="connsiteX190" fmla="*/ 247653 w 358841"/>
                <a:gd name="connsiteY190" fmla="*/ 220892 h 419048"/>
                <a:gd name="connsiteX191" fmla="*/ 247653 w 358841"/>
                <a:gd name="connsiteY191" fmla="*/ 211367 h 419048"/>
                <a:gd name="connsiteX192" fmla="*/ 237493 w 358841"/>
                <a:gd name="connsiteY192" fmla="*/ 204381 h 419048"/>
                <a:gd name="connsiteX193" fmla="*/ 236858 w 358841"/>
                <a:gd name="connsiteY193" fmla="*/ 207556 h 419048"/>
                <a:gd name="connsiteX194" fmla="*/ 235588 w 358841"/>
                <a:gd name="connsiteY194" fmla="*/ 219622 h 419048"/>
                <a:gd name="connsiteX195" fmla="*/ 234953 w 358841"/>
                <a:gd name="connsiteY195" fmla="*/ 235497 h 419048"/>
                <a:gd name="connsiteX196" fmla="*/ 267338 w 358841"/>
                <a:gd name="connsiteY196" fmla="*/ 235497 h 419048"/>
                <a:gd name="connsiteX197" fmla="*/ 266703 w 358841"/>
                <a:gd name="connsiteY197" fmla="*/ 239306 h 419048"/>
                <a:gd name="connsiteX198" fmla="*/ 255273 w 358841"/>
                <a:gd name="connsiteY198" fmla="*/ 245656 h 419048"/>
                <a:gd name="connsiteX199" fmla="*/ 245748 w 358841"/>
                <a:gd name="connsiteY199" fmla="*/ 247562 h 419048"/>
                <a:gd name="connsiteX200" fmla="*/ 201933 w 358841"/>
                <a:gd name="connsiteY200" fmla="*/ 224067 h 419048"/>
                <a:gd name="connsiteX201" fmla="*/ 227333 w 358841"/>
                <a:gd name="connsiteY201" fmla="*/ 201206 h 419048"/>
                <a:gd name="connsiteX202" fmla="*/ 228603 w 358841"/>
                <a:gd name="connsiteY202" fmla="*/ 201206 h 419048"/>
                <a:gd name="connsiteX203" fmla="*/ 227333 w 358841"/>
                <a:gd name="connsiteY203" fmla="*/ 195492 h 419048"/>
                <a:gd name="connsiteX204" fmla="*/ 212728 w 358841"/>
                <a:gd name="connsiteY204" fmla="*/ 192317 h 419048"/>
                <a:gd name="connsiteX205" fmla="*/ 200663 w 358841"/>
                <a:gd name="connsiteY205" fmla="*/ 199302 h 419048"/>
                <a:gd name="connsiteX206" fmla="*/ 196218 w 358841"/>
                <a:gd name="connsiteY206" fmla="*/ 196762 h 419048"/>
                <a:gd name="connsiteX207" fmla="*/ 177803 w 358841"/>
                <a:gd name="connsiteY207" fmla="*/ 194856 h 419048"/>
                <a:gd name="connsiteX208" fmla="*/ 177803 w 358841"/>
                <a:gd name="connsiteY208" fmla="*/ 204381 h 419048"/>
                <a:gd name="connsiteX209" fmla="*/ 187963 w 358841"/>
                <a:gd name="connsiteY209" fmla="*/ 220892 h 419048"/>
                <a:gd name="connsiteX210" fmla="*/ 194948 w 358841"/>
                <a:gd name="connsiteY210" fmla="*/ 226606 h 419048"/>
                <a:gd name="connsiteX211" fmla="*/ 199393 w 358841"/>
                <a:gd name="connsiteY211" fmla="*/ 239942 h 419048"/>
                <a:gd name="connsiteX212" fmla="*/ 193043 w 358841"/>
                <a:gd name="connsiteY212" fmla="*/ 252006 h 419048"/>
                <a:gd name="connsiteX213" fmla="*/ 182248 w 358841"/>
                <a:gd name="connsiteY213" fmla="*/ 272962 h 419048"/>
                <a:gd name="connsiteX214" fmla="*/ 179708 w 358841"/>
                <a:gd name="connsiteY214" fmla="*/ 283756 h 419048"/>
                <a:gd name="connsiteX215" fmla="*/ 181613 w 358841"/>
                <a:gd name="connsiteY215" fmla="*/ 295187 h 419048"/>
                <a:gd name="connsiteX216" fmla="*/ 201298 w 358841"/>
                <a:gd name="connsiteY216" fmla="*/ 278042 h 419048"/>
                <a:gd name="connsiteX217" fmla="*/ 196853 w 358841"/>
                <a:gd name="connsiteY217" fmla="*/ 295187 h 419048"/>
                <a:gd name="connsiteX218" fmla="*/ 194313 w 358841"/>
                <a:gd name="connsiteY218" fmla="*/ 303442 h 419048"/>
                <a:gd name="connsiteX219" fmla="*/ 190503 w 358841"/>
                <a:gd name="connsiteY219" fmla="*/ 315506 h 419048"/>
                <a:gd name="connsiteX220" fmla="*/ 189233 w 358841"/>
                <a:gd name="connsiteY220" fmla="*/ 326302 h 419048"/>
                <a:gd name="connsiteX221" fmla="*/ 191138 w 358841"/>
                <a:gd name="connsiteY221" fmla="*/ 332652 h 419048"/>
                <a:gd name="connsiteX222" fmla="*/ 195583 w 358841"/>
                <a:gd name="connsiteY222" fmla="*/ 331381 h 419048"/>
                <a:gd name="connsiteX223" fmla="*/ 197488 w 358841"/>
                <a:gd name="connsiteY223" fmla="*/ 325667 h 419048"/>
                <a:gd name="connsiteX224" fmla="*/ 204473 w 358841"/>
                <a:gd name="connsiteY224" fmla="*/ 328206 h 419048"/>
                <a:gd name="connsiteX225" fmla="*/ 203838 w 358841"/>
                <a:gd name="connsiteY225" fmla="*/ 332652 h 419048"/>
                <a:gd name="connsiteX226" fmla="*/ 200028 w 358841"/>
                <a:gd name="connsiteY226" fmla="*/ 335827 h 419048"/>
                <a:gd name="connsiteX227" fmla="*/ 205108 w 358841"/>
                <a:gd name="connsiteY227" fmla="*/ 340272 h 419048"/>
                <a:gd name="connsiteX228" fmla="*/ 218443 w 358841"/>
                <a:gd name="connsiteY228" fmla="*/ 339637 h 419048"/>
                <a:gd name="connsiteX229" fmla="*/ 227968 w 358841"/>
                <a:gd name="connsiteY229" fmla="*/ 338367 h 419048"/>
                <a:gd name="connsiteX230" fmla="*/ 231778 w 358841"/>
                <a:gd name="connsiteY230" fmla="*/ 333287 h 419048"/>
                <a:gd name="connsiteX231" fmla="*/ 234953 w 358841"/>
                <a:gd name="connsiteY231" fmla="*/ 330112 h 419048"/>
                <a:gd name="connsiteX232" fmla="*/ 236223 w 358841"/>
                <a:gd name="connsiteY232" fmla="*/ 322492 h 419048"/>
                <a:gd name="connsiteX233" fmla="*/ 236858 w 358841"/>
                <a:gd name="connsiteY233" fmla="*/ 313602 h 419048"/>
                <a:gd name="connsiteX234" fmla="*/ 239398 w 358841"/>
                <a:gd name="connsiteY234" fmla="*/ 304712 h 419048"/>
                <a:gd name="connsiteX235" fmla="*/ 243843 w 358841"/>
                <a:gd name="connsiteY235" fmla="*/ 295822 h 419048"/>
                <a:gd name="connsiteX236" fmla="*/ 249558 w 358841"/>
                <a:gd name="connsiteY236" fmla="*/ 288202 h 419048"/>
                <a:gd name="connsiteX237" fmla="*/ 256543 w 358841"/>
                <a:gd name="connsiteY237" fmla="*/ 281217 h 419048"/>
                <a:gd name="connsiteX238" fmla="*/ 262258 w 358841"/>
                <a:gd name="connsiteY238" fmla="*/ 276772 h 419048"/>
                <a:gd name="connsiteX239" fmla="*/ 269243 w 358841"/>
                <a:gd name="connsiteY239" fmla="*/ 272327 h 419048"/>
                <a:gd name="connsiteX240" fmla="*/ 278133 w 358841"/>
                <a:gd name="connsiteY240" fmla="*/ 267881 h 419048"/>
                <a:gd name="connsiteX241" fmla="*/ 289563 w 358841"/>
                <a:gd name="connsiteY241" fmla="*/ 241847 h 419048"/>
                <a:gd name="connsiteX242" fmla="*/ 289563 w 358841"/>
                <a:gd name="connsiteY242" fmla="*/ 241847 h 419048"/>
                <a:gd name="connsiteX243" fmla="*/ 288928 w 358841"/>
                <a:gd name="connsiteY243" fmla="*/ 267247 h 419048"/>
                <a:gd name="connsiteX244" fmla="*/ 283213 w 358841"/>
                <a:gd name="connsiteY244" fmla="*/ 278042 h 419048"/>
                <a:gd name="connsiteX245" fmla="*/ 294008 w 358841"/>
                <a:gd name="connsiteY245" fmla="*/ 295822 h 419048"/>
                <a:gd name="connsiteX246" fmla="*/ 299723 w 358841"/>
                <a:gd name="connsiteY246" fmla="*/ 293917 h 419048"/>
                <a:gd name="connsiteX247" fmla="*/ 300993 w 358841"/>
                <a:gd name="connsiteY247" fmla="*/ 282487 h 419048"/>
                <a:gd name="connsiteX248" fmla="*/ 299723 w 358841"/>
                <a:gd name="connsiteY248" fmla="*/ 268517 h 419048"/>
                <a:gd name="connsiteX249" fmla="*/ 294643 w 358841"/>
                <a:gd name="connsiteY249" fmla="*/ 259627 h 419048"/>
                <a:gd name="connsiteX250" fmla="*/ 288928 w 358841"/>
                <a:gd name="connsiteY250" fmla="*/ 267247 h 419048"/>
                <a:gd name="connsiteX251" fmla="*/ 179073 w 358841"/>
                <a:gd name="connsiteY251" fmla="*/ 220892 h 419048"/>
                <a:gd name="connsiteX252" fmla="*/ 171453 w 358841"/>
                <a:gd name="connsiteY252" fmla="*/ 202477 h 419048"/>
                <a:gd name="connsiteX253" fmla="*/ 161293 w 358841"/>
                <a:gd name="connsiteY253" fmla="*/ 196127 h 419048"/>
                <a:gd name="connsiteX254" fmla="*/ 151133 w 358841"/>
                <a:gd name="connsiteY254" fmla="*/ 201206 h 419048"/>
                <a:gd name="connsiteX255" fmla="*/ 144148 w 358841"/>
                <a:gd name="connsiteY255" fmla="*/ 210097 h 419048"/>
                <a:gd name="connsiteX256" fmla="*/ 129543 w 358841"/>
                <a:gd name="connsiteY256" fmla="*/ 215177 h 419048"/>
                <a:gd name="connsiteX257" fmla="*/ 111763 w 358841"/>
                <a:gd name="connsiteY257" fmla="*/ 208192 h 419048"/>
                <a:gd name="connsiteX258" fmla="*/ 102238 w 358841"/>
                <a:gd name="connsiteY258" fmla="*/ 218987 h 419048"/>
                <a:gd name="connsiteX259" fmla="*/ 90173 w 358841"/>
                <a:gd name="connsiteY259" fmla="*/ 224067 h 419048"/>
                <a:gd name="connsiteX260" fmla="*/ 79378 w 358841"/>
                <a:gd name="connsiteY260" fmla="*/ 220256 h 419048"/>
                <a:gd name="connsiteX261" fmla="*/ 69853 w 358841"/>
                <a:gd name="connsiteY261" fmla="*/ 247562 h 419048"/>
                <a:gd name="connsiteX262" fmla="*/ 59058 w 358841"/>
                <a:gd name="connsiteY262" fmla="*/ 276137 h 419048"/>
                <a:gd name="connsiteX263" fmla="*/ 57153 w 358841"/>
                <a:gd name="connsiteY263" fmla="*/ 283756 h 419048"/>
                <a:gd name="connsiteX264" fmla="*/ 58423 w 358841"/>
                <a:gd name="connsiteY264" fmla="*/ 304077 h 419048"/>
                <a:gd name="connsiteX265" fmla="*/ 78743 w 358841"/>
                <a:gd name="connsiteY265" fmla="*/ 285662 h 419048"/>
                <a:gd name="connsiteX266" fmla="*/ 89538 w 358841"/>
                <a:gd name="connsiteY266" fmla="*/ 270422 h 419048"/>
                <a:gd name="connsiteX267" fmla="*/ 100333 w 358841"/>
                <a:gd name="connsiteY267" fmla="*/ 266612 h 419048"/>
                <a:gd name="connsiteX268" fmla="*/ 116208 w 358841"/>
                <a:gd name="connsiteY268" fmla="*/ 268517 h 419048"/>
                <a:gd name="connsiteX269" fmla="*/ 129543 w 358841"/>
                <a:gd name="connsiteY269" fmla="*/ 271692 h 419048"/>
                <a:gd name="connsiteX270" fmla="*/ 130178 w 358841"/>
                <a:gd name="connsiteY270" fmla="*/ 274867 h 419048"/>
                <a:gd name="connsiteX271" fmla="*/ 121288 w 358841"/>
                <a:gd name="connsiteY271" fmla="*/ 276772 h 419048"/>
                <a:gd name="connsiteX272" fmla="*/ 115573 w 358841"/>
                <a:gd name="connsiteY272" fmla="*/ 281217 h 419048"/>
                <a:gd name="connsiteX273" fmla="*/ 111763 w 358841"/>
                <a:gd name="connsiteY273" fmla="*/ 292647 h 419048"/>
                <a:gd name="connsiteX274" fmla="*/ 112398 w 358841"/>
                <a:gd name="connsiteY274" fmla="*/ 305347 h 419048"/>
                <a:gd name="connsiteX275" fmla="*/ 124463 w 358841"/>
                <a:gd name="connsiteY275" fmla="*/ 308522 h 419048"/>
                <a:gd name="connsiteX276" fmla="*/ 148593 w 358841"/>
                <a:gd name="connsiteY276" fmla="*/ 306617 h 419048"/>
                <a:gd name="connsiteX277" fmla="*/ 161928 w 358841"/>
                <a:gd name="connsiteY277" fmla="*/ 306617 h 419048"/>
                <a:gd name="connsiteX278" fmla="*/ 173993 w 358841"/>
                <a:gd name="connsiteY278" fmla="*/ 302172 h 419048"/>
                <a:gd name="connsiteX279" fmla="*/ 167643 w 358841"/>
                <a:gd name="connsiteY279" fmla="*/ 287567 h 419048"/>
                <a:gd name="connsiteX280" fmla="*/ 158118 w 358841"/>
                <a:gd name="connsiteY280" fmla="*/ 269787 h 419048"/>
                <a:gd name="connsiteX281" fmla="*/ 158118 w 358841"/>
                <a:gd name="connsiteY281" fmla="*/ 258356 h 419048"/>
                <a:gd name="connsiteX282" fmla="*/ 168278 w 358841"/>
                <a:gd name="connsiteY282" fmla="*/ 244387 h 419048"/>
                <a:gd name="connsiteX283" fmla="*/ 179073 w 358841"/>
                <a:gd name="connsiteY283" fmla="*/ 220892 h 419048"/>
                <a:gd name="connsiteX284" fmla="*/ 179073 w 358841"/>
                <a:gd name="connsiteY284" fmla="*/ 220892 h 41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58841" h="419048">
                  <a:moveTo>
                    <a:pt x="128908" y="323127"/>
                  </a:moveTo>
                  <a:cubicBezTo>
                    <a:pt x="127638" y="321222"/>
                    <a:pt x="127003" y="320587"/>
                    <a:pt x="124463" y="321856"/>
                  </a:cubicBezTo>
                  <a:cubicBezTo>
                    <a:pt x="122558" y="324397"/>
                    <a:pt x="120653" y="326302"/>
                    <a:pt x="120018" y="328842"/>
                  </a:cubicBezTo>
                  <a:cubicBezTo>
                    <a:pt x="118748" y="331381"/>
                    <a:pt x="116208" y="332652"/>
                    <a:pt x="117478" y="335192"/>
                  </a:cubicBezTo>
                  <a:cubicBezTo>
                    <a:pt x="128273" y="335192"/>
                    <a:pt x="127003" y="328842"/>
                    <a:pt x="128908" y="323127"/>
                  </a:cubicBezTo>
                  <a:lnTo>
                    <a:pt x="128908" y="323127"/>
                  </a:lnTo>
                  <a:close/>
                  <a:moveTo>
                    <a:pt x="59058" y="332652"/>
                  </a:moveTo>
                  <a:cubicBezTo>
                    <a:pt x="59058" y="330747"/>
                    <a:pt x="56518" y="327572"/>
                    <a:pt x="56518" y="327572"/>
                  </a:cubicBezTo>
                  <a:cubicBezTo>
                    <a:pt x="53343" y="329477"/>
                    <a:pt x="52708" y="334556"/>
                    <a:pt x="50803" y="339002"/>
                  </a:cubicBezTo>
                  <a:cubicBezTo>
                    <a:pt x="48898" y="342812"/>
                    <a:pt x="46993" y="345987"/>
                    <a:pt x="46993" y="350431"/>
                  </a:cubicBezTo>
                  <a:lnTo>
                    <a:pt x="47628" y="350431"/>
                  </a:lnTo>
                  <a:cubicBezTo>
                    <a:pt x="52708" y="346622"/>
                    <a:pt x="59693" y="342177"/>
                    <a:pt x="59058" y="332652"/>
                  </a:cubicBezTo>
                  <a:lnTo>
                    <a:pt x="59058" y="332652"/>
                  </a:lnTo>
                  <a:close/>
                  <a:moveTo>
                    <a:pt x="125098" y="168822"/>
                  </a:moveTo>
                  <a:cubicBezTo>
                    <a:pt x="123828" y="166281"/>
                    <a:pt x="126368" y="162472"/>
                    <a:pt x="122558" y="162472"/>
                  </a:cubicBezTo>
                  <a:cubicBezTo>
                    <a:pt x="118113" y="164377"/>
                    <a:pt x="120018" y="169456"/>
                    <a:pt x="118748" y="173267"/>
                  </a:cubicBezTo>
                  <a:cubicBezTo>
                    <a:pt x="114938" y="177712"/>
                    <a:pt x="109858" y="181522"/>
                    <a:pt x="111128" y="188506"/>
                  </a:cubicBezTo>
                  <a:cubicBezTo>
                    <a:pt x="111763" y="192952"/>
                    <a:pt x="115573" y="195492"/>
                    <a:pt x="119383" y="196762"/>
                  </a:cubicBezTo>
                  <a:cubicBezTo>
                    <a:pt x="127003" y="198031"/>
                    <a:pt x="134623" y="197397"/>
                    <a:pt x="142243" y="194856"/>
                  </a:cubicBezTo>
                  <a:lnTo>
                    <a:pt x="142243" y="194222"/>
                  </a:lnTo>
                  <a:cubicBezTo>
                    <a:pt x="135258" y="187237"/>
                    <a:pt x="126368" y="179617"/>
                    <a:pt x="125098" y="168822"/>
                  </a:cubicBezTo>
                  <a:lnTo>
                    <a:pt x="125098" y="168822"/>
                  </a:lnTo>
                  <a:close/>
                  <a:moveTo>
                    <a:pt x="199393" y="141517"/>
                  </a:moveTo>
                  <a:cubicBezTo>
                    <a:pt x="200028" y="142152"/>
                    <a:pt x="200663" y="143422"/>
                    <a:pt x="201298" y="144056"/>
                  </a:cubicBezTo>
                  <a:cubicBezTo>
                    <a:pt x="201298" y="151042"/>
                    <a:pt x="209553" y="149137"/>
                    <a:pt x="213998" y="154217"/>
                  </a:cubicBezTo>
                  <a:cubicBezTo>
                    <a:pt x="217808" y="156122"/>
                    <a:pt x="220348" y="152312"/>
                    <a:pt x="224158" y="152312"/>
                  </a:cubicBezTo>
                  <a:cubicBezTo>
                    <a:pt x="227333" y="117387"/>
                    <a:pt x="187963" y="111037"/>
                    <a:pt x="195583" y="126276"/>
                  </a:cubicBezTo>
                  <a:cubicBezTo>
                    <a:pt x="196853" y="130722"/>
                    <a:pt x="191138" y="125642"/>
                    <a:pt x="188598" y="126276"/>
                  </a:cubicBezTo>
                  <a:cubicBezTo>
                    <a:pt x="178438" y="128181"/>
                    <a:pt x="177803" y="136437"/>
                    <a:pt x="182248" y="138977"/>
                  </a:cubicBezTo>
                  <a:cubicBezTo>
                    <a:pt x="191773" y="144692"/>
                    <a:pt x="194313" y="135802"/>
                    <a:pt x="199393" y="141517"/>
                  </a:cubicBezTo>
                  <a:lnTo>
                    <a:pt x="199393" y="141517"/>
                  </a:lnTo>
                  <a:close/>
                  <a:moveTo>
                    <a:pt x="201933" y="88812"/>
                  </a:moveTo>
                  <a:cubicBezTo>
                    <a:pt x="204473" y="89447"/>
                    <a:pt x="203838" y="86906"/>
                    <a:pt x="206378" y="87542"/>
                  </a:cubicBezTo>
                  <a:cubicBezTo>
                    <a:pt x="207013" y="86272"/>
                    <a:pt x="203203" y="79922"/>
                    <a:pt x="198758" y="78651"/>
                  </a:cubicBezTo>
                  <a:cubicBezTo>
                    <a:pt x="197488" y="78651"/>
                    <a:pt x="195583" y="78017"/>
                    <a:pt x="194948" y="79922"/>
                  </a:cubicBezTo>
                  <a:cubicBezTo>
                    <a:pt x="198123" y="82462"/>
                    <a:pt x="200663" y="89447"/>
                    <a:pt x="201933" y="88812"/>
                  </a:cubicBezTo>
                  <a:close/>
                  <a:moveTo>
                    <a:pt x="193678" y="20231"/>
                  </a:moveTo>
                  <a:cubicBezTo>
                    <a:pt x="189868" y="17692"/>
                    <a:pt x="184788" y="15151"/>
                    <a:pt x="181613" y="15151"/>
                  </a:cubicBezTo>
                  <a:cubicBezTo>
                    <a:pt x="180343" y="15787"/>
                    <a:pt x="179073" y="17692"/>
                    <a:pt x="179708" y="18962"/>
                  </a:cubicBezTo>
                  <a:cubicBezTo>
                    <a:pt x="183518" y="22137"/>
                    <a:pt x="190503" y="21501"/>
                    <a:pt x="193678" y="20231"/>
                  </a:cubicBezTo>
                  <a:lnTo>
                    <a:pt x="193678" y="20231"/>
                  </a:lnTo>
                  <a:close/>
                  <a:moveTo>
                    <a:pt x="222253" y="277406"/>
                  </a:moveTo>
                  <a:cubicBezTo>
                    <a:pt x="222253" y="279312"/>
                    <a:pt x="220348" y="280581"/>
                    <a:pt x="218443" y="280581"/>
                  </a:cubicBezTo>
                  <a:cubicBezTo>
                    <a:pt x="215268" y="281217"/>
                    <a:pt x="212728" y="278042"/>
                    <a:pt x="211458" y="275502"/>
                  </a:cubicBezTo>
                  <a:cubicBezTo>
                    <a:pt x="209553" y="272327"/>
                    <a:pt x="210188" y="268517"/>
                    <a:pt x="211458" y="265342"/>
                  </a:cubicBezTo>
                  <a:lnTo>
                    <a:pt x="212728" y="264706"/>
                  </a:lnTo>
                  <a:cubicBezTo>
                    <a:pt x="214633" y="269152"/>
                    <a:pt x="216538" y="275502"/>
                    <a:pt x="222253" y="277406"/>
                  </a:cubicBezTo>
                  <a:lnTo>
                    <a:pt x="222253" y="277406"/>
                  </a:lnTo>
                  <a:close/>
                  <a:moveTo>
                    <a:pt x="289563" y="241847"/>
                  </a:moveTo>
                  <a:cubicBezTo>
                    <a:pt x="292103" y="243752"/>
                    <a:pt x="302263" y="250102"/>
                    <a:pt x="303533" y="252006"/>
                  </a:cubicBezTo>
                  <a:cubicBezTo>
                    <a:pt x="304803" y="261531"/>
                    <a:pt x="310518" y="282487"/>
                    <a:pt x="309883" y="286297"/>
                  </a:cubicBezTo>
                  <a:cubicBezTo>
                    <a:pt x="307978" y="296456"/>
                    <a:pt x="304803" y="307252"/>
                    <a:pt x="305438" y="318681"/>
                  </a:cubicBezTo>
                  <a:cubicBezTo>
                    <a:pt x="308613" y="325667"/>
                    <a:pt x="309883" y="333922"/>
                    <a:pt x="307978" y="342177"/>
                  </a:cubicBezTo>
                  <a:cubicBezTo>
                    <a:pt x="310518" y="348527"/>
                    <a:pt x="315598" y="356781"/>
                    <a:pt x="310518" y="363131"/>
                  </a:cubicBezTo>
                  <a:cubicBezTo>
                    <a:pt x="307343" y="365037"/>
                    <a:pt x="306073" y="368847"/>
                    <a:pt x="302263" y="369481"/>
                  </a:cubicBezTo>
                  <a:cubicBezTo>
                    <a:pt x="300993" y="368212"/>
                    <a:pt x="303533" y="360592"/>
                    <a:pt x="299088" y="361862"/>
                  </a:cubicBezTo>
                  <a:cubicBezTo>
                    <a:pt x="297818" y="363767"/>
                    <a:pt x="298453" y="368212"/>
                    <a:pt x="296548" y="369481"/>
                  </a:cubicBezTo>
                  <a:cubicBezTo>
                    <a:pt x="290833" y="368212"/>
                    <a:pt x="287023" y="363767"/>
                    <a:pt x="283848" y="359322"/>
                  </a:cubicBezTo>
                  <a:cubicBezTo>
                    <a:pt x="282578" y="351067"/>
                    <a:pt x="291468" y="346622"/>
                    <a:pt x="288293" y="337731"/>
                  </a:cubicBezTo>
                  <a:cubicBezTo>
                    <a:pt x="283848" y="328206"/>
                    <a:pt x="294008" y="321222"/>
                    <a:pt x="289563" y="311062"/>
                  </a:cubicBezTo>
                  <a:cubicBezTo>
                    <a:pt x="286388" y="302806"/>
                    <a:pt x="278133" y="289472"/>
                    <a:pt x="272418" y="281852"/>
                  </a:cubicBezTo>
                  <a:cubicBezTo>
                    <a:pt x="270513" y="283122"/>
                    <a:pt x="267973" y="284392"/>
                    <a:pt x="264798" y="286931"/>
                  </a:cubicBezTo>
                  <a:cubicBezTo>
                    <a:pt x="262893" y="288202"/>
                    <a:pt x="259718" y="290742"/>
                    <a:pt x="258448" y="292012"/>
                  </a:cubicBezTo>
                  <a:cubicBezTo>
                    <a:pt x="255273" y="294552"/>
                    <a:pt x="252098" y="298997"/>
                    <a:pt x="250828" y="300902"/>
                  </a:cubicBezTo>
                  <a:cubicBezTo>
                    <a:pt x="247018" y="306617"/>
                    <a:pt x="244478" y="311062"/>
                    <a:pt x="243843" y="319952"/>
                  </a:cubicBezTo>
                  <a:cubicBezTo>
                    <a:pt x="243208" y="323762"/>
                    <a:pt x="243843" y="325031"/>
                    <a:pt x="244478" y="330112"/>
                  </a:cubicBezTo>
                  <a:cubicBezTo>
                    <a:pt x="244478" y="331381"/>
                    <a:pt x="243843" y="334556"/>
                    <a:pt x="242573" y="335827"/>
                  </a:cubicBezTo>
                  <a:cubicBezTo>
                    <a:pt x="240668" y="338367"/>
                    <a:pt x="239398" y="337731"/>
                    <a:pt x="237493" y="340906"/>
                  </a:cubicBezTo>
                  <a:cubicBezTo>
                    <a:pt x="236223" y="342812"/>
                    <a:pt x="234318" y="347256"/>
                    <a:pt x="232413" y="347892"/>
                  </a:cubicBezTo>
                  <a:cubicBezTo>
                    <a:pt x="224158" y="349797"/>
                    <a:pt x="212728" y="345987"/>
                    <a:pt x="202568" y="349162"/>
                  </a:cubicBezTo>
                  <a:cubicBezTo>
                    <a:pt x="198758" y="349797"/>
                    <a:pt x="193678" y="348527"/>
                    <a:pt x="190503" y="345987"/>
                  </a:cubicBezTo>
                  <a:cubicBezTo>
                    <a:pt x="186058" y="342812"/>
                    <a:pt x="184788" y="335827"/>
                    <a:pt x="183518" y="330112"/>
                  </a:cubicBezTo>
                  <a:cubicBezTo>
                    <a:pt x="182883" y="325667"/>
                    <a:pt x="182248" y="324397"/>
                    <a:pt x="180978" y="321856"/>
                  </a:cubicBezTo>
                  <a:cubicBezTo>
                    <a:pt x="180343" y="319952"/>
                    <a:pt x="179073" y="318681"/>
                    <a:pt x="177803" y="316777"/>
                  </a:cubicBezTo>
                  <a:cubicBezTo>
                    <a:pt x="175898" y="315506"/>
                    <a:pt x="173993" y="315506"/>
                    <a:pt x="173993" y="315506"/>
                  </a:cubicBezTo>
                  <a:cubicBezTo>
                    <a:pt x="172088" y="315506"/>
                    <a:pt x="170818" y="321856"/>
                    <a:pt x="170183" y="322492"/>
                  </a:cubicBezTo>
                  <a:cubicBezTo>
                    <a:pt x="170183" y="322492"/>
                    <a:pt x="169548" y="326937"/>
                    <a:pt x="170183" y="328206"/>
                  </a:cubicBezTo>
                  <a:cubicBezTo>
                    <a:pt x="170818" y="331381"/>
                    <a:pt x="171453" y="337731"/>
                    <a:pt x="167643" y="341542"/>
                  </a:cubicBezTo>
                  <a:cubicBezTo>
                    <a:pt x="166373" y="342812"/>
                    <a:pt x="167008" y="342812"/>
                    <a:pt x="163833" y="344081"/>
                  </a:cubicBezTo>
                  <a:cubicBezTo>
                    <a:pt x="163198" y="351067"/>
                    <a:pt x="162563" y="354877"/>
                    <a:pt x="160658" y="359322"/>
                  </a:cubicBezTo>
                  <a:cubicBezTo>
                    <a:pt x="159388" y="361862"/>
                    <a:pt x="146688" y="367577"/>
                    <a:pt x="139703" y="367577"/>
                  </a:cubicBezTo>
                  <a:cubicBezTo>
                    <a:pt x="137798" y="367577"/>
                    <a:pt x="137798" y="367577"/>
                    <a:pt x="135893" y="367577"/>
                  </a:cubicBezTo>
                  <a:cubicBezTo>
                    <a:pt x="132718" y="365037"/>
                    <a:pt x="135258" y="361227"/>
                    <a:pt x="133988" y="359956"/>
                  </a:cubicBezTo>
                  <a:cubicBezTo>
                    <a:pt x="131448" y="360592"/>
                    <a:pt x="128273" y="365037"/>
                    <a:pt x="125098" y="362497"/>
                  </a:cubicBezTo>
                  <a:cubicBezTo>
                    <a:pt x="123828" y="360592"/>
                    <a:pt x="125733" y="358687"/>
                    <a:pt x="127003" y="356781"/>
                  </a:cubicBezTo>
                  <a:cubicBezTo>
                    <a:pt x="130813" y="349162"/>
                    <a:pt x="132083" y="342812"/>
                    <a:pt x="139703" y="339002"/>
                  </a:cubicBezTo>
                  <a:cubicBezTo>
                    <a:pt x="140973" y="337097"/>
                    <a:pt x="142878" y="333287"/>
                    <a:pt x="145418" y="330112"/>
                  </a:cubicBezTo>
                  <a:cubicBezTo>
                    <a:pt x="147323" y="327572"/>
                    <a:pt x="149228" y="325667"/>
                    <a:pt x="149863" y="323127"/>
                  </a:cubicBezTo>
                  <a:cubicBezTo>
                    <a:pt x="151133" y="319317"/>
                    <a:pt x="151768" y="313602"/>
                    <a:pt x="151133" y="313602"/>
                  </a:cubicBezTo>
                  <a:cubicBezTo>
                    <a:pt x="144783" y="310427"/>
                    <a:pt x="138433" y="315506"/>
                    <a:pt x="135258" y="325031"/>
                  </a:cubicBezTo>
                  <a:cubicBezTo>
                    <a:pt x="132718" y="333922"/>
                    <a:pt x="130178" y="337097"/>
                    <a:pt x="122558" y="341542"/>
                  </a:cubicBezTo>
                  <a:cubicBezTo>
                    <a:pt x="112398" y="349797"/>
                    <a:pt x="106683" y="363767"/>
                    <a:pt x="103508" y="373292"/>
                  </a:cubicBezTo>
                  <a:cubicBezTo>
                    <a:pt x="102873" y="374562"/>
                    <a:pt x="100333" y="374562"/>
                    <a:pt x="99698" y="375831"/>
                  </a:cubicBezTo>
                  <a:cubicBezTo>
                    <a:pt x="99698" y="378372"/>
                    <a:pt x="100333" y="383452"/>
                    <a:pt x="96523" y="385992"/>
                  </a:cubicBezTo>
                  <a:cubicBezTo>
                    <a:pt x="90808" y="391706"/>
                    <a:pt x="77473" y="396152"/>
                    <a:pt x="72393" y="392977"/>
                  </a:cubicBezTo>
                  <a:cubicBezTo>
                    <a:pt x="69853" y="391706"/>
                    <a:pt x="77473" y="384087"/>
                    <a:pt x="71758" y="384722"/>
                  </a:cubicBezTo>
                  <a:cubicBezTo>
                    <a:pt x="69218" y="385356"/>
                    <a:pt x="66678" y="390437"/>
                    <a:pt x="64138" y="389167"/>
                  </a:cubicBezTo>
                  <a:cubicBezTo>
                    <a:pt x="59693" y="387897"/>
                    <a:pt x="61598" y="371387"/>
                    <a:pt x="64138" y="365037"/>
                  </a:cubicBezTo>
                  <a:cubicBezTo>
                    <a:pt x="66678" y="361862"/>
                    <a:pt x="76838" y="361862"/>
                    <a:pt x="77473" y="353606"/>
                  </a:cubicBezTo>
                  <a:cubicBezTo>
                    <a:pt x="87633" y="350431"/>
                    <a:pt x="92713" y="347256"/>
                    <a:pt x="97793" y="339637"/>
                  </a:cubicBezTo>
                  <a:cubicBezTo>
                    <a:pt x="100333" y="335827"/>
                    <a:pt x="99698" y="331381"/>
                    <a:pt x="100968" y="326937"/>
                  </a:cubicBezTo>
                  <a:cubicBezTo>
                    <a:pt x="102238" y="321856"/>
                    <a:pt x="104778" y="318047"/>
                    <a:pt x="106683" y="315506"/>
                  </a:cubicBezTo>
                  <a:cubicBezTo>
                    <a:pt x="104778" y="315506"/>
                    <a:pt x="102238" y="314872"/>
                    <a:pt x="100968" y="313602"/>
                  </a:cubicBezTo>
                  <a:cubicBezTo>
                    <a:pt x="95888" y="305981"/>
                    <a:pt x="107953" y="286931"/>
                    <a:pt x="94618" y="279947"/>
                  </a:cubicBezTo>
                  <a:cubicBezTo>
                    <a:pt x="88903" y="284392"/>
                    <a:pt x="81918" y="296456"/>
                    <a:pt x="78743" y="302172"/>
                  </a:cubicBezTo>
                  <a:cubicBezTo>
                    <a:pt x="75568" y="310427"/>
                    <a:pt x="69218" y="317412"/>
                    <a:pt x="66043" y="325667"/>
                  </a:cubicBezTo>
                  <a:cubicBezTo>
                    <a:pt x="64138" y="339637"/>
                    <a:pt x="58423" y="351067"/>
                    <a:pt x="48898" y="361227"/>
                  </a:cubicBezTo>
                  <a:cubicBezTo>
                    <a:pt x="40643" y="372022"/>
                    <a:pt x="50803" y="387262"/>
                    <a:pt x="38738" y="395517"/>
                  </a:cubicBezTo>
                  <a:cubicBezTo>
                    <a:pt x="38103" y="401867"/>
                    <a:pt x="36198" y="407581"/>
                    <a:pt x="33658" y="412662"/>
                  </a:cubicBezTo>
                  <a:cubicBezTo>
                    <a:pt x="26038" y="417742"/>
                    <a:pt x="16513" y="420281"/>
                    <a:pt x="8258" y="417742"/>
                  </a:cubicBezTo>
                  <a:lnTo>
                    <a:pt x="11433" y="406312"/>
                  </a:lnTo>
                  <a:cubicBezTo>
                    <a:pt x="4448" y="405677"/>
                    <a:pt x="8258" y="416472"/>
                    <a:pt x="638" y="414567"/>
                  </a:cubicBezTo>
                  <a:cubicBezTo>
                    <a:pt x="-3172" y="404406"/>
                    <a:pt x="3813" y="396152"/>
                    <a:pt x="10163" y="390437"/>
                  </a:cubicBezTo>
                  <a:cubicBezTo>
                    <a:pt x="12068" y="389802"/>
                    <a:pt x="12068" y="387897"/>
                    <a:pt x="12068" y="386627"/>
                  </a:cubicBezTo>
                  <a:cubicBezTo>
                    <a:pt x="15243" y="373292"/>
                    <a:pt x="29213" y="368847"/>
                    <a:pt x="31753" y="355512"/>
                  </a:cubicBezTo>
                  <a:cubicBezTo>
                    <a:pt x="32388" y="343447"/>
                    <a:pt x="33658" y="331381"/>
                    <a:pt x="41278" y="322492"/>
                  </a:cubicBezTo>
                  <a:cubicBezTo>
                    <a:pt x="45723" y="312331"/>
                    <a:pt x="41913" y="300267"/>
                    <a:pt x="43183" y="288837"/>
                  </a:cubicBezTo>
                  <a:cubicBezTo>
                    <a:pt x="43183" y="271056"/>
                    <a:pt x="57788" y="256452"/>
                    <a:pt x="55248" y="237402"/>
                  </a:cubicBezTo>
                  <a:cubicBezTo>
                    <a:pt x="54613" y="224067"/>
                    <a:pt x="59058" y="210097"/>
                    <a:pt x="64773" y="200572"/>
                  </a:cubicBezTo>
                  <a:cubicBezTo>
                    <a:pt x="72393" y="184697"/>
                    <a:pt x="89538" y="172631"/>
                    <a:pt x="87633" y="152947"/>
                  </a:cubicBezTo>
                  <a:cubicBezTo>
                    <a:pt x="89538" y="135167"/>
                    <a:pt x="95253" y="116117"/>
                    <a:pt x="112398" y="107226"/>
                  </a:cubicBezTo>
                  <a:cubicBezTo>
                    <a:pt x="120653" y="102147"/>
                    <a:pt x="128908" y="98337"/>
                    <a:pt x="137163" y="93892"/>
                  </a:cubicBezTo>
                  <a:cubicBezTo>
                    <a:pt x="148593" y="86272"/>
                    <a:pt x="160658" y="76747"/>
                    <a:pt x="170818" y="67856"/>
                  </a:cubicBezTo>
                  <a:cubicBezTo>
                    <a:pt x="175898" y="63412"/>
                    <a:pt x="184788" y="62142"/>
                    <a:pt x="191138" y="63412"/>
                  </a:cubicBezTo>
                  <a:cubicBezTo>
                    <a:pt x="205108" y="68492"/>
                    <a:pt x="217808" y="74842"/>
                    <a:pt x="233048" y="78017"/>
                  </a:cubicBezTo>
                  <a:cubicBezTo>
                    <a:pt x="241303" y="78651"/>
                    <a:pt x="247018" y="79922"/>
                    <a:pt x="254003" y="82462"/>
                  </a:cubicBezTo>
                  <a:cubicBezTo>
                    <a:pt x="269878" y="88176"/>
                    <a:pt x="283848" y="48172"/>
                    <a:pt x="235588" y="45631"/>
                  </a:cubicBezTo>
                  <a:lnTo>
                    <a:pt x="177168" y="44997"/>
                  </a:lnTo>
                  <a:cubicBezTo>
                    <a:pt x="127638" y="42456"/>
                    <a:pt x="112398" y="32931"/>
                    <a:pt x="125098" y="15787"/>
                  </a:cubicBezTo>
                  <a:cubicBezTo>
                    <a:pt x="159388" y="-15328"/>
                    <a:pt x="222888" y="6897"/>
                    <a:pt x="232413" y="14517"/>
                  </a:cubicBezTo>
                  <a:cubicBezTo>
                    <a:pt x="233683" y="15787"/>
                    <a:pt x="228603" y="21501"/>
                    <a:pt x="201933" y="13247"/>
                  </a:cubicBezTo>
                  <a:cubicBezTo>
                    <a:pt x="197488" y="12612"/>
                    <a:pt x="194313" y="12612"/>
                    <a:pt x="190503" y="13881"/>
                  </a:cubicBezTo>
                  <a:cubicBezTo>
                    <a:pt x="190503" y="13881"/>
                    <a:pt x="196853" y="18962"/>
                    <a:pt x="204473" y="18326"/>
                  </a:cubicBezTo>
                  <a:cubicBezTo>
                    <a:pt x="206378" y="18326"/>
                    <a:pt x="217173" y="20231"/>
                    <a:pt x="208918" y="23406"/>
                  </a:cubicBezTo>
                  <a:cubicBezTo>
                    <a:pt x="177803" y="34201"/>
                    <a:pt x="160023" y="11976"/>
                    <a:pt x="146053" y="10706"/>
                  </a:cubicBezTo>
                  <a:cubicBezTo>
                    <a:pt x="139068" y="9437"/>
                    <a:pt x="121288" y="26581"/>
                    <a:pt x="137163" y="30392"/>
                  </a:cubicBezTo>
                  <a:cubicBezTo>
                    <a:pt x="177168" y="41187"/>
                    <a:pt x="214633" y="32297"/>
                    <a:pt x="249558" y="37376"/>
                  </a:cubicBezTo>
                  <a:cubicBezTo>
                    <a:pt x="262893" y="39281"/>
                    <a:pt x="275593" y="48172"/>
                    <a:pt x="280673" y="60872"/>
                  </a:cubicBezTo>
                  <a:cubicBezTo>
                    <a:pt x="284483" y="74206"/>
                    <a:pt x="281308" y="78651"/>
                    <a:pt x="276228" y="88176"/>
                  </a:cubicBezTo>
                  <a:cubicBezTo>
                    <a:pt x="283848" y="98972"/>
                    <a:pt x="288293" y="105322"/>
                    <a:pt x="291468" y="117387"/>
                  </a:cubicBezTo>
                  <a:cubicBezTo>
                    <a:pt x="301628" y="128181"/>
                    <a:pt x="307978" y="142787"/>
                    <a:pt x="307978" y="156122"/>
                  </a:cubicBezTo>
                  <a:cubicBezTo>
                    <a:pt x="307978" y="171362"/>
                    <a:pt x="302898" y="177077"/>
                    <a:pt x="304803" y="185331"/>
                  </a:cubicBezTo>
                  <a:cubicBezTo>
                    <a:pt x="308613" y="201206"/>
                    <a:pt x="311153" y="199302"/>
                    <a:pt x="306708" y="215812"/>
                  </a:cubicBezTo>
                  <a:cubicBezTo>
                    <a:pt x="300993" y="214542"/>
                    <a:pt x="297183" y="214542"/>
                    <a:pt x="297183" y="214542"/>
                  </a:cubicBezTo>
                  <a:cubicBezTo>
                    <a:pt x="297818" y="210097"/>
                    <a:pt x="299088" y="203747"/>
                    <a:pt x="298453" y="201206"/>
                  </a:cubicBezTo>
                  <a:cubicBezTo>
                    <a:pt x="297818" y="198031"/>
                    <a:pt x="292738" y="187872"/>
                    <a:pt x="294008" y="180887"/>
                  </a:cubicBezTo>
                  <a:cubicBezTo>
                    <a:pt x="295278" y="171997"/>
                    <a:pt x="300993" y="159297"/>
                    <a:pt x="299088" y="149137"/>
                  </a:cubicBezTo>
                  <a:cubicBezTo>
                    <a:pt x="297183" y="140247"/>
                    <a:pt x="295278" y="133897"/>
                    <a:pt x="290833" y="128817"/>
                  </a:cubicBezTo>
                  <a:cubicBezTo>
                    <a:pt x="288293" y="125006"/>
                    <a:pt x="285118" y="121197"/>
                    <a:pt x="284483" y="117387"/>
                  </a:cubicBezTo>
                  <a:cubicBezTo>
                    <a:pt x="281943" y="107862"/>
                    <a:pt x="276228" y="101512"/>
                    <a:pt x="274323" y="98337"/>
                  </a:cubicBezTo>
                  <a:cubicBezTo>
                    <a:pt x="270513" y="91987"/>
                    <a:pt x="270513" y="90717"/>
                    <a:pt x="266703" y="91351"/>
                  </a:cubicBezTo>
                  <a:cubicBezTo>
                    <a:pt x="263528" y="91987"/>
                    <a:pt x="256543" y="93256"/>
                    <a:pt x="256543" y="93256"/>
                  </a:cubicBezTo>
                  <a:cubicBezTo>
                    <a:pt x="252098" y="94526"/>
                    <a:pt x="250193" y="94526"/>
                    <a:pt x="247018" y="96431"/>
                  </a:cubicBezTo>
                  <a:cubicBezTo>
                    <a:pt x="245113" y="98337"/>
                    <a:pt x="245113" y="100876"/>
                    <a:pt x="247018" y="102781"/>
                  </a:cubicBezTo>
                  <a:cubicBezTo>
                    <a:pt x="250193" y="105956"/>
                    <a:pt x="255908" y="105956"/>
                    <a:pt x="255908" y="111037"/>
                  </a:cubicBezTo>
                  <a:cubicBezTo>
                    <a:pt x="252733" y="122467"/>
                    <a:pt x="268608" y="130722"/>
                    <a:pt x="254638" y="134531"/>
                  </a:cubicBezTo>
                  <a:cubicBezTo>
                    <a:pt x="247653" y="135167"/>
                    <a:pt x="243843" y="131356"/>
                    <a:pt x="238763" y="125642"/>
                  </a:cubicBezTo>
                  <a:cubicBezTo>
                    <a:pt x="231143" y="110401"/>
                    <a:pt x="226063" y="104051"/>
                    <a:pt x="215903" y="93256"/>
                  </a:cubicBezTo>
                  <a:cubicBezTo>
                    <a:pt x="213363" y="91987"/>
                    <a:pt x="207013" y="87542"/>
                    <a:pt x="203838" y="89447"/>
                  </a:cubicBezTo>
                  <a:lnTo>
                    <a:pt x="203838" y="91987"/>
                  </a:lnTo>
                  <a:cubicBezTo>
                    <a:pt x="213363" y="109131"/>
                    <a:pt x="219078" y="115481"/>
                    <a:pt x="226698" y="131356"/>
                  </a:cubicBezTo>
                  <a:cubicBezTo>
                    <a:pt x="235588" y="149137"/>
                    <a:pt x="237493" y="155487"/>
                    <a:pt x="243843" y="172631"/>
                  </a:cubicBezTo>
                  <a:cubicBezTo>
                    <a:pt x="245113" y="176442"/>
                    <a:pt x="245113" y="179617"/>
                    <a:pt x="243843" y="180887"/>
                  </a:cubicBezTo>
                  <a:cubicBezTo>
                    <a:pt x="241938" y="180887"/>
                    <a:pt x="240033" y="173902"/>
                    <a:pt x="238128" y="170727"/>
                  </a:cubicBezTo>
                  <a:cubicBezTo>
                    <a:pt x="236223" y="166917"/>
                    <a:pt x="236223" y="165012"/>
                    <a:pt x="234953" y="162472"/>
                  </a:cubicBezTo>
                  <a:cubicBezTo>
                    <a:pt x="226698" y="147867"/>
                    <a:pt x="224158" y="163106"/>
                    <a:pt x="216538" y="164377"/>
                  </a:cubicBezTo>
                  <a:cubicBezTo>
                    <a:pt x="212728" y="165647"/>
                    <a:pt x="207648" y="159931"/>
                    <a:pt x="207013" y="166917"/>
                  </a:cubicBezTo>
                  <a:cubicBezTo>
                    <a:pt x="205743" y="169456"/>
                    <a:pt x="207648" y="171997"/>
                    <a:pt x="210188" y="172631"/>
                  </a:cubicBezTo>
                  <a:cubicBezTo>
                    <a:pt x="217173" y="172631"/>
                    <a:pt x="224158" y="175172"/>
                    <a:pt x="228603" y="180252"/>
                  </a:cubicBezTo>
                  <a:cubicBezTo>
                    <a:pt x="228603" y="180887"/>
                    <a:pt x="228603" y="182156"/>
                    <a:pt x="227333" y="182156"/>
                  </a:cubicBezTo>
                  <a:cubicBezTo>
                    <a:pt x="224158" y="180887"/>
                    <a:pt x="224158" y="177712"/>
                    <a:pt x="220348" y="177712"/>
                  </a:cubicBezTo>
                  <a:cubicBezTo>
                    <a:pt x="218443" y="178347"/>
                    <a:pt x="210823" y="177712"/>
                    <a:pt x="212093" y="181522"/>
                  </a:cubicBezTo>
                  <a:cubicBezTo>
                    <a:pt x="213363" y="184697"/>
                    <a:pt x="212093" y="185331"/>
                    <a:pt x="214633" y="186602"/>
                  </a:cubicBezTo>
                  <a:cubicBezTo>
                    <a:pt x="223523" y="186602"/>
                    <a:pt x="231778" y="188506"/>
                    <a:pt x="237493" y="196762"/>
                  </a:cubicBezTo>
                  <a:cubicBezTo>
                    <a:pt x="238763" y="199302"/>
                    <a:pt x="239398" y="201842"/>
                    <a:pt x="242573" y="201206"/>
                  </a:cubicBezTo>
                  <a:lnTo>
                    <a:pt x="250828" y="201206"/>
                  </a:lnTo>
                  <a:cubicBezTo>
                    <a:pt x="274958" y="199937"/>
                    <a:pt x="294643" y="213906"/>
                    <a:pt x="295278" y="218987"/>
                  </a:cubicBezTo>
                  <a:cubicBezTo>
                    <a:pt x="313693" y="215177"/>
                    <a:pt x="318773" y="236131"/>
                    <a:pt x="332743" y="242481"/>
                  </a:cubicBezTo>
                  <a:cubicBezTo>
                    <a:pt x="338458" y="245022"/>
                    <a:pt x="346078" y="246292"/>
                    <a:pt x="352428" y="243117"/>
                  </a:cubicBezTo>
                  <a:cubicBezTo>
                    <a:pt x="358778" y="240577"/>
                    <a:pt x="361318" y="241847"/>
                    <a:pt x="353698" y="247562"/>
                  </a:cubicBezTo>
                  <a:cubicBezTo>
                    <a:pt x="320678" y="270422"/>
                    <a:pt x="299088" y="234227"/>
                    <a:pt x="287023" y="232322"/>
                  </a:cubicBezTo>
                  <a:cubicBezTo>
                    <a:pt x="287658" y="228512"/>
                    <a:pt x="292103" y="220892"/>
                    <a:pt x="286388" y="217081"/>
                  </a:cubicBezTo>
                  <a:cubicBezTo>
                    <a:pt x="284483" y="215812"/>
                    <a:pt x="281943" y="220256"/>
                    <a:pt x="277498" y="212637"/>
                  </a:cubicBezTo>
                  <a:cubicBezTo>
                    <a:pt x="274958" y="208192"/>
                    <a:pt x="271148" y="215177"/>
                    <a:pt x="267973" y="212002"/>
                  </a:cubicBezTo>
                  <a:cubicBezTo>
                    <a:pt x="265433" y="210097"/>
                    <a:pt x="263528" y="206922"/>
                    <a:pt x="260353" y="207556"/>
                  </a:cubicBezTo>
                  <a:cubicBezTo>
                    <a:pt x="257813" y="207556"/>
                    <a:pt x="257178" y="206922"/>
                    <a:pt x="255908" y="208192"/>
                  </a:cubicBezTo>
                  <a:cubicBezTo>
                    <a:pt x="254638" y="208827"/>
                    <a:pt x="254638" y="209462"/>
                    <a:pt x="254003" y="212002"/>
                  </a:cubicBezTo>
                  <a:cubicBezTo>
                    <a:pt x="253368" y="213272"/>
                    <a:pt x="253368" y="216447"/>
                    <a:pt x="254638" y="217081"/>
                  </a:cubicBezTo>
                  <a:cubicBezTo>
                    <a:pt x="255908" y="217717"/>
                    <a:pt x="257813" y="219622"/>
                    <a:pt x="262258" y="220256"/>
                  </a:cubicBezTo>
                  <a:cubicBezTo>
                    <a:pt x="263528" y="220256"/>
                    <a:pt x="262893" y="221527"/>
                    <a:pt x="262893" y="222797"/>
                  </a:cubicBezTo>
                  <a:cubicBezTo>
                    <a:pt x="257813" y="225972"/>
                    <a:pt x="252098" y="223431"/>
                    <a:pt x="247653" y="220892"/>
                  </a:cubicBezTo>
                  <a:cubicBezTo>
                    <a:pt x="248923" y="217717"/>
                    <a:pt x="248923" y="215177"/>
                    <a:pt x="247653" y="211367"/>
                  </a:cubicBezTo>
                  <a:cubicBezTo>
                    <a:pt x="246383" y="206922"/>
                    <a:pt x="241938" y="205017"/>
                    <a:pt x="237493" y="204381"/>
                  </a:cubicBezTo>
                  <a:cubicBezTo>
                    <a:pt x="236223" y="205652"/>
                    <a:pt x="236858" y="206287"/>
                    <a:pt x="236858" y="207556"/>
                  </a:cubicBezTo>
                  <a:cubicBezTo>
                    <a:pt x="240668" y="212637"/>
                    <a:pt x="238128" y="219622"/>
                    <a:pt x="235588" y="219622"/>
                  </a:cubicBezTo>
                  <a:cubicBezTo>
                    <a:pt x="219713" y="217081"/>
                    <a:pt x="223523" y="231687"/>
                    <a:pt x="234953" y="235497"/>
                  </a:cubicBezTo>
                  <a:cubicBezTo>
                    <a:pt x="247018" y="239306"/>
                    <a:pt x="255908" y="240577"/>
                    <a:pt x="267338" y="235497"/>
                  </a:cubicBezTo>
                  <a:cubicBezTo>
                    <a:pt x="269243" y="234862"/>
                    <a:pt x="269878" y="235497"/>
                    <a:pt x="266703" y="239306"/>
                  </a:cubicBezTo>
                  <a:cubicBezTo>
                    <a:pt x="264163" y="241847"/>
                    <a:pt x="259083" y="244387"/>
                    <a:pt x="255273" y="245656"/>
                  </a:cubicBezTo>
                  <a:cubicBezTo>
                    <a:pt x="252098" y="246927"/>
                    <a:pt x="248923" y="246927"/>
                    <a:pt x="245748" y="247562"/>
                  </a:cubicBezTo>
                  <a:cubicBezTo>
                    <a:pt x="245748" y="247562"/>
                    <a:pt x="214633" y="250737"/>
                    <a:pt x="201933" y="224067"/>
                  </a:cubicBezTo>
                  <a:cubicBezTo>
                    <a:pt x="194313" y="201842"/>
                    <a:pt x="222253" y="201206"/>
                    <a:pt x="227333" y="201206"/>
                  </a:cubicBezTo>
                  <a:cubicBezTo>
                    <a:pt x="227968" y="201206"/>
                    <a:pt x="228603" y="201206"/>
                    <a:pt x="228603" y="201206"/>
                  </a:cubicBezTo>
                  <a:cubicBezTo>
                    <a:pt x="231143" y="199302"/>
                    <a:pt x="229238" y="196762"/>
                    <a:pt x="227333" y="195492"/>
                  </a:cubicBezTo>
                  <a:cubicBezTo>
                    <a:pt x="224158" y="191047"/>
                    <a:pt x="217808" y="192952"/>
                    <a:pt x="212728" y="192317"/>
                  </a:cubicBezTo>
                  <a:cubicBezTo>
                    <a:pt x="207648" y="193587"/>
                    <a:pt x="204473" y="196762"/>
                    <a:pt x="200663" y="199302"/>
                  </a:cubicBezTo>
                  <a:cubicBezTo>
                    <a:pt x="198758" y="199302"/>
                    <a:pt x="198123" y="198031"/>
                    <a:pt x="196218" y="196762"/>
                  </a:cubicBezTo>
                  <a:cubicBezTo>
                    <a:pt x="191138" y="194222"/>
                    <a:pt x="183518" y="193587"/>
                    <a:pt x="177803" y="194856"/>
                  </a:cubicBezTo>
                  <a:cubicBezTo>
                    <a:pt x="174628" y="197397"/>
                    <a:pt x="177803" y="201206"/>
                    <a:pt x="177803" y="204381"/>
                  </a:cubicBezTo>
                  <a:cubicBezTo>
                    <a:pt x="180343" y="210097"/>
                    <a:pt x="182248" y="217081"/>
                    <a:pt x="187963" y="220892"/>
                  </a:cubicBezTo>
                  <a:cubicBezTo>
                    <a:pt x="189868" y="222797"/>
                    <a:pt x="193043" y="224702"/>
                    <a:pt x="194948" y="226606"/>
                  </a:cubicBezTo>
                  <a:cubicBezTo>
                    <a:pt x="199393" y="230417"/>
                    <a:pt x="200028" y="238672"/>
                    <a:pt x="199393" y="239942"/>
                  </a:cubicBezTo>
                  <a:cubicBezTo>
                    <a:pt x="198123" y="242481"/>
                    <a:pt x="193678" y="250737"/>
                    <a:pt x="193043" y="252006"/>
                  </a:cubicBezTo>
                  <a:cubicBezTo>
                    <a:pt x="188598" y="258992"/>
                    <a:pt x="184788" y="264072"/>
                    <a:pt x="182248" y="272962"/>
                  </a:cubicBezTo>
                  <a:cubicBezTo>
                    <a:pt x="180343" y="278677"/>
                    <a:pt x="180343" y="281217"/>
                    <a:pt x="179708" y="283756"/>
                  </a:cubicBezTo>
                  <a:cubicBezTo>
                    <a:pt x="179073" y="286297"/>
                    <a:pt x="177168" y="291377"/>
                    <a:pt x="181613" y="295187"/>
                  </a:cubicBezTo>
                  <a:cubicBezTo>
                    <a:pt x="186058" y="298997"/>
                    <a:pt x="189233" y="279312"/>
                    <a:pt x="201298" y="278042"/>
                  </a:cubicBezTo>
                  <a:cubicBezTo>
                    <a:pt x="202568" y="276772"/>
                    <a:pt x="201298" y="283122"/>
                    <a:pt x="196853" y="295187"/>
                  </a:cubicBezTo>
                  <a:cubicBezTo>
                    <a:pt x="194948" y="299631"/>
                    <a:pt x="194948" y="300267"/>
                    <a:pt x="194313" y="303442"/>
                  </a:cubicBezTo>
                  <a:cubicBezTo>
                    <a:pt x="193043" y="306617"/>
                    <a:pt x="191773" y="309156"/>
                    <a:pt x="190503" y="315506"/>
                  </a:cubicBezTo>
                  <a:cubicBezTo>
                    <a:pt x="189233" y="319952"/>
                    <a:pt x="189233" y="326302"/>
                    <a:pt x="189233" y="326302"/>
                  </a:cubicBezTo>
                  <a:cubicBezTo>
                    <a:pt x="188598" y="330112"/>
                    <a:pt x="190503" y="332017"/>
                    <a:pt x="191138" y="332652"/>
                  </a:cubicBezTo>
                  <a:cubicBezTo>
                    <a:pt x="193043" y="333922"/>
                    <a:pt x="194948" y="333287"/>
                    <a:pt x="195583" y="331381"/>
                  </a:cubicBezTo>
                  <a:cubicBezTo>
                    <a:pt x="196218" y="330112"/>
                    <a:pt x="195583" y="326937"/>
                    <a:pt x="197488" y="325667"/>
                  </a:cubicBezTo>
                  <a:cubicBezTo>
                    <a:pt x="199393" y="324397"/>
                    <a:pt x="203838" y="325667"/>
                    <a:pt x="204473" y="328206"/>
                  </a:cubicBezTo>
                  <a:cubicBezTo>
                    <a:pt x="205108" y="329477"/>
                    <a:pt x="204473" y="331381"/>
                    <a:pt x="203838" y="332652"/>
                  </a:cubicBezTo>
                  <a:cubicBezTo>
                    <a:pt x="203838" y="333287"/>
                    <a:pt x="201933" y="335192"/>
                    <a:pt x="200028" y="335827"/>
                  </a:cubicBezTo>
                  <a:cubicBezTo>
                    <a:pt x="195583" y="337731"/>
                    <a:pt x="199393" y="342812"/>
                    <a:pt x="205108" y="340272"/>
                  </a:cubicBezTo>
                  <a:cubicBezTo>
                    <a:pt x="210823" y="337731"/>
                    <a:pt x="215268" y="339002"/>
                    <a:pt x="218443" y="339637"/>
                  </a:cubicBezTo>
                  <a:cubicBezTo>
                    <a:pt x="221618" y="340272"/>
                    <a:pt x="224793" y="340272"/>
                    <a:pt x="227968" y="338367"/>
                  </a:cubicBezTo>
                  <a:cubicBezTo>
                    <a:pt x="228603" y="337731"/>
                    <a:pt x="229873" y="335192"/>
                    <a:pt x="231778" y="333287"/>
                  </a:cubicBezTo>
                  <a:cubicBezTo>
                    <a:pt x="233683" y="331381"/>
                    <a:pt x="233048" y="332017"/>
                    <a:pt x="234953" y="330112"/>
                  </a:cubicBezTo>
                  <a:cubicBezTo>
                    <a:pt x="238128" y="326937"/>
                    <a:pt x="236223" y="323762"/>
                    <a:pt x="236223" y="322492"/>
                  </a:cubicBezTo>
                  <a:cubicBezTo>
                    <a:pt x="235588" y="318047"/>
                    <a:pt x="236223" y="316142"/>
                    <a:pt x="236858" y="313602"/>
                  </a:cubicBezTo>
                  <a:cubicBezTo>
                    <a:pt x="236858" y="311062"/>
                    <a:pt x="238763" y="307887"/>
                    <a:pt x="239398" y="304712"/>
                  </a:cubicBezTo>
                  <a:cubicBezTo>
                    <a:pt x="240033" y="301537"/>
                    <a:pt x="242573" y="298362"/>
                    <a:pt x="243843" y="295822"/>
                  </a:cubicBezTo>
                  <a:cubicBezTo>
                    <a:pt x="244478" y="294552"/>
                    <a:pt x="248288" y="290106"/>
                    <a:pt x="249558" y="288202"/>
                  </a:cubicBezTo>
                  <a:cubicBezTo>
                    <a:pt x="250828" y="286297"/>
                    <a:pt x="253368" y="284392"/>
                    <a:pt x="256543" y="281217"/>
                  </a:cubicBezTo>
                  <a:cubicBezTo>
                    <a:pt x="258448" y="279312"/>
                    <a:pt x="259718" y="278042"/>
                    <a:pt x="262258" y="276772"/>
                  </a:cubicBezTo>
                  <a:cubicBezTo>
                    <a:pt x="265433" y="274867"/>
                    <a:pt x="267973" y="272962"/>
                    <a:pt x="269243" y="272327"/>
                  </a:cubicBezTo>
                  <a:cubicBezTo>
                    <a:pt x="270513" y="271692"/>
                    <a:pt x="275593" y="269152"/>
                    <a:pt x="278133" y="267881"/>
                  </a:cubicBezTo>
                  <a:cubicBezTo>
                    <a:pt x="282578" y="267881"/>
                    <a:pt x="288928" y="252006"/>
                    <a:pt x="289563" y="241847"/>
                  </a:cubicBezTo>
                  <a:lnTo>
                    <a:pt x="289563" y="241847"/>
                  </a:lnTo>
                  <a:close/>
                  <a:moveTo>
                    <a:pt x="288928" y="267247"/>
                  </a:moveTo>
                  <a:cubicBezTo>
                    <a:pt x="285753" y="273597"/>
                    <a:pt x="282578" y="275502"/>
                    <a:pt x="283213" y="278042"/>
                  </a:cubicBezTo>
                  <a:cubicBezTo>
                    <a:pt x="283848" y="280581"/>
                    <a:pt x="293373" y="295187"/>
                    <a:pt x="294008" y="295822"/>
                  </a:cubicBezTo>
                  <a:cubicBezTo>
                    <a:pt x="294643" y="296456"/>
                    <a:pt x="298453" y="297092"/>
                    <a:pt x="299723" y="293917"/>
                  </a:cubicBezTo>
                  <a:cubicBezTo>
                    <a:pt x="300993" y="290742"/>
                    <a:pt x="300993" y="285662"/>
                    <a:pt x="300993" y="282487"/>
                  </a:cubicBezTo>
                  <a:cubicBezTo>
                    <a:pt x="300993" y="279312"/>
                    <a:pt x="300358" y="273597"/>
                    <a:pt x="299723" y="268517"/>
                  </a:cubicBezTo>
                  <a:cubicBezTo>
                    <a:pt x="299088" y="264706"/>
                    <a:pt x="296548" y="258992"/>
                    <a:pt x="294643" y="259627"/>
                  </a:cubicBezTo>
                  <a:cubicBezTo>
                    <a:pt x="292103" y="259627"/>
                    <a:pt x="290833" y="263437"/>
                    <a:pt x="288928" y="267247"/>
                  </a:cubicBezTo>
                  <a:close/>
                  <a:moveTo>
                    <a:pt x="179073" y="220892"/>
                  </a:moveTo>
                  <a:cubicBezTo>
                    <a:pt x="172088" y="208827"/>
                    <a:pt x="173993" y="208192"/>
                    <a:pt x="171453" y="202477"/>
                  </a:cubicBezTo>
                  <a:cubicBezTo>
                    <a:pt x="169548" y="197397"/>
                    <a:pt x="166373" y="196127"/>
                    <a:pt x="161293" y="196127"/>
                  </a:cubicBezTo>
                  <a:cubicBezTo>
                    <a:pt x="154943" y="196127"/>
                    <a:pt x="152403" y="200572"/>
                    <a:pt x="151133" y="201206"/>
                  </a:cubicBezTo>
                  <a:cubicBezTo>
                    <a:pt x="148593" y="203747"/>
                    <a:pt x="148593" y="207556"/>
                    <a:pt x="144148" y="210097"/>
                  </a:cubicBezTo>
                  <a:cubicBezTo>
                    <a:pt x="139703" y="213272"/>
                    <a:pt x="134623" y="216447"/>
                    <a:pt x="129543" y="215177"/>
                  </a:cubicBezTo>
                  <a:cubicBezTo>
                    <a:pt x="121288" y="213272"/>
                    <a:pt x="120653" y="204381"/>
                    <a:pt x="111763" y="208192"/>
                  </a:cubicBezTo>
                  <a:cubicBezTo>
                    <a:pt x="105413" y="211367"/>
                    <a:pt x="104143" y="216447"/>
                    <a:pt x="102238" y="218987"/>
                  </a:cubicBezTo>
                  <a:cubicBezTo>
                    <a:pt x="100968" y="222162"/>
                    <a:pt x="97793" y="229147"/>
                    <a:pt x="90173" y="224067"/>
                  </a:cubicBezTo>
                  <a:cubicBezTo>
                    <a:pt x="86363" y="221527"/>
                    <a:pt x="85093" y="216447"/>
                    <a:pt x="79378" y="220256"/>
                  </a:cubicBezTo>
                  <a:cubicBezTo>
                    <a:pt x="74298" y="225337"/>
                    <a:pt x="73028" y="243117"/>
                    <a:pt x="69853" y="247562"/>
                  </a:cubicBezTo>
                  <a:cubicBezTo>
                    <a:pt x="62868" y="258992"/>
                    <a:pt x="59693" y="274231"/>
                    <a:pt x="59058" y="276137"/>
                  </a:cubicBezTo>
                  <a:cubicBezTo>
                    <a:pt x="59058" y="276137"/>
                    <a:pt x="57788" y="281852"/>
                    <a:pt x="57153" y="283756"/>
                  </a:cubicBezTo>
                  <a:cubicBezTo>
                    <a:pt x="56518" y="286297"/>
                    <a:pt x="53978" y="302806"/>
                    <a:pt x="58423" y="304077"/>
                  </a:cubicBezTo>
                  <a:cubicBezTo>
                    <a:pt x="65408" y="305981"/>
                    <a:pt x="76838" y="287567"/>
                    <a:pt x="78743" y="285662"/>
                  </a:cubicBezTo>
                  <a:cubicBezTo>
                    <a:pt x="85728" y="278042"/>
                    <a:pt x="86998" y="273597"/>
                    <a:pt x="89538" y="270422"/>
                  </a:cubicBezTo>
                  <a:cubicBezTo>
                    <a:pt x="92078" y="267247"/>
                    <a:pt x="96523" y="265977"/>
                    <a:pt x="100333" y="266612"/>
                  </a:cubicBezTo>
                  <a:cubicBezTo>
                    <a:pt x="101603" y="266612"/>
                    <a:pt x="111128" y="267247"/>
                    <a:pt x="116208" y="268517"/>
                  </a:cubicBezTo>
                  <a:cubicBezTo>
                    <a:pt x="121288" y="269152"/>
                    <a:pt x="122558" y="269787"/>
                    <a:pt x="129543" y="271692"/>
                  </a:cubicBezTo>
                  <a:cubicBezTo>
                    <a:pt x="131448" y="272327"/>
                    <a:pt x="131448" y="274231"/>
                    <a:pt x="130178" y="274867"/>
                  </a:cubicBezTo>
                  <a:cubicBezTo>
                    <a:pt x="126368" y="276772"/>
                    <a:pt x="123193" y="276137"/>
                    <a:pt x="121288" y="276772"/>
                  </a:cubicBezTo>
                  <a:cubicBezTo>
                    <a:pt x="118113" y="277406"/>
                    <a:pt x="116208" y="279947"/>
                    <a:pt x="115573" y="281217"/>
                  </a:cubicBezTo>
                  <a:cubicBezTo>
                    <a:pt x="114303" y="284392"/>
                    <a:pt x="112398" y="290106"/>
                    <a:pt x="111763" y="292647"/>
                  </a:cubicBezTo>
                  <a:cubicBezTo>
                    <a:pt x="111128" y="295187"/>
                    <a:pt x="109223" y="302172"/>
                    <a:pt x="112398" y="305347"/>
                  </a:cubicBezTo>
                  <a:cubicBezTo>
                    <a:pt x="114303" y="307252"/>
                    <a:pt x="119383" y="307887"/>
                    <a:pt x="124463" y="308522"/>
                  </a:cubicBezTo>
                  <a:cubicBezTo>
                    <a:pt x="129543" y="308522"/>
                    <a:pt x="147323" y="306617"/>
                    <a:pt x="148593" y="306617"/>
                  </a:cubicBezTo>
                  <a:cubicBezTo>
                    <a:pt x="153038" y="306617"/>
                    <a:pt x="158118" y="306617"/>
                    <a:pt x="161928" y="306617"/>
                  </a:cubicBezTo>
                  <a:cubicBezTo>
                    <a:pt x="163198" y="306617"/>
                    <a:pt x="175263" y="306617"/>
                    <a:pt x="173993" y="302172"/>
                  </a:cubicBezTo>
                  <a:cubicBezTo>
                    <a:pt x="173358" y="299631"/>
                    <a:pt x="168913" y="289472"/>
                    <a:pt x="167643" y="287567"/>
                  </a:cubicBezTo>
                  <a:cubicBezTo>
                    <a:pt x="163198" y="279947"/>
                    <a:pt x="160658" y="278042"/>
                    <a:pt x="158118" y="269787"/>
                  </a:cubicBezTo>
                  <a:cubicBezTo>
                    <a:pt x="156213" y="264072"/>
                    <a:pt x="157483" y="261531"/>
                    <a:pt x="158118" y="258356"/>
                  </a:cubicBezTo>
                  <a:cubicBezTo>
                    <a:pt x="159388" y="255181"/>
                    <a:pt x="161928" y="250102"/>
                    <a:pt x="168278" y="244387"/>
                  </a:cubicBezTo>
                  <a:cubicBezTo>
                    <a:pt x="182248" y="234227"/>
                    <a:pt x="183518" y="232956"/>
                    <a:pt x="179073" y="220892"/>
                  </a:cubicBezTo>
                  <a:lnTo>
                    <a:pt x="179073" y="220892"/>
                  </a:lnTo>
                  <a:close/>
                </a:path>
              </a:pathLst>
            </a:custGeom>
            <a:solidFill>
              <a:srgbClr val="FFFFFF"/>
            </a:solidFill>
            <a:ln w="6350" cap="flat">
              <a:noFill/>
              <a:prstDash val="solid"/>
              <a:miter/>
            </a:ln>
          </p:spPr>
          <p:txBody>
            <a:bodyPr rtlCol="0" anchor="ctr"/>
            <a:lstStyle/>
            <a:p>
              <a:endParaRPr lang="en-GB"/>
            </a:p>
          </p:txBody>
        </p:sp>
        <p:sp>
          <p:nvSpPr>
            <p:cNvPr id="159" name="Freeform 158"/>
            <p:cNvSpPr/>
            <p:nvPr/>
          </p:nvSpPr>
          <p:spPr>
            <a:xfrm>
              <a:off x="-7893050" y="3097529"/>
              <a:ext cx="546100" cy="122554"/>
            </a:xfrm>
            <a:custGeom>
              <a:avLst/>
              <a:gdLst>
                <a:gd name="connsiteX0" fmla="*/ 534861 w 546100"/>
                <a:gd name="connsiteY0" fmla="*/ 118435 h 122554"/>
                <a:gd name="connsiteX1" fmla="*/ 534861 w 546100"/>
                <a:gd name="connsiteY1" fmla="*/ 40965 h 122554"/>
                <a:gd name="connsiteX2" fmla="*/ 545656 w 546100"/>
                <a:gd name="connsiteY2" fmla="*/ 44775 h 122554"/>
                <a:gd name="connsiteX3" fmla="*/ 545656 w 546100"/>
                <a:gd name="connsiteY3" fmla="*/ 122245 h 122554"/>
                <a:gd name="connsiteX4" fmla="*/ 534861 w 546100"/>
                <a:gd name="connsiteY4" fmla="*/ 118435 h 122554"/>
                <a:gd name="connsiteX5" fmla="*/ 510096 w 546100"/>
                <a:gd name="connsiteY5" fmla="*/ 109545 h 122554"/>
                <a:gd name="connsiteX6" fmla="*/ 500571 w 546100"/>
                <a:gd name="connsiteY6" fmla="*/ 86050 h 122554"/>
                <a:gd name="connsiteX7" fmla="*/ 491046 w 546100"/>
                <a:gd name="connsiteY7" fmla="*/ 62555 h 122554"/>
                <a:gd name="connsiteX8" fmla="*/ 485966 w 546100"/>
                <a:gd name="connsiteY8" fmla="*/ 48585 h 122554"/>
                <a:gd name="connsiteX9" fmla="*/ 485966 w 546100"/>
                <a:gd name="connsiteY9" fmla="*/ 63825 h 122554"/>
                <a:gd name="connsiteX10" fmla="*/ 485966 w 546100"/>
                <a:gd name="connsiteY10" fmla="*/ 102560 h 122554"/>
                <a:gd name="connsiteX11" fmla="*/ 475171 w 546100"/>
                <a:gd name="connsiteY11" fmla="*/ 100020 h 122554"/>
                <a:gd name="connsiteX12" fmla="*/ 475171 w 546100"/>
                <a:gd name="connsiteY12" fmla="*/ 23185 h 122554"/>
                <a:gd name="connsiteX13" fmla="*/ 485966 w 546100"/>
                <a:gd name="connsiteY13" fmla="*/ 25725 h 122554"/>
                <a:gd name="connsiteX14" fmla="*/ 494221 w 546100"/>
                <a:gd name="connsiteY14" fmla="*/ 46680 h 122554"/>
                <a:gd name="connsiteX15" fmla="*/ 502476 w 546100"/>
                <a:gd name="connsiteY15" fmla="*/ 67635 h 122554"/>
                <a:gd name="connsiteX16" fmla="*/ 507556 w 546100"/>
                <a:gd name="connsiteY16" fmla="*/ 81605 h 122554"/>
                <a:gd name="connsiteX17" fmla="*/ 507556 w 546100"/>
                <a:gd name="connsiteY17" fmla="*/ 65730 h 122554"/>
                <a:gd name="connsiteX18" fmla="*/ 507556 w 546100"/>
                <a:gd name="connsiteY18" fmla="*/ 32075 h 122554"/>
                <a:gd name="connsiteX19" fmla="*/ 518351 w 546100"/>
                <a:gd name="connsiteY19" fmla="*/ 35250 h 122554"/>
                <a:gd name="connsiteX20" fmla="*/ 518351 w 546100"/>
                <a:gd name="connsiteY20" fmla="*/ 112720 h 122554"/>
                <a:gd name="connsiteX21" fmla="*/ 510096 w 546100"/>
                <a:gd name="connsiteY21" fmla="*/ 109545 h 122554"/>
                <a:gd name="connsiteX22" fmla="*/ 510096 w 546100"/>
                <a:gd name="connsiteY22" fmla="*/ 109545 h 122554"/>
                <a:gd name="connsiteX23" fmla="*/ 448501 w 546100"/>
                <a:gd name="connsiteY23" fmla="*/ 93670 h 122554"/>
                <a:gd name="connsiteX24" fmla="*/ 448501 w 546100"/>
                <a:gd name="connsiteY24" fmla="*/ 16835 h 122554"/>
                <a:gd name="connsiteX25" fmla="*/ 459296 w 546100"/>
                <a:gd name="connsiteY25" fmla="*/ 19375 h 122554"/>
                <a:gd name="connsiteX26" fmla="*/ 459296 w 546100"/>
                <a:gd name="connsiteY26" fmla="*/ 96210 h 122554"/>
                <a:gd name="connsiteX27" fmla="*/ 448501 w 546100"/>
                <a:gd name="connsiteY27" fmla="*/ 93670 h 122554"/>
                <a:gd name="connsiteX28" fmla="*/ 421831 w 546100"/>
                <a:gd name="connsiteY28" fmla="*/ 89225 h 122554"/>
                <a:gd name="connsiteX29" fmla="*/ 421831 w 546100"/>
                <a:gd name="connsiteY29" fmla="*/ 53665 h 122554"/>
                <a:gd name="connsiteX30" fmla="*/ 400241 w 546100"/>
                <a:gd name="connsiteY30" fmla="*/ 50490 h 122554"/>
                <a:gd name="connsiteX31" fmla="*/ 400241 w 546100"/>
                <a:gd name="connsiteY31" fmla="*/ 86050 h 122554"/>
                <a:gd name="connsiteX32" fmla="*/ 389446 w 546100"/>
                <a:gd name="connsiteY32" fmla="*/ 84780 h 122554"/>
                <a:gd name="connsiteX33" fmla="*/ 389446 w 546100"/>
                <a:gd name="connsiteY33" fmla="*/ 7310 h 122554"/>
                <a:gd name="connsiteX34" fmla="*/ 400241 w 546100"/>
                <a:gd name="connsiteY34" fmla="*/ 8580 h 122554"/>
                <a:gd name="connsiteX35" fmla="*/ 400241 w 546100"/>
                <a:gd name="connsiteY35" fmla="*/ 39695 h 122554"/>
                <a:gd name="connsiteX36" fmla="*/ 421831 w 546100"/>
                <a:gd name="connsiteY36" fmla="*/ 42870 h 122554"/>
                <a:gd name="connsiteX37" fmla="*/ 421831 w 546100"/>
                <a:gd name="connsiteY37" fmla="*/ 11755 h 122554"/>
                <a:gd name="connsiteX38" fmla="*/ 432626 w 546100"/>
                <a:gd name="connsiteY38" fmla="*/ 13660 h 122554"/>
                <a:gd name="connsiteX39" fmla="*/ 432626 w 546100"/>
                <a:gd name="connsiteY39" fmla="*/ 90495 h 122554"/>
                <a:gd name="connsiteX40" fmla="*/ 421831 w 546100"/>
                <a:gd name="connsiteY40" fmla="*/ 89225 h 122554"/>
                <a:gd name="connsiteX41" fmla="*/ 353886 w 546100"/>
                <a:gd name="connsiteY41" fmla="*/ 82240 h 122554"/>
                <a:gd name="connsiteX42" fmla="*/ 336106 w 546100"/>
                <a:gd name="connsiteY42" fmla="*/ 69540 h 122554"/>
                <a:gd name="connsiteX43" fmla="*/ 330391 w 546100"/>
                <a:gd name="connsiteY43" fmla="*/ 40965 h 122554"/>
                <a:gd name="connsiteX44" fmla="*/ 336106 w 546100"/>
                <a:gd name="connsiteY44" fmla="*/ 12390 h 122554"/>
                <a:gd name="connsiteX45" fmla="*/ 353886 w 546100"/>
                <a:gd name="connsiteY45" fmla="*/ 2230 h 122554"/>
                <a:gd name="connsiteX46" fmla="*/ 374841 w 546100"/>
                <a:gd name="connsiteY46" fmla="*/ 23185 h 122554"/>
                <a:gd name="connsiteX47" fmla="*/ 364046 w 546100"/>
                <a:gd name="connsiteY47" fmla="*/ 25090 h 122554"/>
                <a:gd name="connsiteX48" fmla="*/ 353886 w 546100"/>
                <a:gd name="connsiteY48" fmla="*/ 13025 h 122554"/>
                <a:gd name="connsiteX49" fmla="*/ 344361 w 546100"/>
                <a:gd name="connsiteY49" fmla="*/ 20645 h 122554"/>
                <a:gd name="connsiteX50" fmla="*/ 341186 w 546100"/>
                <a:gd name="connsiteY50" fmla="*/ 40965 h 122554"/>
                <a:gd name="connsiteX51" fmla="*/ 343726 w 546100"/>
                <a:gd name="connsiteY51" fmla="*/ 60650 h 122554"/>
                <a:gd name="connsiteX52" fmla="*/ 353886 w 546100"/>
                <a:gd name="connsiteY52" fmla="*/ 70810 h 122554"/>
                <a:gd name="connsiteX53" fmla="*/ 364046 w 546100"/>
                <a:gd name="connsiteY53" fmla="*/ 58110 h 122554"/>
                <a:gd name="connsiteX54" fmla="*/ 364046 w 546100"/>
                <a:gd name="connsiteY54" fmla="*/ 52395 h 122554"/>
                <a:gd name="connsiteX55" fmla="*/ 355791 w 546100"/>
                <a:gd name="connsiteY55" fmla="*/ 51760 h 122554"/>
                <a:gd name="connsiteX56" fmla="*/ 355791 w 546100"/>
                <a:gd name="connsiteY56" fmla="*/ 40965 h 122554"/>
                <a:gd name="connsiteX57" fmla="*/ 375476 w 546100"/>
                <a:gd name="connsiteY57" fmla="*/ 42870 h 122554"/>
                <a:gd name="connsiteX58" fmla="*/ 375476 w 546100"/>
                <a:gd name="connsiteY58" fmla="*/ 60015 h 122554"/>
                <a:gd name="connsiteX59" fmla="*/ 370396 w 546100"/>
                <a:gd name="connsiteY59" fmla="*/ 75890 h 122554"/>
                <a:gd name="connsiteX60" fmla="*/ 353886 w 546100"/>
                <a:gd name="connsiteY60" fmla="*/ 82240 h 122554"/>
                <a:gd name="connsiteX61" fmla="*/ 353886 w 546100"/>
                <a:gd name="connsiteY61" fmla="*/ 82240 h 122554"/>
                <a:gd name="connsiteX62" fmla="*/ 321501 w 546100"/>
                <a:gd name="connsiteY62" fmla="*/ 79065 h 122554"/>
                <a:gd name="connsiteX63" fmla="*/ 309436 w 546100"/>
                <a:gd name="connsiteY63" fmla="*/ 78430 h 122554"/>
                <a:gd name="connsiteX64" fmla="*/ 303721 w 546100"/>
                <a:gd name="connsiteY64" fmla="*/ 61285 h 122554"/>
                <a:gd name="connsiteX65" fmla="*/ 298006 w 546100"/>
                <a:gd name="connsiteY65" fmla="*/ 44140 h 122554"/>
                <a:gd name="connsiteX66" fmla="*/ 289116 w 546100"/>
                <a:gd name="connsiteY66" fmla="*/ 44140 h 122554"/>
                <a:gd name="connsiteX67" fmla="*/ 289116 w 546100"/>
                <a:gd name="connsiteY67" fmla="*/ 77795 h 122554"/>
                <a:gd name="connsiteX68" fmla="*/ 278321 w 546100"/>
                <a:gd name="connsiteY68" fmla="*/ 77795 h 122554"/>
                <a:gd name="connsiteX69" fmla="*/ 278321 w 546100"/>
                <a:gd name="connsiteY69" fmla="*/ -310 h 122554"/>
                <a:gd name="connsiteX70" fmla="*/ 299911 w 546100"/>
                <a:gd name="connsiteY70" fmla="*/ 325 h 122554"/>
                <a:gd name="connsiteX71" fmla="*/ 315151 w 546100"/>
                <a:gd name="connsiteY71" fmla="*/ 6040 h 122554"/>
                <a:gd name="connsiteX72" fmla="*/ 321501 w 546100"/>
                <a:gd name="connsiteY72" fmla="*/ 23185 h 122554"/>
                <a:gd name="connsiteX73" fmla="*/ 318326 w 546100"/>
                <a:gd name="connsiteY73" fmla="*/ 36520 h 122554"/>
                <a:gd name="connsiteX74" fmla="*/ 309436 w 546100"/>
                <a:gd name="connsiteY74" fmla="*/ 43505 h 122554"/>
                <a:gd name="connsiteX75" fmla="*/ 315786 w 546100"/>
                <a:gd name="connsiteY75" fmla="*/ 61920 h 122554"/>
                <a:gd name="connsiteX76" fmla="*/ 321501 w 546100"/>
                <a:gd name="connsiteY76" fmla="*/ 79065 h 122554"/>
                <a:gd name="connsiteX77" fmla="*/ 321501 w 546100"/>
                <a:gd name="connsiteY77" fmla="*/ 79065 h 122554"/>
                <a:gd name="connsiteX78" fmla="*/ 265621 w 546100"/>
                <a:gd name="connsiteY78" fmla="*/ 39695 h 122554"/>
                <a:gd name="connsiteX79" fmla="*/ 259906 w 546100"/>
                <a:gd name="connsiteY79" fmla="*/ 68270 h 122554"/>
                <a:gd name="connsiteX80" fmla="*/ 242126 w 546100"/>
                <a:gd name="connsiteY80" fmla="*/ 80335 h 122554"/>
                <a:gd name="connsiteX81" fmla="*/ 224346 w 546100"/>
                <a:gd name="connsiteY81" fmla="*/ 69540 h 122554"/>
                <a:gd name="connsiteX82" fmla="*/ 219266 w 546100"/>
                <a:gd name="connsiteY82" fmla="*/ 41600 h 122554"/>
                <a:gd name="connsiteX83" fmla="*/ 224346 w 546100"/>
                <a:gd name="connsiteY83" fmla="*/ 13025 h 122554"/>
                <a:gd name="connsiteX84" fmla="*/ 242126 w 546100"/>
                <a:gd name="connsiteY84" fmla="*/ 325 h 122554"/>
                <a:gd name="connsiteX85" fmla="*/ 259906 w 546100"/>
                <a:gd name="connsiteY85" fmla="*/ 11755 h 122554"/>
                <a:gd name="connsiteX86" fmla="*/ 265621 w 546100"/>
                <a:gd name="connsiteY86" fmla="*/ 39695 h 122554"/>
                <a:gd name="connsiteX87" fmla="*/ 198311 w 546100"/>
                <a:gd name="connsiteY87" fmla="*/ 57475 h 122554"/>
                <a:gd name="connsiteX88" fmla="*/ 186881 w 546100"/>
                <a:gd name="connsiteY88" fmla="*/ 46045 h 122554"/>
                <a:gd name="connsiteX89" fmla="*/ 178626 w 546100"/>
                <a:gd name="connsiteY89" fmla="*/ 46680 h 122554"/>
                <a:gd name="connsiteX90" fmla="*/ 178626 w 546100"/>
                <a:gd name="connsiteY90" fmla="*/ 71445 h 122554"/>
                <a:gd name="connsiteX91" fmla="*/ 188151 w 546100"/>
                <a:gd name="connsiteY91" fmla="*/ 70810 h 122554"/>
                <a:gd name="connsiteX92" fmla="*/ 198311 w 546100"/>
                <a:gd name="connsiteY92" fmla="*/ 57475 h 122554"/>
                <a:gd name="connsiteX93" fmla="*/ 198311 w 546100"/>
                <a:gd name="connsiteY93" fmla="*/ 57475 h 122554"/>
                <a:gd name="connsiteX94" fmla="*/ 209741 w 546100"/>
                <a:gd name="connsiteY94" fmla="*/ 56840 h 122554"/>
                <a:gd name="connsiteX95" fmla="*/ 204026 w 546100"/>
                <a:gd name="connsiteY95" fmla="*/ 74620 h 122554"/>
                <a:gd name="connsiteX96" fmla="*/ 188151 w 546100"/>
                <a:gd name="connsiteY96" fmla="*/ 81605 h 122554"/>
                <a:gd name="connsiteX97" fmla="*/ 167831 w 546100"/>
                <a:gd name="connsiteY97" fmla="*/ 83510 h 122554"/>
                <a:gd name="connsiteX98" fmla="*/ 167831 w 546100"/>
                <a:gd name="connsiteY98" fmla="*/ 6040 h 122554"/>
                <a:gd name="connsiteX99" fmla="*/ 186881 w 546100"/>
                <a:gd name="connsiteY99" fmla="*/ 4135 h 122554"/>
                <a:gd name="connsiteX100" fmla="*/ 202121 w 546100"/>
                <a:gd name="connsiteY100" fmla="*/ 7945 h 122554"/>
                <a:gd name="connsiteX101" fmla="*/ 208471 w 546100"/>
                <a:gd name="connsiteY101" fmla="*/ 23185 h 122554"/>
                <a:gd name="connsiteX102" fmla="*/ 199581 w 546100"/>
                <a:gd name="connsiteY102" fmla="*/ 39695 h 122554"/>
                <a:gd name="connsiteX103" fmla="*/ 209741 w 546100"/>
                <a:gd name="connsiteY103" fmla="*/ 56840 h 122554"/>
                <a:gd name="connsiteX104" fmla="*/ 209741 w 546100"/>
                <a:gd name="connsiteY104" fmla="*/ 56840 h 122554"/>
                <a:gd name="connsiteX105" fmla="*/ 310071 w 546100"/>
                <a:gd name="connsiteY105" fmla="*/ 23185 h 122554"/>
                <a:gd name="connsiteX106" fmla="*/ 298641 w 546100"/>
                <a:gd name="connsiteY106" fmla="*/ 11755 h 122554"/>
                <a:gd name="connsiteX107" fmla="*/ 288481 w 546100"/>
                <a:gd name="connsiteY107" fmla="*/ 11120 h 122554"/>
                <a:gd name="connsiteX108" fmla="*/ 288481 w 546100"/>
                <a:gd name="connsiteY108" fmla="*/ 33980 h 122554"/>
                <a:gd name="connsiteX109" fmla="*/ 298641 w 546100"/>
                <a:gd name="connsiteY109" fmla="*/ 33980 h 122554"/>
                <a:gd name="connsiteX110" fmla="*/ 310071 w 546100"/>
                <a:gd name="connsiteY110" fmla="*/ 23185 h 122554"/>
                <a:gd name="connsiteX111" fmla="*/ 254826 w 546100"/>
                <a:gd name="connsiteY111" fmla="*/ 39695 h 122554"/>
                <a:gd name="connsiteX112" fmla="*/ 252286 w 546100"/>
                <a:gd name="connsiteY112" fmla="*/ 19375 h 122554"/>
                <a:gd name="connsiteX113" fmla="*/ 242761 w 546100"/>
                <a:gd name="connsiteY113" fmla="*/ 10485 h 122554"/>
                <a:gd name="connsiteX114" fmla="*/ 233236 w 546100"/>
                <a:gd name="connsiteY114" fmla="*/ 20010 h 122554"/>
                <a:gd name="connsiteX115" fmla="*/ 230696 w 546100"/>
                <a:gd name="connsiteY115" fmla="*/ 40330 h 122554"/>
                <a:gd name="connsiteX116" fmla="*/ 233236 w 546100"/>
                <a:gd name="connsiteY116" fmla="*/ 60650 h 122554"/>
                <a:gd name="connsiteX117" fmla="*/ 243396 w 546100"/>
                <a:gd name="connsiteY117" fmla="*/ 69540 h 122554"/>
                <a:gd name="connsiteX118" fmla="*/ 252921 w 546100"/>
                <a:gd name="connsiteY118" fmla="*/ 60650 h 122554"/>
                <a:gd name="connsiteX119" fmla="*/ 254826 w 546100"/>
                <a:gd name="connsiteY119" fmla="*/ 39695 h 122554"/>
                <a:gd name="connsiteX120" fmla="*/ 197041 w 546100"/>
                <a:gd name="connsiteY120" fmla="*/ 24455 h 122554"/>
                <a:gd name="connsiteX121" fmla="*/ 186881 w 546100"/>
                <a:gd name="connsiteY121" fmla="*/ 14930 h 122554"/>
                <a:gd name="connsiteX122" fmla="*/ 177991 w 546100"/>
                <a:gd name="connsiteY122" fmla="*/ 15565 h 122554"/>
                <a:gd name="connsiteX123" fmla="*/ 177991 w 546100"/>
                <a:gd name="connsiteY123" fmla="*/ 36520 h 122554"/>
                <a:gd name="connsiteX124" fmla="*/ 186881 w 546100"/>
                <a:gd name="connsiteY124" fmla="*/ 35885 h 122554"/>
                <a:gd name="connsiteX125" fmla="*/ 197041 w 546100"/>
                <a:gd name="connsiteY125" fmla="*/ 24455 h 122554"/>
                <a:gd name="connsiteX126" fmla="*/ 141796 w 546100"/>
                <a:gd name="connsiteY126" fmla="*/ 86050 h 122554"/>
                <a:gd name="connsiteX127" fmla="*/ 141796 w 546100"/>
                <a:gd name="connsiteY127" fmla="*/ 54935 h 122554"/>
                <a:gd name="connsiteX128" fmla="*/ 141796 w 546100"/>
                <a:gd name="connsiteY128" fmla="*/ 35885 h 122554"/>
                <a:gd name="connsiteX129" fmla="*/ 136081 w 546100"/>
                <a:gd name="connsiteY129" fmla="*/ 56840 h 122554"/>
                <a:gd name="connsiteX130" fmla="*/ 131001 w 546100"/>
                <a:gd name="connsiteY130" fmla="*/ 73350 h 122554"/>
                <a:gd name="connsiteX131" fmla="*/ 125921 w 546100"/>
                <a:gd name="connsiteY131" fmla="*/ 90495 h 122554"/>
                <a:gd name="connsiteX132" fmla="*/ 120841 w 546100"/>
                <a:gd name="connsiteY132" fmla="*/ 75255 h 122554"/>
                <a:gd name="connsiteX133" fmla="*/ 115761 w 546100"/>
                <a:gd name="connsiteY133" fmla="*/ 60015 h 122554"/>
                <a:gd name="connsiteX134" fmla="*/ 110046 w 546100"/>
                <a:gd name="connsiteY134" fmla="*/ 40965 h 122554"/>
                <a:gd name="connsiteX135" fmla="*/ 110046 w 546100"/>
                <a:gd name="connsiteY135" fmla="*/ 60015 h 122554"/>
                <a:gd name="connsiteX136" fmla="*/ 110046 w 546100"/>
                <a:gd name="connsiteY136" fmla="*/ 91130 h 122554"/>
                <a:gd name="connsiteX137" fmla="*/ 99886 w 546100"/>
                <a:gd name="connsiteY137" fmla="*/ 93035 h 122554"/>
                <a:gd name="connsiteX138" fmla="*/ 99886 w 546100"/>
                <a:gd name="connsiteY138" fmla="*/ 16200 h 122554"/>
                <a:gd name="connsiteX139" fmla="*/ 111316 w 546100"/>
                <a:gd name="connsiteY139" fmla="*/ 13660 h 122554"/>
                <a:gd name="connsiteX140" fmla="*/ 116396 w 546100"/>
                <a:gd name="connsiteY140" fmla="*/ 28900 h 122554"/>
                <a:gd name="connsiteX141" fmla="*/ 121476 w 546100"/>
                <a:gd name="connsiteY141" fmla="*/ 44140 h 122554"/>
                <a:gd name="connsiteX142" fmla="*/ 125921 w 546100"/>
                <a:gd name="connsiteY142" fmla="*/ 60015 h 122554"/>
                <a:gd name="connsiteX143" fmla="*/ 131001 w 546100"/>
                <a:gd name="connsiteY143" fmla="*/ 42235 h 122554"/>
                <a:gd name="connsiteX144" fmla="*/ 136081 w 546100"/>
                <a:gd name="connsiteY144" fmla="*/ 25725 h 122554"/>
                <a:gd name="connsiteX145" fmla="*/ 141161 w 546100"/>
                <a:gd name="connsiteY145" fmla="*/ 9215 h 122554"/>
                <a:gd name="connsiteX146" fmla="*/ 152591 w 546100"/>
                <a:gd name="connsiteY146" fmla="*/ 7945 h 122554"/>
                <a:gd name="connsiteX147" fmla="*/ 152591 w 546100"/>
                <a:gd name="connsiteY147" fmla="*/ 84780 h 122554"/>
                <a:gd name="connsiteX148" fmla="*/ 141796 w 546100"/>
                <a:gd name="connsiteY148" fmla="*/ 86050 h 122554"/>
                <a:gd name="connsiteX149" fmla="*/ 141796 w 546100"/>
                <a:gd name="connsiteY149" fmla="*/ 86050 h 122554"/>
                <a:gd name="connsiteX150" fmla="*/ 71311 w 546100"/>
                <a:gd name="connsiteY150" fmla="*/ 68905 h 122554"/>
                <a:gd name="connsiteX151" fmla="*/ 68136 w 546100"/>
                <a:gd name="connsiteY151" fmla="*/ 56840 h 122554"/>
                <a:gd name="connsiteX152" fmla="*/ 64961 w 546100"/>
                <a:gd name="connsiteY152" fmla="*/ 40965 h 122554"/>
                <a:gd name="connsiteX153" fmla="*/ 61786 w 546100"/>
                <a:gd name="connsiteY153" fmla="*/ 58745 h 122554"/>
                <a:gd name="connsiteX154" fmla="*/ 59246 w 546100"/>
                <a:gd name="connsiteY154" fmla="*/ 72080 h 122554"/>
                <a:gd name="connsiteX155" fmla="*/ 71311 w 546100"/>
                <a:gd name="connsiteY155" fmla="*/ 68905 h 122554"/>
                <a:gd name="connsiteX156" fmla="*/ 71311 w 546100"/>
                <a:gd name="connsiteY156" fmla="*/ 68905 h 122554"/>
                <a:gd name="connsiteX157" fmla="*/ 89726 w 546100"/>
                <a:gd name="connsiteY157" fmla="*/ 95575 h 122554"/>
                <a:gd name="connsiteX158" fmla="*/ 77661 w 546100"/>
                <a:gd name="connsiteY158" fmla="*/ 98115 h 122554"/>
                <a:gd name="connsiteX159" fmla="*/ 75121 w 546100"/>
                <a:gd name="connsiteY159" fmla="*/ 88590 h 122554"/>
                <a:gd name="connsiteX160" fmla="*/ 72581 w 546100"/>
                <a:gd name="connsiteY160" fmla="*/ 79065 h 122554"/>
                <a:gd name="connsiteX161" fmla="*/ 56071 w 546100"/>
                <a:gd name="connsiteY161" fmla="*/ 83510 h 122554"/>
                <a:gd name="connsiteX162" fmla="*/ 53531 w 546100"/>
                <a:gd name="connsiteY162" fmla="*/ 94305 h 122554"/>
                <a:gd name="connsiteX163" fmla="*/ 51626 w 546100"/>
                <a:gd name="connsiteY163" fmla="*/ 105100 h 122554"/>
                <a:gd name="connsiteX164" fmla="*/ 40196 w 546100"/>
                <a:gd name="connsiteY164" fmla="*/ 108275 h 122554"/>
                <a:gd name="connsiteX165" fmla="*/ 49721 w 546100"/>
                <a:gd name="connsiteY165" fmla="*/ 67000 h 122554"/>
                <a:gd name="connsiteX166" fmla="*/ 59246 w 546100"/>
                <a:gd name="connsiteY166" fmla="*/ 25725 h 122554"/>
                <a:gd name="connsiteX167" fmla="*/ 70676 w 546100"/>
                <a:gd name="connsiteY167" fmla="*/ 23185 h 122554"/>
                <a:gd name="connsiteX168" fmla="*/ 80201 w 546100"/>
                <a:gd name="connsiteY168" fmla="*/ 59380 h 122554"/>
                <a:gd name="connsiteX169" fmla="*/ 89726 w 546100"/>
                <a:gd name="connsiteY169" fmla="*/ 95575 h 122554"/>
                <a:gd name="connsiteX170" fmla="*/ 89726 w 546100"/>
                <a:gd name="connsiteY170" fmla="*/ 95575 h 122554"/>
                <a:gd name="connsiteX171" fmla="*/ -444 w 546100"/>
                <a:gd name="connsiteY171" fmla="*/ 122245 h 122554"/>
                <a:gd name="connsiteX172" fmla="*/ -444 w 546100"/>
                <a:gd name="connsiteY172" fmla="*/ 44775 h 122554"/>
                <a:gd name="connsiteX173" fmla="*/ 10351 w 546100"/>
                <a:gd name="connsiteY173" fmla="*/ 40965 h 122554"/>
                <a:gd name="connsiteX174" fmla="*/ 10351 w 546100"/>
                <a:gd name="connsiteY174" fmla="*/ 108275 h 122554"/>
                <a:gd name="connsiteX175" fmla="*/ 35116 w 546100"/>
                <a:gd name="connsiteY175" fmla="*/ 99385 h 122554"/>
                <a:gd name="connsiteX176" fmla="*/ 35116 w 546100"/>
                <a:gd name="connsiteY176" fmla="*/ 109545 h 122554"/>
                <a:gd name="connsiteX177" fmla="*/ -444 w 546100"/>
                <a:gd name="connsiteY177" fmla="*/ 122245 h 122554"/>
                <a:gd name="connsiteX178" fmla="*/ -444 w 546100"/>
                <a:gd name="connsiteY178" fmla="*/ 122245 h 12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46100" h="122554">
                  <a:moveTo>
                    <a:pt x="534861" y="118435"/>
                  </a:moveTo>
                  <a:lnTo>
                    <a:pt x="534861" y="40965"/>
                  </a:lnTo>
                  <a:cubicBezTo>
                    <a:pt x="538671" y="42235"/>
                    <a:pt x="541846" y="43505"/>
                    <a:pt x="545656" y="44775"/>
                  </a:cubicBezTo>
                  <a:lnTo>
                    <a:pt x="545656" y="122245"/>
                  </a:lnTo>
                  <a:cubicBezTo>
                    <a:pt x="541846" y="120975"/>
                    <a:pt x="538036" y="119705"/>
                    <a:pt x="534861" y="118435"/>
                  </a:cubicBezTo>
                  <a:close/>
                  <a:moveTo>
                    <a:pt x="510096" y="109545"/>
                  </a:moveTo>
                  <a:cubicBezTo>
                    <a:pt x="506921" y="101925"/>
                    <a:pt x="503746" y="93670"/>
                    <a:pt x="500571" y="86050"/>
                  </a:cubicBezTo>
                  <a:cubicBezTo>
                    <a:pt x="497396" y="78430"/>
                    <a:pt x="494221" y="70175"/>
                    <a:pt x="491046" y="62555"/>
                  </a:cubicBezTo>
                  <a:cubicBezTo>
                    <a:pt x="489776" y="58745"/>
                    <a:pt x="486601" y="51125"/>
                    <a:pt x="485966" y="48585"/>
                  </a:cubicBezTo>
                  <a:cubicBezTo>
                    <a:pt x="485966" y="51125"/>
                    <a:pt x="485966" y="60015"/>
                    <a:pt x="485966" y="63825"/>
                  </a:cubicBezTo>
                  <a:lnTo>
                    <a:pt x="485966" y="102560"/>
                  </a:lnTo>
                  <a:lnTo>
                    <a:pt x="475171" y="100020"/>
                  </a:lnTo>
                  <a:lnTo>
                    <a:pt x="475171" y="23185"/>
                  </a:lnTo>
                  <a:cubicBezTo>
                    <a:pt x="478981" y="23820"/>
                    <a:pt x="482156" y="25090"/>
                    <a:pt x="485966" y="25725"/>
                  </a:cubicBezTo>
                  <a:cubicBezTo>
                    <a:pt x="488506" y="32710"/>
                    <a:pt x="491681" y="39695"/>
                    <a:pt x="494221" y="46680"/>
                  </a:cubicBezTo>
                  <a:cubicBezTo>
                    <a:pt x="496761" y="53665"/>
                    <a:pt x="499936" y="60650"/>
                    <a:pt x="502476" y="67635"/>
                  </a:cubicBezTo>
                  <a:cubicBezTo>
                    <a:pt x="503746" y="71445"/>
                    <a:pt x="506921" y="79700"/>
                    <a:pt x="507556" y="81605"/>
                  </a:cubicBezTo>
                  <a:cubicBezTo>
                    <a:pt x="507556" y="78430"/>
                    <a:pt x="507556" y="69540"/>
                    <a:pt x="507556" y="65730"/>
                  </a:cubicBezTo>
                  <a:lnTo>
                    <a:pt x="507556" y="32075"/>
                  </a:lnTo>
                  <a:cubicBezTo>
                    <a:pt x="511366" y="32710"/>
                    <a:pt x="514541" y="33980"/>
                    <a:pt x="518351" y="35250"/>
                  </a:cubicBezTo>
                  <a:lnTo>
                    <a:pt x="518351" y="112720"/>
                  </a:lnTo>
                  <a:cubicBezTo>
                    <a:pt x="515811" y="111450"/>
                    <a:pt x="512636" y="110180"/>
                    <a:pt x="510096" y="109545"/>
                  </a:cubicBezTo>
                  <a:lnTo>
                    <a:pt x="510096" y="109545"/>
                  </a:lnTo>
                  <a:close/>
                  <a:moveTo>
                    <a:pt x="448501" y="93670"/>
                  </a:moveTo>
                  <a:lnTo>
                    <a:pt x="448501" y="16835"/>
                  </a:lnTo>
                  <a:lnTo>
                    <a:pt x="459296" y="19375"/>
                  </a:lnTo>
                  <a:lnTo>
                    <a:pt x="459296" y="96210"/>
                  </a:lnTo>
                  <a:lnTo>
                    <a:pt x="448501" y="93670"/>
                  </a:lnTo>
                  <a:close/>
                  <a:moveTo>
                    <a:pt x="421831" y="89225"/>
                  </a:moveTo>
                  <a:lnTo>
                    <a:pt x="421831" y="53665"/>
                  </a:lnTo>
                  <a:cubicBezTo>
                    <a:pt x="414846" y="52395"/>
                    <a:pt x="407226" y="51125"/>
                    <a:pt x="400241" y="50490"/>
                  </a:cubicBezTo>
                  <a:lnTo>
                    <a:pt x="400241" y="86050"/>
                  </a:lnTo>
                  <a:cubicBezTo>
                    <a:pt x="396431" y="85415"/>
                    <a:pt x="393256" y="85415"/>
                    <a:pt x="389446" y="84780"/>
                  </a:cubicBezTo>
                  <a:lnTo>
                    <a:pt x="389446" y="7310"/>
                  </a:lnTo>
                  <a:cubicBezTo>
                    <a:pt x="393256" y="7945"/>
                    <a:pt x="396431" y="7945"/>
                    <a:pt x="400241" y="8580"/>
                  </a:cubicBezTo>
                  <a:lnTo>
                    <a:pt x="400241" y="39695"/>
                  </a:lnTo>
                  <a:cubicBezTo>
                    <a:pt x="407226" y="40330"/>
                    <a:pt x="414846" y="41600"/>
                    <a:pt x="421831" y="42870"/>
                  </a:cubicBezTo>
                  <a:lnTo>
                    <a:pt x="421831" y="11755"/>
                  </a:lnTo>
                  <a:cubicBezTo>
                    <a:pt x="425641" y="12390"/>
                    <a:pt x="428816" y="13025"/>
                    <a:pt x="432626" y="13660"/>
                  </a:cubicBezTo>
                  <a:lnTo>
                    <a:pt x="432626" y="90495"/>
                  </a:lnTo>
                  <a:cubicBezTo>
                    <a:pt x="428816" y="89860"/>
                    <a:pt x="425641" y="89225"/>
                    <a:pt x="421831" y="89225"/>
                  </a:cubicBezTo>
                  <a:close/>
                  <a:moveTo>
                    <a:pt x="353886" y="82240"/>
                  </a:moveTo>
                  <a:cubicBezTo>
                    <a:pt x="345631" y="81605"/>
                    <a:pt x="339916" y="76525"/>
                    <a:pt x="336106" y="69540"/>
                  </a:cubicBezTo>
                  <a:cubicBezTo>
                    <a:pt x="332296" y="61920"/>
                    <a:pt x="330391" y="52395"/>
                    <a:pt x="330391" y="40965"/>
                  </a:cubicBezTo>
                  <a:cubicBezTo>
                    <a:pt x="330391" y="29535"/>
                    <a:pt x="332296" y="19375"/>
                    <a:pt x="336106" y="12390"/>
                  </a:cubicBezTo>
                  <a:cubicBezTo>
                    <a:pt x="339916" y="5405"/>
                    <a:pt x="346266" y="1595"/>
                    <a:pt x="353886" y="2230"/>
                  </a:cubicBezTo>
                  <a:cubicBezTo>
                    <a:pt x="366586" y="3500"/>
                    <a:pt x="372301" y="11120"/>
                    <a:pt x="374841" y="23185"/>
                  </a:cubicBezTo>
                  <a:cubicBezTo>
                    <a:pt x="371031" y="23820"/>
                    <a:pt x="367856" y="24455"/>
                    <a:pt x="364046" y="25090"/>
                  </a:cubicBezTo>
                  <a:cubicBezTo>
                    <a:pt x="362141" y="16835"/>
                    <a:pt x="359601" y="13660"/>
                    <a:pt x="353886" y="13025"/>
                  </a:cubicBezTo>
                  <a:cubicBezTo>
                    <a:pt x="349441" y="13025"/>
                    <a:pt x="346266" y="15565"/>
                    <a:pt x="344361" y="20645"/>
                  </a:cubicBezTo>
                  <a:cubicBezTo>
                    <a:pt x="342456" y="25725"/>
                    <a:pt x="341186" y="32710"/>
                    <a:pt x="341186" y="40965"/>
                  </a:cubicBezTo>
                  <a:cubicBezTo>
                    <a:pt x="341186" y="47315"/>
                    <a:pt x="341821" y="54935"/>
                    <a:pt x="343726" y="60650"/>
                  </a:cubicBezTo>
                  <a:cubicBezTo>
                    <a:pt x="345631" y="66365"/>
                    <a:pt x="348806" y="70175"/>
                    <a:pt x="353886" y="70810"/>
                  </a:cubicBezTo>
                  <a:cubicBezTo>
                    <a:pt x="360871" y="71445"/>
                    <a:pt x="364046" y="67000"/>
                    <a:pt x="364046" y="58110"/>
                  </a:cubicBezTo>
                  <a:lnTo>
                    <a:pt x="364046" y="52395"/>
                  </a:lnTo>
                  <a:cubicBezTo>
                    <a:pt x="361506" y="51760"/>
                    <a:pt x="358331" y="51760"/>
                    <a:pt x="355791" y="51760"/>
                  </a:cubicBezTo>
                  <a:lnTo>
                    <a:pt x="355791" y="40965"/>
                  </a:lnTo>
                  <a:lnTo>
                    <a:pt x="375476" y="42870"/>
                  </a:lnTo>
                  <a:lnTo>
                    <a:pt x="375476" y="60015"/>
                  </a:lnTo>
                  <a:cubicBezTo>
                    <a:pt x="375476" y="66365"/>
                    <a:pt x="373571" y="72080"/>
                    <a:pt x="370396" y="75890"/>
                  </a:cubicBezTo>
                  <a:cubicBezTo>
                    <a:pt x="367221" y="80335"/>
                    <a:pt x="361506" y="82875"/>
                    <a:pt x="353886" y="82240"/>
                  </a:cubicBezTo>
                  <a:lnTo>
                    <a:pt x="353886" y="82240"/>
                  </a:lnTo>
                  <a:close/>
                  <a:moveTo>
                    <a:pt x="321501" y="79065"/>
                  </a:moveTo>
                  <a:cubicBezTo>
                    <a:pt x="317691" y="79065"/>
                    <a:pt x="313246" y="78430"/>
                    <a:pt x="309436" y="78430"/>
                  </a:cubicBezTo>
                  <a:cubicBezTo>
                    <a:pt x="307531" y="72715"/>
                    <a:pt x="305626" y="67000"/>
                    <a:pt x="303721" y="61285"/>
                  </a:cubicBezTo>
                  <a:cubicBezTo>
                    <a:pt x="301816" y="55570"/>
                    <a:pt x="299911" y="49855"/>
                    <a:pt x="298006" y="44140"/>
                  </a:cubicBezTo>
                  <a:cubicBezTo>
                    <a:pt x="294831" y="44140"/>
                    <a:pt x="291656" y="44140"/>
                    <a:pt x="289116" y="44140"/>
                  </a:cubicBezTo>
                  <a:lnTo>
                    <a:pt x="289116" y="77795"/>
                  </a:lnTo>
                  <a:lnTo>
                    <a:pt x="278321" y="77795"/>
                  </a:lnTo>
                  <a:lnTo>
                    <a:pt x="278321" y="-310"/>
                  </a:lnTo>
                  <a:cubicBezTo>
                    <a:pt x="285306" y="-310"/>
                    <a:pt x="292926" y="-310"/>
                    <a:pt x="299911" y="325"/>
                  </a:cubicBezTo>
                  <a:cubicBezTo>
                    <a:pt x="305626" y="325"/>
                    <a:pt x="311341" y="2230"/>
                    <a:pt x="315151" y="6040"/>
                  </a:cubicBezTo>
                  <a:cubicBezTo>
                    <a:pt x="318961" y="9850"/>
                    <a:pt x="321501" y="14930"/>
                    <a:pt x="321501" y="23185"/>
                  </a:cubicBezTo>
                  <a:cubicBezTo>
                    <a:pt x="321501" y="28900"/>
                    <a:pt x="320231" y="33345"/>
                    <a:pt x="318326" y="36520"/>
                  </a:cubicBezTo>
                  <a:cubicBezTo>
                    <a:pt x="316421" y="39695"/>
                    <a:pt x="313246" y="42235"/>
                    <a:pt x="309436" y="43505"/>
                  </a:cubicBezTo>
                  <a:cubicBezTo>
                    <a:pt x="311341" y="49220"/>
                    <a:pt x="313246" y="55570"/>
                    <a:pt x="315786" y="61920"/>
                  </a:cubicBezTo>
                  <a:cubicBezTo>
                    <a:pt x="317691" y="67635"/>
                    <a:pt x="319596" y="73350"/>
                    <a:pt x="321501" y="79065"/>
                  </a:cubicBezTo>
                  <a:lnTo>
                    <a:pt x="321501" y="79065"/>
                  </a:lnTo>
                  <a:close/>
                  <a:moveTo>
                    <a:pt x="265621" y="39695"/>
                  </a:moveTo>
                  <a:cubicBezTo>
                    <a:pt x="265621" y="51125"/>
                    <a:pt x="263716" y="61285"/>
                    <a:pt x="259906" y="68270"/>
                  </a:cubicBezTo>
                  <a:cubicBezTo>
                    <a:pt x="256096" y="75255"/>
                    <a:pt x="250381" y="79700"/>
                    <a:pt x="242126" y="80335"/>
                  </a:cubicBezTo>
                  <a:cubicBezTo>
                    <a:pt x="233871" y="80335"/>
                    <a:pt x="228156" y="76525"/>
                    <a:pt x="224346" y="69540"/>
                  </a:cubicBezTo>
                  <a:cubicBezTo>
                    <a:pt x="220536" y="62555"/>
                    <a:pt x="219266" y="53030"/>
                    <a:pt x="219266" y="41600"/>
                  </a:cubicBezTo>
                  <a:cubicBezTo>
                    <a:pt x="219266" y="30170"/>
                    <a:pt x="221171" y="20010"/>
                    <a:pt x="224346" y="13025"/>
                  </a:cubicBezTo>
                  <a:cubicBezTo>
                    <a:pt x="228156" y="5405"/>
                    <a:pt x="233871" y="960"/>
                    <a:pt x="242126" y="325"/>
                  </a:cubicBezTo>
                  <a:cubicBezTo>
                    <a:pt x="250381" y="325"/>
                    <a:pt x="256096" y="4770"/>
                    <a:pt x="259906" y="11755"/>
                  </a:cubicBezTo>
                  <a:cubicBezTo>
                    <a:pt x="263716" y="18105"/>
                    <a:pt x="265621" y="28265"/>
                    <a:pt x="265621" y="39695"/>
                  </a:cubicBezTo>
                  <a:close/>
                  <a:moveTo>
                    <a:pt x="198311" y="57475"/>
                  </a:moveTo>
                  <a:cubicBezTo>
                    <a:pt x="198311" y="48585"/>
                    <a:pt x="193231" y="45410"/>
                    <a:pt x="186881" y="46045"/>
                  </a:cubicBezTo>
                  <a:cubicBezTo>
                    <a:pt x="183706" y="46680"/>
                    <a:pt x="181166" y="46680"/>
                    <a:pt x="178626" y="46680"/>
                  </a:cubicBezTo>
                  <a:lnTo>
                    <a:pt x="178626" y="71445"/>
                  </a:lnTo>
                  <a:cubicBezTo>
                    <a:pt x="181801" y="71445"/>
                    <a:pt x="184976" y="70810"/>
                    <a:pt x="188151" y="70810"/>
                  </a:cubicBezTo>
                  <a:cubicBezTo>
                    <a:pt x="194501" y="70810"/>
                    <a:pt x="198311" y="67000"/>
                    <a:pt x="198311" y="57475"/>
                  </a:cubicBezTo>
                  <a:lnTo>
                    <a:pt x="198311" y="57475"/>
                  </a:lnTo>
                  <a:close/>
                  <a:moveTo>
                    <a:pt x="209741" y="56840"/>
                  </a:moveTo>
                  <a:cubicBezTo>
                    <a:pt x="209741" y="64460"/>
                    <a:pt x="207201" y="70175"/>
                    <a:pt x="204026" y="74620"/>
                  </a:cubicBezTo>
                  <a:cubicBezTo>
                    <a:pt x="200216" y="79065"/>
                    <a:pt x="195136" y="80970"/>
                    <a:pt x="188151" y="81605"/>
                  </a:cubicBezTo>
                  <a:cubicBezTo>
                    <a:pt x="181166" y="82240"/>
                    <a:pt x="174816" y="82875"/>
                    <a:pt x="167831" y="83510"/>
                  </a:cubicBezTo>
                  <a:lnTo>
                    <a:pt x="167831" y="6040"/>
                  </a:lnTo>
                  <a:cubicBezTo>
                    <a:pt x="174181" y="5405"/>
                    <a:pt x="180531" y="4770"/>
                    <a:pt x="186881" y="4135"/>
                  </a:cubicBezTo>
                  <a:cubicBezTo>
                    <a:pt x="193231" y="3500"/>
                    <a:pt x="198311" y="4770"/>
                    <a:pt x="202121" y="7945"/>
                  </a:cubicBezTo>
                  <a:cubicBezTo>
                    <a:pt x="205931" y="11120"/>
                    <a:pt x="208471" y="16200"/>
                    <a:pt x="208471" y="23185"/>
                  </a:cubicBezTo>
                  <a:cubicBezTo>
                    <a:pt x="208471" y="29535"/>
                    <a:pt x="205931" y="36520"/>
                    <a:pt x="199581" y="39695"/>
                  </a:cubicBezTo>
                  <a:cubicBezTo>
                    <a:pt x="205931" y="41600"/>
                    <a:pt x="209741" y="48585"/>
                    <a:pt x="209741" y="56840"/>
                  </a:cubicBezTo>
                  <a:lnTo>
                    <a:pt x="209741" y="56840"/>
                  </a:lnTo>
                  <a:close/>
                  <a:moveTo>
                    <a:pt x="310071" y="23185"/>
                  </a:moveTo>
                  <a:cubicBezTo>
                    <a:pt x="310071" y="14930"/>
                    <a:pt x="305626" y="11755"/>
                    <a:pt x="298641" y="11755"/>
                  </a:cubicBezTo>
                  <a:cubicBezTo>
                    <a:pt x="295466" y="11755"/>
                    <a:pt x="291656" y="11755"/>
                    <a:pt x="288481" y="11120"/>
                  </a:cubicBezTo>
                  <a:lnTo>
                    <a:pt x="288481" y="33980"/>
                  </a:lnTo>
                  <a:cubicBezTo>
                    <a:pt x="291656" y="33980"/>
                    <a:pt x="295466" y="33980"/>
                    <a:pt x="298641" y="33980"/>
                  </a:cubicBezTo>
                  <a:cubicBezTo>
                    <a:pt x="306261" y="34615"/>
                    <a:pt x="310071" y="31440"/>
                    <a:pt x="310071" y="23185"/>
                  </a:cubicBezTo>
                  <a:close/>
                  <a:moveTo>
                    <a:pt x="254826" y="39695"/>
                  </a:moveTo>
                  <a:cubicBezTo>
                    <a:pt x="254826" y="32075"/>
                    <a:pt x="254191" y="25090"/>
                    <a:pt x="252286" y="19375"/>
                  </a:cubicBezTo>
                  <a:cubicBezTo>
                    <a:pt x="250381" y="13660"/>
                    <a:pt x="247206" y="10485"/>
                    <a:pt x="242761" y="10485"/>
                  </a:cubicBezTo>
                  <a:cubicBezTo>
                    <a:pt x="237681" y="10485"/>
                    <a:pt x="235141" y="14295"/>
                    <a:pt x="233236" y="20010"/>
                  </a:cubicBezTo>
                  <a:cubicBezTo>
                    <a:pt x="231331" y="25725"/>
                    <a:pt x="230696" y="32710"/>
                    <a:pt x="230696" y="40330"/>
                  </a:cubicBezTo>
                  <a:cubicBezTo>
                    <a:pt x="230696" y="47315"/>
                    <a:pt x="231331" y="54935"/>
                    <a:pt x="233236" y="60650"/>
                  </a:cubicBezTo>
                  <a:cubicBezTo>
                    <a:pt x="235141" y="65730"/>
                    <a:pt x="238316" y="69540"/>
                    <a:pt x="243396" y="69540"/>
                  </a:cubicBezTo>
                  <a:cubicBezTo>
                    <a:pt x="247841" y="69540"/>
                    <a:pt x="251016" y="65730"/>
                    <a:pt x="252921" y="60650"/>
                  </a:cubicBezTo>
                  <a:cubicBezTo>
                    <a:pt x="254191" y="54300"/>
                    <a:pt x="254826" y="47315"/>
                    <a:pt x="254826" y="39695"/>
                  </a:cubicBezTo>
                  <a:close/>
                  <a:moveTo>
                    <a:pt x="197041" y="24455"/>
                  </a:moveTo>
                  <a:cubicBezTo>
                    <a:pt x="197041" y="16835"/>
                    <a:pt x="192596" y="14295"/>
                    <a:pt x="186881" y="14930"/>
                  </a:cubicBezTo>
                  <a:cubicBezTo>
                    <a:pt x="183706" y="14930"/>
                    <a:pt x="181166" y="15565"/>
                    <a:pt x="177991" y="15565"/>
                  </a:cubicBezTo>
                  <a:lnTo>
                    <a:pt x="177991" y="36520"/>
                  </a:lnTo>
                  <a:cubicBezTo>
                    <a:pt x="180531" y="35885"/>
                    <a:pt x="183706" y="35885"/>
                    <a:pt x="186881" y="35885"/>
                  </a:cubicBezTo>
                  <a:cubicBezTo>
                    <a:pt x="192596" y="35250"/>
                    <a:pt x="197041" y="31440"/>
                    <a:pt x="197041" y="24455"/>
                  </a:cubicBezTo>
                  <a:close/>
                  <a:moveTo>
                    <a:pt x="141796" y="86050"/>
                  </a:moveTo>
                  <a:lnTo>
                    <a:pt x="141796" y="54935"/>
                  </a:lnTo>
                  <a:cubicBezTo>
                    <a:pt x="141796" y="49855"/>
                    <a:pt x="141796" y="39060"/>
                    <a:pt x="141796" y="35885"/>
                  </a:cubicBezTo>
                  <a:cubicBezTo>
                    <a:pt x="141161" y="39060"/>
                    <a:pt x="137351" y="51125"/>
                    <a:pt x="136081" y="56840"/>
                  </a:cubicBezTo>
                  <a:cubicBezTo>
                    <a:pt x="134176" y="62555"/>
                    <a:pt x="132271" y="67635"/>
                    <a:pt x="131001" y="73350"/>
                  </a:cubicBezTo>
                  <a:lnTo>
                    <a:pt x="125921" y="90495"/>
                  </a:lnTo>
                  <a:lnTo>
                    <a:pt x="120841" y="75255"/>
                  </a:lnTo>
                  <a:cubicBezTo>
                    <a:pt x="118936" y="70175"/>
                    <a:pt x="117666" y="65095"/>
                    <a:pt x="115761" y="60015"/>
                  </a:cubicBezTo>
                  <a:cubicBezTo>
                    <a:pt x="113856" y="54935"/>
                    <a:pt x="110681" y="44140"/>
                    <a:pt x="110046" y="40965"/>
                  </a:cubicBezTo>
                  <a:cubicBezTo>
                    <a:pt x="110046" y="44140"/>
                    <a:pt x="110046" y="54935"/>
                    <a:pt x="110046" y="60015"/>
                  </a:cubicBezTo>
                  <a:lnTo>
                    <a:pt x="110046" y="91130"/>
                  </a:lnTo>
                  <a:cubicBezTo>
                    <a:pt x="106871" y="91765"/>
                    <a:pt x="103061" y="92400"/>
                    <a:pt x="99886" y="93035"/>
                  </a:cubicBezTo>
                  <a:lnTo>
                    <a:pt x="99886" y="16200"/>
                  </a:lnTo>
                  <a:cubicBezTo>
                    <a:pt x="103696" y="15565"/>
                    <a:pt x="107506" y="14930"/>
                    <a:pt x="111316" y="13660"/>
                  </a:cubicBezTo>
                  <a:lnTo>
                    <a:pt x="116396" y="28900"/>
                  </a:lnTo>
                  <a:cubicBezTo>
                    <a:pt x="118301" y="33980"/>
                    <a:pt x="119571" y="39060"/>
                    <a:pt x="121476" y="44140"/>
                  </a:cubicBezTo>
                  <a:cubicBezTo>
                    <a:pt x="122746" y="48585"/>
                    <a:pt x="125286" y="57475"/>
                    <a:pt x="125921" y="60015"/>
                  </a:cubicBezTo>
                  <a:cubicBezTo>
                    <a:pt x="126556" y="56840"/>
                    <a:pt x="129731" y="46680"/>
                    <a:pt x="131001" y="42235"/>
                  </a:cubicBezTo>
                  <a:cubicBezTo>
                    <a:pt x="132271" y="36520"/>
                    <a:pt x="134176" y="31440"/>
                    <a:pt x="136081" y="25725"/>
                  </a:cubicBezTo>
                  <a:cubicBezTo>
                    <a:pt x="137986" y="20010"/>
                    <a:pt x="139256" y="14930"/>
                    <a:pt x="141161" y="9215"/>
                  </a:cubicBezTo>
                  <a:cubicBezTo>
                    <a:pt x="144971" y="8580"/>
                    <a:pt x="148781" y="8580"/>
                    <a:pt x="152591" y="7945"/>
                  </a:cubicBezTo>
                  <a:lnTo>
                    <a:pt x="152591" y="84780"/>
                  </a:lnTo>
                  <a:cubicBezTo>
                    <a:pt x="148781" y="85415"/>
                    <a:pt x="144971" y="86050"/>
                    <a:pt x="141796" y="86050"/>
                  </a:cubicBezTo>
                  <a:lnTo>
                    <a:pt x="141796" y="86050"/>
                  </a:lnTo>
                  <a:close/>
                  <a:moveTo>
                    <a:pt x="71311" y="68905"/>
                  </a:moveTo>
                  <a:cubicBezTo>
                    <a:pt x="70676" y="65095"/>
                    <a:pt x="69406" y="61285"/>
                    <a:pt x="68136" y="56840"/>
                  </a:cubicBezTo>
                  <a:cubicBezTo>
                    <a:pt x="67501" y="51760"/>
                    <a:pt x="65596" y="43505"/>
                    <a:pt x="64961" y="40965"/>
                  </a:cubicBezTo>
                  <a:cubicBezTo>
                    <a:pt x="64326" y="44140"/>
                    <a:pt x="62421" y="53030"/>
                    <a:pt x="61786" y="58745"/>
                  </a:cubicBezTo>
                  <a:cubicBezTo>
                    <a:pt x="61151" y="63190"/>
                    <a:pt x="59881" y="67635"/>
                    <a:pt x="59246" y="72080"/>
                  </a:cubicBezTo>
                  <a:cubicBezTo>
                    <a:pt x="63056" y="70810"/>
                    <a:pt x="67501" y="70175"/>
                    <a:pt x="71311" y="68905"/>
                  </a:cubicBezTo>
                  <a:lnTo>
                    <a:pt x="71311" y="68905"/>
                  </a:lnTo>
                  <a:close/>
                  <a:moveTo>
                    <a:pt x="89726" y="95575"/>
                  </a:moveTo>
                  <a:cubicBezTo>
                    <a:pt x="85916" y="96210"/>
                    <a:pt x="81471" y="97480"/>
                    <a:pt x="77661" y="98115"/>
                  </a:cubicBezTo>
                  <a:cubicBezTo>
                    <a:pt x="77026" y="94940"/>
                    <a:pt x="76391" y="91765"/>
                    <a:pt x="75121" y="88590"/>
                  </a:cubicBezTo>
                  <a:lnTo>
                    <a:pt x="72581" y="79065"/>
                  </a:lnTo>
                  <a:cubicBezTo>
                    <a:pt x="66866" y="80335"/>
                    <a:pt x="61151" y="81605"/>
                    <a:pt x="56071" y="83510"/>
                  </a:cubicBezTo>
                  <a:cubicBezTo>
                    <a:pt x="55436" y="87320"/>
                    <a:pt x="54166" y="91130"/>
                    <a:pt x="53531" y="94305"/>
                  </a:cubicBezTo>
                  <a:cubicBezTo>
                    <a:pt x="52896" y="98115"/>
                    <a:pt x="52261" y="101925"/>
                    <a:pt x="51626" y="105100"/>
                  </a:cubicBezTo>
                  <a:cubicBezTo>
                    <a:pt x="47816" y="106370"/>
                    <a:pt x="44006" y="107640"/>
                    <a:pt x="40196" y="108275"/>
                  </a:cubicBezTo>
                  <a:cubicBezTo>
                    <a:pt x="43371" y="94305"/>
                    <a:pt x="46546" y="80335"/>
                    <a:pt x="49721" y="67000"/>
                  </a:cubicBezTo>
                  <a:cubicBezTo>
                    <a:pt x="52896" y="53665"/>
                    <a:pt x="56071" y="39695"/>
                    <a:pt x="59246" y="25725"/>
                  </a:cubicBezTo>
                  <a:cubicBezTo>
                    <a:pt x="63056" y="24455"/>
                    <a:pt x="66866" y="23820"/>
                    <a:pt x="70676" y="23185"/>
                  </a:cubicBezTo>
                  <a:cubicBezTo>
                    <a:pt x="73851" y="35250"/>
                    <a:pt x="77026" y="47315"/>
                    <a:pt x="80201" y="59380"/>
                  </a:cubicBezTo>
                  <a:cubicBezTo>
                    <a:pt x="83376" y="70810"/>
                    <a:pt x="86551" y="82875"/>
                    <a:pt x="89726" y="95575"/>
                  </a:cubicBezTo>
                  <a:lnTo>
                    <a:pt x="89726" y="95575"/>
                  </a:lnTo>
                  <a:close/>
                  <a:moveTo>
                    <a:pt x="-444" y="122245"/>
                  </a:moveTo>
                  <a:lnTo>
                    <a:pt x="-444" y="44775"/>
                  </a:lnTo>
                  <a:cubicBezTo>
                    <a:pt x="3366" y="43505"/>
                    <a:pt x="6541" y="42235"/>
                    <a:pt x="10351" y="40965"/>
                  </a:cubicBezTo>
                  <a:lnTo>
                    <a:pt x="10351" y="108275"/>
                  </a:lnTo>
                  <a:cubicBezTo>
                    <a:pt x="18606" y="105100"/>
                    <a:pt x="26861" y="102560"/>
                    <a:pt x="35116" y="99385"/>
                  </a:cubicBezTo>
                  <a:lnTo>
                    <a:pt x="35116" y="109545"/>
                  </a:lnTo>
                  <a:cubicBezTo>
                    <a:pt x="23051" y="113990"/>
                    <a:pt x="11621" y="117800"/>
                    <a:pt x="-444" y="122245"/>
                  </a:cubicBezTo>
                  <a:lnTo>
                    <a:pt x="-444" y="122245"/>
                  </a:lnTo>
                  <a:close/>
                </a:path>
              </a:pathLst>
            </a:custGeom>
            <a:solidFill>
              <a:srgbClr val="FFFFFF"/>
            </a:solidFill>
            <a:ln w="6350" cap="flat">
              <a:noFill/>
              <a:prstDash val="solid"/>
              <a:miter/>
            </a:ln>
          </p:spPr>
          <p:txBody>
            <a:bodyPr rtlCol="0" anchor="ctr"/>
            <a:lstStyle/>
            <a:p>
              <a:endParaRPr lang="en-GB"/>
            </a:p>
          </p:txBody>
        </p:sp>
      </p:grpSp>
      <p:sp>
        <p:nvSpPr>
          <p:cNvPr id="160" name="Freeform 159"/>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FFFFFF"/>
          </a:solidFill>
          <a:ln w="6350" cap="flat">
            <a:noFill/>
            <a:prstDash val="solid"/>
            <a:miter/>
          </a:ln>
        </p:spPr>
        <p:txBody>
          <a:bodyPr rtlCol="0" anchor="ctr"/>
          <a:lstStyle/>
          <a:p>
            <a:endParaRPr lang="en-GB"/>
          </a:p>
        </p:txBody>
      </p:sp>
      <p:grpSp>
        <p:nvGrpSpPr>
          <p:cNvPr id="161" name="Graphic 79"/>
          <p:cNvGrpSpPr/>
          <p:nvPr userDrawn="1"/>
        </p:nvGrpSpPr>
        <p:grpSpPr>
          <a:xfrm>
            <a:off x="2448560" y="3166745"/>
            <a:ext cx="943609" cy="524509"/>
            <a:chOff x="-11267440" y="3166745"/>
            <a:chExt cx="943609" cy="524509"/>
          </a:xfrm>
          <a:solidFill>
            <a:srgbClr val="FFFFFF"/>
          </a:solidFill>
        </p:grpSpPr>
        <p:grpSp>
          <p:nvGrpSpPr>
            <p:cNvPr id="162" name="Graphic 79"/>
            <p:cNvGrpSpPr/>
            <p:nvPr/>
          </p:nvGrpSpPr>
          <p:grpSpPr>
            <a:xfrm>
              <a:off x="-11229340" y="3590925"/>
              <a:ext cx="379730" cy="100329"/>
              <a:chOff x="-11229340" y="3590925"/>
              <a:chExt cx="379730" cy="100329"/>
            </a:xfrm>
            <a:solidFill>
              <a:srgbClr val="FFFFFF"/>
            </a:solidFill>
          </p:grpSpPr>
          <p:sp>
            <p:nvSpPr>
              <p:cNvPr id="164" name="Freeform 163"/>
              <p:cNvSpPr/>
              <p:nvPr/>
            </p:nvSpPr>
            <p:spPr>
              <a:xfrm>
                <a:off x="-11229340" y="3590925"/>
                <a:ext cx="126365" cy="98425"/>
              </a:xfrm>
              <a:custGeom>
                <a:avLst/>
                <a:gdLst>
                  <a:gd name="connsiteX0" fmla="*/ 52070 w 126365"/>
                  <a:gd name="connsiteY0" fmla="*/ 0 h 98425"/>
                  <a:gd name="connsiteX1" fmla="*/ 74930 w 126365"/>
                  <a:gd name="connsiteY1" fmla="*/ 0 h 98425"/>
                  <a:gd name="connsiteX2" fmla="*/ 126365 w 126365"/>
                  <a:gd name="connsiteY2" fmla="*/ 98425 h 98425"/>
                  <a:gd name="connsiteX3" fmla="*/ 101600 w 126365"/>
                  <a:gd name="connsiteY3" fmla="*/ 98425 h 98425"/>
                  <a:gd name="connsiteX4" fmla="*/ 90805 w 126365"/>
                  <a:gd name="connsiteY4" fmla="*/ 78105 h 98425"/>
                  <a:gd name="connsiteX5" fmla="*/ 34290 w 126365"/>
                  <a:gd name="connsiteY5" fmla="*/ 78105 h 98425"/>
                  <a:gd name="connsiteX6" fmla="*/ 24130 w 126365"/>
                  <a:gd name="connsiteY6" fmla="*/ 98425 h 98425"/>
                  <a:gd name="connsiteX7" fmla="*/ 0 w 126365"/>
                  <a:gd name="connsiteY7" fmla="*/ 98425 h 98425"/>
                  <a:gd name="connsiteX8" fmla="*/ 52070 w 126365"/>
                  <a:gd name="connsiteY8" fmla="*/ 0 h 98425"/>
                  <a:gd name="connsiteX9" fmla="*/ 43180 w 126365"/>
                  <a:gd name="connsiteY9" fmla="*/ 61595 h 98425"/>
                  <a:gd name="connsiteX10" fmla="*/ 83185 w 126365"/>
                  <a:gd name="connsiteY10" fmla="*/ 61595 h 98425"/>
                  <a:gd name="connsiteX11" fmla="*/ 63500 w 126365"/>
                  <a:gd name="connsiteY11" fmla="*/ 21590 h 98425"/>
                  <a:gd name="connsiteX12" fmla="*/ 43180 w 126365"/>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5"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FFFFFF"/>
              </a:solidFill>
              <a:ln w="6350" cap="flat">
                <a:noFill/>
                <a:prstDash val="solid"/>
                <a:miter/>
              </a:ln>
            </p:spPr>
            <p:txBody>
              <a:bodyPr rtlCol="0" anchor="ctr"/>
              <a:lstStyle/>
              <a:p>
                <a:endParaRPr lang="en-GB"/>
              </a:p>
            </p:txBody>
          </p:sp>
          <p:sp>
            <p:nvSpPr>
              <p:cNvPr id="165" name="Freeform 164"/>
              <p:cNvSpPr/>
              <p:nvPr/>
            </p:nvSpPr>
            <p:spPr>
              <a:xfrm>
                <a:off x="-11090909" y="3619500"/>
                <a:ext cx="83819" cy="71754"/>
              </a:xfrm>
              <a:custGeom>
                <a:avLst/>
                <a:gdLst>
                  <a:gd name="connsiteX0" fmla="*/ 62865 w 83819"/>
                  <a:gd name="connsiteY0" fmla="*/ 62865 h 71754"/>
                  <a:gd name="connsiteX1" fmla="*/ 34290 w 83819"/>
                  <a:gd name="connsiteY1" fmla="*/ 71755 h 71754"/>
                  <a:gd name="connsiteX2" fmla="*/ 0 w 83819"/>
                  <a:gd name="connsiteY2" fmla="*/ 40640 h 71754"/>
                  <a:gd name="connsiteX3" fmla="*/ 0 w 83819"/>
                  <a:gd name="connsiteY3" fmla="*/ 0 h 71754"/>
                  <a:gd name="connsiteX4" fmla="*/ 21590 w 83819"/>
                  <a:gd name="connsiteY4" fmla="*/ 0 h 71754"/>
                  <a:gd name="connsiteX5" fmla="*/ 21590 w 83819"/>
                  <a:gd name="connsiteY5" fmla="*/ 38100 h 71754"/>
                  <a:gd name="connsiteX6" fmla="*/ 40005 w 83819"/>
                  <a:gd name="connsiteY6" fmla="*/ 55245 h 71754"/>
                  <a:gd name="connsiteX7" fmla="*/ 62230 w 83819"/>
                  <a:gd name="connsiteY7" fmla="*/ 49530 h 71754"/>
                  <a:gd name="connsiteX8" fmla="*/ 62230 w 83819"/>
                  <a:gd name="connsiteY8" fmla="*/ 0 h 71754"/>
                  <a:gd name="connsiteX9" fmla="*/ 83820 w 83819"/>
                  <a:gd name="connsiteY9" fmla="*/ 0 h 71754"/>
                  <a:gd name="connsiteX10" fmla="*/ 83820 w 83819"/>
                  <a:gd name="connsiteY10" fmla="*/ 69850 h 71754"/>
                  <a:gd name="connsiteX11" fmla="*/ 65405 w 83819"/>
                  <a:gd name="connsiteY11" fmla="*/ 69850 h 71754"/>
                  <a:gd name="connsiteX12" fmla="*/ 62865 w 83819"/>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19"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FFFFFF"/>
              </a:solidFill>
              <a:ln w="6350" cap="flat">
                <a:noFill/>
                <a:prstDash val="solid"/>
                <a:miter/>
              </a:ln>
            </p:spPr>
            <p:txBody>
              <a:bodyPr rtlCol="0" anchor="ctr"/>
              <a:lstStyle/>
              <a:p>
                <a:endParaRPr lang="en-GB"/>
              </a:p>
            </p:txBody>
          </p:sp>
          <p:sp>
            <p:nvSpPr>
              <p:cNvPr id="166" name="Freeform 165"/>
              <p:cNvSpPr/>
              <p:nvPr/>
            </p:nvSpPr>
            <p:spPr>
              <a:xfrm>
                <a:off x="-10986769" y="3590925"/>
                <a:ext cx="89534" cy="100329"/>
              </a:xfrm>
              <a:custGeom>
                <a:avLst/>
                <a:gdLst>
                  <a:gd name="connsiteX0" fmla="*/ 0 w 89534"/>
                  <a:gd name="connsiteY0" fmla="*/ 63500 h 100329"/>
                  <a:gd name="connsiteX1" fmla="*/ 41275 w 89534"/>
                  <a:gd name="connsiteY1" fmla="*/ 26670 h 100329"/>
                  <a:gd name="connsiteX2" fmla="*/ 67945 w 89534"/>
                  <a:gd name="connsiteY2" fmla="*/ 33020 h 100329"/>
                  <a:gd name="connsiteX3" fmla="*/ 67945 w 89534"/>
                  <a:gd name="connsiteY3" fmla="*/ 0 h 100329"/>
                  <a:gd name="connsiteX4" fmla="*/ 89535 w 89534"/>
                  <a:gd name="connsiteY4" fmla="*/ 0 h 100329"/>
                  <a:gd name="connsiteX5" fmla="*/ 89535 w 89534"/>
                  <a:gd name="connsiteY5" fmla="*/ 98425 h 100329"/>
                  <a:gd name="connsiteX6" fmla="*/ 71120 w 89534"/>
                  <a:gd name="connsiteY6" fmla="*/ 98425 h 100329"/>
                  <a:gd name="connsiteX7" fmla="*/ 69850 w 89534"/>
                  <a:gd name="connsiteY7" fmla="*/ 90805 h 100329"/>
                  <a:gd name="connsiteX8" fmla="*/ 40639 w 89534"/>
                  <a:gd name="connsiteY8" fmla="*/ 100330 h 100329"/>
                  <a:gd name="connsiteX9" fmla="*/ 0 w 89534"/>
                  <a:gd name="connsiteY9" fmla="*/ 63500 h 100329"/>
                  <a:gd name="connsiteX10" fmla="*/ 67945 w 89534"/>
                  <a:gd name="connsiteY10" fmla="*/ 78740 h 100329"/>
                  <a:gd name="connsiteX11" fmla="*/ 67945 w 89534"/>
                  <a:gd name="connsiteY11" fmla="*/ 48895 h 100329"/>
                  <a:gd name="connsiteX12" fmla="*/ 43814 w 89534"/>
                  <a:gd name="connsiteY12" fmla="*/ 43180 h 100329"/>
                  <a:gd name="connsiteX13" fmla="*/ 21589 w 89534"/>
                  <a:gd name="connsiteY13" fmla="*/ 63500 h 100329"/>
                  <a:gd name="connsiteX14" fmla="*/ 43814 w 89534"/>
                  <a:gd name="connsiteY14" fmla="*/ 84455 h 100329"/>
                  <a:gd name="connsiteX15" fmla="*/ 67945 w 89534"/>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4"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39" y="100330"/>
                    </a:cubicBezTo>
                    <a:cubicBezTo>
                      <a:pt x="13970" y="100330"/>
                      <a:pt x="0" y="86995"/>
                      <a:pt x="0" y="63500"/>
                    </a:cubicBezTo>
                    <a:close/>
                    <a:moveTo>
                      <a:pt x="67945" y="78740"/>
                    </a:moveTo>
                    <a:lnTo>
                      <a:pt x="67945" y="48895"/>
                    </a:lnTo>
                    <a:cubicBezTo>
                      <a:pt x="60325" y="45085"/>
                      <a:pt x="53975" y="43180"/>
                      <a:pt x="43814" y="43180"/>
                    </a:cubicBezTo>
                    <a:cubicBezTo>
                      <a:pt x="29210" y="43180"/>
                      <a:pt x="21589" y="50800"/>
                      <a:pt x="21589" y="63500"/>
                    </a:cubicBezTo>
                    <a:cubicBezTo>
                      <a:pt x="21589" y="76200"/>
                      <a:pt x="29210" y="84455"/>
                      <a:pt x="43814" y="84455"/>
                    </a:cubicBezTo>
                    <a:cubicBezTo>
                      <a:pt x="53975" y="84455"/>
                      <a:pt x="60325" y="82550"/>
                      <a:pt x="67945" y="78740"/>
                    </a:cubicBezTo>
                    <a:close/>
                  </a:path>
                </a:pathLst>
              </a:custGeom>
              <a:solidFill>
                <a:srgbClr val="FFFFFF"/>
              </a:solidFill>
              <a:ln w="6350" cap="flat">
                <a:noFill/>
                <a:prstDash val="solid"/>
                <a:miter/>
              </a:ln>
            </p:spPr>
            <p:txBody>
              <a:bodyPr rtlCol="0" anchor="ctr"/>
              <a:lstStyle/>
              <a:p>
                <a:endParaRPr lang="en-GB"/>
              </a:p>
            </p:txBody>
          </p:sp>
          <p:sp>
            <p:nvSpPr>
              <p:cNvPr id="167" name="Freeform 166"/>
              <p:cNvSpPr/>
              <p:nvPr/>
            </p:nvSpPr>
            <p:spPr>
              <a:xfrm>
                <a:off x="-10871200" y="3590925"/>
                <a:ext cx="21590" cy="98425"/>
              </a:xfrm>
              <a:custGeom>
                <a:avLst/>
                <a:gdLst>
                  <a:gd name="connsiteX0" fmla="*/ 0 w 21590"/>
                  <a:gd name="connsiteY0" fmla="*/ 0 h 98425"/>
                  <a:gd name="connsiteX1" fmla="*/ 21590 w 21590"/>
                  <a:gd name="connsiteY1" fmla="*/ 0 h 98425"/>
                  <a:gd name="connsiteX2" fmla="*/ 21590 w 21590"/>
                  <a:gd name="connsiteY2" fmla="*/ 18415 h 98425"/>
                  <a:gd name="connsiteX3" fmla="*/ 0 w 21590"/>
                  <a:gd name="connsiteY3" fmla="*/ 18415 h 98425"/>
                  <a:gd name="connsiteX4" fmla="*/ 0 w 21590"/>
                  <a:gd name="connsiteY4" fmla="*/ 0 h 98425"/>
                  <a:gd name="connsiteX5" fmla="*/ 0 w 21590"/>
                  <a:gd name="connsiteY5" fmla="*/ 28575 h 98425"/>
                  <a:gd name="connsiteX6" fmla="*/ 21590 w 21590"/>
                  <a:gd name="connsiteY6" fmla="*/ 28575 h 98425"/>
                  <a:gd name="connsiteX7" fmla="*/ 21590 w 21590"/>
                  <a:gd name="connsiteY7" fmla="*/ 98425 h 98425"/>
                  <a:gd name="connsiteX8" fmla="*/ 0 w 21590"/>
                  <a:gd name="connsiteY8" fmla="*/ 98425 h 98425"/>
                  <a:gd name="connsiteX9" fmla="*/ 0 w 21590"/>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90"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FFFFFF"/>
              </a:solidFill>
              <a:ln w="6350" cap="flat">
                <a:noFill/>
                <a:prstDash val="solid"/>
                <a:miter/>
              </a:ln>
            </p:spPr>
            <p:txBody>
              <a:bodyPr rtlCol="0" anchor="ctr"/>
              <a:lstStyle/>
              <a:p>
                <a:endParaRPr lang="en-GB"/>
              </a:p>
            </p:txBody>
          </p:sp>
        </p:grpSp>
        <p:sp>
          <p:nvSpPr>
            <p:cNvPr id="163" name="Freeform 162"/>
            <p:cNvSpPr/>
            <p:nvPr/>
          </p:nvSpPr>
          <p:spPr>
            <a:xfrm>
              <a:off x="-11267440" y="3166745"/>
              <a:ext cx="943609" cy="326389"/>
            </a:xfrm>
            <a:custGeom>
              <a:avLst/>
              <a:gdLst>
                <a:gd name="connsiteX0" fmla="*/ 780415 w 943609"/>
                <a:gd name="connsiteY0" fmla="*/ 0 h 326389"/>
                <a:gd name="connsiteX1" fmla="*/ 677545 w 943609"/>
                <a:gd name="connsiteY1" fmla="*/ 36195 h 326389"/>
                <a:gd name="connsiteX2" fmla="*/ 574675 w 943609"/>
                <a:gd name="connsiteY2" fmla="*/ 0 h 326389"/>
                <a:gd name="connsiteX3" fmla="*/ 471805 w 943609"/>
                <a:gd name="connsiteY3" fmla="*/ 36195 h 326389"/>
                <a:gd name="connsiteX4" fmla="*/ 368935 w 943609"/>
                <a:gd name="connsiteY4" fmla="*/ 0 h 326389"/>
                <a:gd name="connsiteX5" fmla="*/ 266065 w 943609"/>
                <a:gd name="connsiteY5" fmla="*/ 36195 h 326389"/>
                <a:gd name="connsiteX6" fmla="*/ 163195 w 943609"/>
                <a:gd name="connsiteY6" fmla="*/ 0 h 326389"/>
                <a:gd name="connsiteX7" fmla="*/ 0 w 943609"/>
                <a:gd name="connsiteY7" fmla="*/ 163195 h 326389"/>
                <a:gd name="connsiteX8" fmla="*/ 163195 w 943609"/>
                <a:gd name="connsiteY8" fmla="*/ 326390 h 326389"/>
                <a:gd name="connsiteX9" fmla="*/ 266065 w 943609"/>
                <a:gd name="connsiteY9" fmla="*/ 290195 h 326389"/>
                <a:gd name="connsiteX10" fmla="*/ 368935 w 943609"/>
                <a:gd name="connsiteY10" fmla="*/ 326390 h 326389"/>
                <a:gd name="connsiteX11" fmla="*/ 471805 w 943609"/>
                <a:gd name="connsiteY11" fmla="*/ 290195 h 326389"/>
                <a:gd name="connsiteX12" fmla="*/ 574675 w 943609"/>
                <a:gd name="connsiteY12" fmla="*/ 326390 h 326389"/>
                <a:gd name="connsiteX13" fmla="*/ 677545 w 943609"/>
                <a:gd name="connsiteY13" fmla="*/ 290195 h 326389"/>
                <a:gd name="connsiteX14" fmla="*/ 780415 w 943609"/>
                <a:gd name="connsiteY14" fmla="*/ 326390 h 326389"/>
                <a:gd name="connsiteX15" fmla="*/ 943610 w 943609"/>
                <a:gd name="connsiteY15" fmla="*/ 163195 h 326389"/>
                <a:gd name="connsiteX16" fmla="*/ 780415 w 943609"/>
                <a:gd name="connsiteY16" fmla="*/ 0 h 326389"/>
                <a:gd name="connsiteX17" fmla="*/ 677545 w 943609"/>
                <a:gd name="connsiteY17" fmla="*/ 236220 h 326389"/>
                <a:gd name="connsiteX18" fmla="*/ 654050 w 943609"/>
                <a:gd name="connsiteY18" fmla="*/ 163195 h 326389"/>
                <a:gd name="connsiteX19" fmla="*/ 677545 w 943609"/>
                <a:gd name="connsiteY19" fmla="*/ 90170 h 326389"/>
                <a:gd name="connsiteX20" fmla="*/ 701040 w 943609"/>
                <a:gd name="connsiteY20" fmla="*/ 163195 h 326389"/>
                <a:gd name="connsiteX21" fmla="*/ 677545 w 943609"/>
                <a:gd name="connsiteY21" fmla="*/ 236220 h 326389"/>
                <a:gd name="connsiteX22" fmla="*/ 472440 w 943609"/>
                <a:gd name="connsiteY22" fmla="*/ 236220 h 326389"/>
                <a:gd name="connsiteX23" fmla="*/ 448945 w 943609"/>
                <a:gd name="connsiteY23" fmla="*/ 163195 h 326389"/>
                <a:gd name="connsiteX24" fmla="*/ 472440 w 943609"/>
                <a:gd name="connsiteY24" fmla="*/ 90170 h 326389"/>
                <a:gd name="connsiteX25" fmla="*/ 495935 w 943609"/>
                <a:gd name="connsiteY25" fmla="*/ 163195 h 326389"/>
                <a:gd name="connsiteX26" fmla="*/ 472440 w 943609"/>
                <a:gd name="connsiteY26" fmla="*/ 236220 h 326389"/>
                <a:gd name="connsiteX27" fmla="*/ 267335 w 943609"/>
                <a:gd name="connsiteY27" fmla="*/ 236220 h 326389"/>
                <a:gd name="connsiteX28" fmla="*/ 243840 w 943609"/>
                <a:gd name="connsiteY28" fmla="*/ 163195 h 326389"/>
                <a:gd name="connsiteX29" fmla="*/ 267335 w 943609"/>
                <a:gd name="connsiteY29" fmla="*/ 90170 h 326389"/>
                <a:gd name="connsiteX30" fmla="*/ 290830 w 943609"/>
                <a:gd name="connsiteY30" fmla="*/ 163195 h 326389"/>
                <a:gd name="connsiteX31" fmla="*/ 267335 w 943609"/>
                <a:gd name="connsiteY31" fmla="*/ 236220 h 326389"/>
                <a:gd name="connsiteX32" fmla="*/ 38735 w 943609"/>
                <a:gd name="connsiteY32" fmla="*/ 162560 h 326389"/>
                <a:gd name="connsiteX33" fmla="*/ 165100 w 943609"/>
                <a:gd name="connsiteY33" fmla="*/ 36195 h 326389"/>
                <a:gd name="connsiteX34" fmla="*/ 241935 w 943609"/>
                <a:gd name="connsiteY34" fmla="*/ 62230 h 326389"/>
                <a:gd name="connsiteX35" fmla="*/ 207645 w 943609"/>
                <a:gd name="connsiteY35" fmla="*/ 161925 h 326389"/>
                <a:gd name="connsiteX36" fmla="*/ 241935 w 943609"/>
                <a:gd name="connsiteY36" fmla="*/ 261620 h 326389"/>
                <a:gd name="connsiteX37" fmla="*/ 165100 w 943609"/>
                <a:gd name="connsiteY37" fmla="*/ 287655 h 326389"/>
                <a:gd name="connsiteX38" fmla="*/ 38735 w 943609"/>
                <a:gd name="connsiteY38" fmla="*/ 162560 h 326389"/>
                <a:gd name="connsiteX39" fmla="*/ 292735 w 943609"/>
                <a:gd name="connsiteY39" fmla="*/ 262890 h 326389"/>
                <a:gd name="connsiteX40" fmla="*/ 327025 w 943609"/>
                <a:gd name="connsiteY40" fmla="*/ 163195 h 326389"/>
                <a:gd name="connsiteX41" fmla="*/ 292735 w 943609"/>
                <a:gd name="connsiteY41" fmla="*/ 63500 h 326389"/>
                <a:gd name="connsiteX42" fmla="*/ 369570 w 943609"/>
                <a:gd name="connsiteY42" fmla="*/ 37465 h 326389"/>
                <a:gd name="connsiteX43" fmla="*/ 446405 w 943609"/>
                <a:gd name="connsiteY43" fmla="*/ 63500 h 326389"/>
                <a:gd name="connsiteX44" fmla="*/ 412115 w 943609"/>
                <a:gd name="connsiteY44" fmla="*/ 163195 h 326389"/>
                <a:gd name="connsiteX45" fmla="*/ 446405 w 943609"/>
                <a:gd name="connsiteY45" fmla="*/ 262890 h 326389"/>
                <a:gd name="connsiteX46" fmla="*/ 369570 w 943609"/>
                <a:gd name="connsiteY46" fmla="*/ 288925 h 326389"/>
                <a:gd name="connsiteX47" fmla="*/ 292735 w 943609"/>
                <a:gd name="connsiteY47" fmla="*/ 262890 h 326389"/>
                <a:gd name="connsiteX48" fmla="*/ 498475 w 943609"/>
                <a:gd name="connsiteY48" fmla="*/ 262890 h 326389"/>
                <a:gd name="connsiteX49" fmla="*/ 532765 w 943609"/>
                <a:gd name="connsiteY49" fmla="*/ 163195 h 326389"/>
                <a:gd name="connsiteX50" fmla="*/ 498475 w 943609"/>
                <a:gd name="connsiteY50" fmla="*/ 63500 h 326389"/>
                <a:gd name="connsiteX51" fmla="*/ 575310 w 943609"/>
                <a:gd name="connsiteY51" fmla="*/ 37465 h 326389"/>
                <a:gd name="connsiteX52" fmla="*/ 652145 w 943609"/>
                <a:gd name="connsiteY52" fmla="*/ 63500 h 326389"/>
                <a:gd name="connsiteX53" fmla="*/ 617855 w 943609"/>
                <a:gd name="connsiteY53" fmla="*/ 163195 h 326389"/>
                <a:gd name="connsiteX54" fmla="*/ 652145 w 943609"/>
                <a:gd name="connsiteY54" fmla="*/ 262890 h 326389"/>
                <a:gd name="connsiteX55" fmla="*/ 575310 w 943609"/>
                <a:gd name="connsiteY55" fmla="*/ 288925 h 326389"/>
                <a:gd name="connsiteX56" fmla="*/ 498475 w 943609"/>
                <a:gd name="connsiteY56" fmla="*/ 262890 h 326389"/>
                <a:gd name="connsiteX57" fmla="*/ 780415 w 943609"/>
                <a:gd name="connsiteY57" fmla="*/ 288290 h 326389"/>
                <a:gd name="connsiteX58" fmla="*/ 703580 w 943609"/>
                <a:gd name="connsiteY58" fmla="*/ 262255 h 326389"/>
                <a:gd name="connsiteX59" fmla="*/ 737870 w 943609"/>
                <a:gd name="connsiteY59" fmla="*/ 162560 h 326389"/>
                <a:gd name="connsiteX60" fmla="*/ 703580 w 943609"/>
                <a:gd name="connsiteY60" fmla="*/ 62865 h 326389"/>
                <a:gd name="connsiteX61" fmla="*/ 780415 w 943609"/>
                <a:gd name="connsiteY61" fmla="*/ 36830 h 326389"/>
                <a:gd name="connsiteX62" fmla="*/ 906780 w 943609"/>
                <a:gd name="connsiteY62" fmla="*/ 163195 h 326389"/>
                <a:gd name="connsiteX63" fmla="*/ 780415 w 943609"/>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09"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FFFFFF"/>
            </a:solidFill>
            <a:ln w="6350" cap="flat">
              <a:noFill/>
              <a:prstDash val="solid"/>
              <a:miter/>
            </a:ln>
          </p:spPr>
          <p:txBody>
            <a:bodyPr rtlCol="0" anchor="ctr"/>
            <a:lstStyle/>
            <a:p>
              <a:endParaRPr lang="en-GB"/>
            </a:p>
          </p:txBody>
        </p:sp>
      </p:grpSp>
      <p:grpSp>
        <p:nvGrpSpPr>
          <p:cNvPr id="168" name="Graphic 79"/>
          <p:cNvGrpSpPr/>
          <p:nvPr userDrawn="1"/>
        </p:nvGrpSpPr>
        <p:grpSpPr>
          <a:xfrm>
            <a:off x="8789036" y="4514214"/>
            <a:ext cx="964564" cy="204471"/>
            <a:chOff x="-4926964" y="4514214"/>
            <a:chExt cx="964564" cy="204471"/>
          </a:xfrm>
          <a:solidFill>
            <a:srgbClr val="FFFFFF"/>
          </a:solidFill>
        </p:grpSpPr>
        <p:sp>
          <p:nvSpPr>
            <p:cNvPr id="169" name="Freeform 168"/>
            <p:cNvSpPr/>
            <p:nvPr/>
          </p:nvSpPr>
          <p:spPr>
            <a:xfrm>
              <a:off x="-4279900" y="4516755"/>
              <a:ext cx="33019" cy="199389"/>
            </a:xfrm>
            <a:custGeom>
              <a:avLst/>
              <a:gdLst>
                <a:gd name="connsiteX0" fmla="*/ 29950 w 33019"/>
                <a:gd name="connsiteY0" fmla="*/ -1566 h 199389"/>
                <a:gd name="connsiteX1" fmla="*/ 29950 w 33019"/>
                <a:gd name="connsiteY1" fmla="*/ -1566 h 199389"/>
                <a:gd name="connsiteX2" fmla="*/ -3070 w 33019"/>
                <a:gd name="connsiteY2" fmla="*/ -1566 h 199389"/>
                <a:gd name="connsiteX3" fmla="*/ -3070 w 33019"/>
                <a:gd name="connsiteY3" fmla="*/ 197823 h 199389"/>
                <a:gd name="connsiteX4" fmla="*/ 29950 w 33019"/>
                <a:gd name="connsiteY4" fmla="*/ 197823 h 199389"/>
                <a:gd name="connsiteX5" fmla="*/ 29950 w 33019"/>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19" h="199389">
                  <a:moveTo>
                    <a:pt x="29950" y="-1566"/>
                  </a:moveTo>
                  <a:lnTo>
                    <a:pt x="29950" y="-1566"/>
                  </a:lnTo>
                  <a:lnTo>
                    <a:pt x="-3070" y="-1566"/>
                  </a:lnTo>
                  <a:lnTo>
                    <a:pt x="-3070" y="197823"/>
                  </a:lnTo>
                  <a:lnTo>
                    <a:pt x="29950" y="197823"/>
                  </a:lnTo>
                  <a:lnTo>
                    <a:pt x="29950" y="-1566"/>
                  </a:lnTo>
                  <a:close/>
                </a:path>
              </a:pathLst>
            </a:custGeom>
            <a:solidFill>
              <a:srgbClr val="FFFFFF"/>
            </a:solidFill>
            <a:ln w="6350" cap="flat">
              <a:noFill/>
              <a:prstDash val="solid"/>
              <a:miter/>
            </a:ln>
          </p:spPr>
          <p:txBody>
            <a:bodyPr rtlCol="0" anchor="ctr"/>
            <a:lstStyle/>
            <a:p>
              <a:endParaRPr lang="en-GB"/>
            </a:p>
          </p:txBody>
        </p:sp>
        <p:sp>
          <p:nvSpPr>
            <p:cNvPr id="170" name="Freeform 169"/>
            <p:cNvSpPr/>
            <p:nvPr/>
          </p:nvSpPr>
          <p:spPr>
            <a:xfrm>
              <a:off x="-4592955" y="4514214"/>
              <a:ext cx="204469" cy="204471"/>
            </a:xfrm>
            <a:custGeom>
              <a:avLst/>
              <a:gdLst>
                <a:gd name="connsiteX0" fmla="*/ 99166 w 204469"/>
                <a:gd name="connsiteY0" fmla="*/ 202905 h 204471"/>
                <a:gd name="connsiteX1" fmla="*/ 99166 w 204469"/>
                <a:gd name="connsiteY1" fmla="*/ 202905 h 204471"/>
                <a:gd name="connsiteX2" fmla="*/ 201400 w 204469"/>
                <a:gd name="connsiteY2" fmla="*/ 100670 h 204471"/>
                <a:gd name="connsiteX3" fmla="*/ 99166 w 204469"/>
                <a:gd name="connsiteY3" fmla="*/ -1566 h 204471"/>
                <a:gd name="connsiteX4" fmla="*/ -3070 w 204469"/>
                <a:gd name="connsiteY4" fmla="*/ 100670 h 204471"/>
                <a:gd name="connsiteX5" fmla="*/ 99166 w 204469"/>
                <a:gd name="connsiteY5" fmla="*/ 202905 h 204471"/>
                <a:gd name="connsiteX6" fmla="*/ 99166 w 204469"/>
                <a:gd name="connsiteY6" fmla="*/ 28280 h 204471"/>
                <a:gd name="connsiteX7" fmla="*/ 99166 w 204469"/>
                <a:gd name="connsiteY7" fmla="*/ 28280 h 204471"/>
                <a:gd name="connsiteX8" fmla="*/ 169650 w 204469"/>
                <a:gd name="connsiteY8" fmla="*/ 100670 h 204471"/>
                <a:gd name="connsiteX9" fmla="*/ 99166 w 204469"/>
                <a:gd name="connsiteY9" fmla="*/ 173059 h 204471"/>
                <a:gd name="connsiteX10" fmla="*/ 28680 w 204469"/>
                <a:gd name="connsiteY10" fmla="*/ 100670 h 204471"/>
                <a:gd name="connsiteX11" fmla="*/ 99166 w 204469"/>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9" h="204471">
                  <a:moveTo>
                    <a:pt x="99166" y="202905"/>
                  </a:moveTo>
                  <a:lnTo>
                    <a:pt x="99166" y="202905"/>
                  </a:lnTo>
                  <a:cubicBezTo>
                    <a:pt x="155680" y="202905"/>
                    <a:pt x="201400" y="157184"/>
                    <a:pt x="201400" y="100670"/>
                  </a:cubicBezTo>
                  <a:cubicBezTo>
                    <a:pt x="201400" y="44155"/>
                    <a:pt x="155680" y="-1566"/>
                    <a:pt x="99166" y="-1566"/>
                  </a:cubicBezTo>
                  <a:cubicBezTo>
                    <a:pt x="42650" y="-1566"/>
                    <a:pt x="-3070" y="44155"/>
                    <a:pt x="-3070" y="100670"/>
                  </a:cubicBezTo>
                  <a:cubicBezTo>
                    <a:pt x="-2434" y="157184"/>
                    <a:pt x="43285" y="202905"/>
                    <a:pt x="99166" y="202905"/>
                  </a:cubicBezTo>
                  <a:close/>
                  <a:moveTo>
                    <a:pt x="99166" y="28280"/>
                  </a:moveTo>
                  <a:lnTo>
                    <a:pt x="99166" y="28280"/>
                  </a:lnTo>
                  <a:cubicBezTo>
                    <a:pt x="138535" y="28280"/>
                    <a:pt x="169650" y="60030"/>
                    <a:pt x="169650" y="100670"/>
                  </a:cubicBezTo>
                  <a:cubicBezTo>
                    <a:pt x="169650" y="141309"/>
                    <a:pt x="138535" y="173059"/>
                    <a:pt x="99166" y="173059"/>
                  </a:cubicBezTo>
                  <a:cubicBezTo>
                    <a:pt x="59796" y="173059"/>
                    <a:pt x="28680" y="141309"/>
                    <a:pt x="28680" y="100670"/>
                  </a:cubicBezTo>
                  <a:cubicBezTo>
                    <a:pt x="29316" y="60030"/>
                    <a:pt x="59796" y="28280"/>
                    <a:pt x="99166" y="28280"/>
                  </a:cubicBezTo>
                  <a:close/>
                </a:path>
              </a:pathLst>
            </a:custGeom>
            <a:solidFill>
              <a:srgbClr val="FFFFFF"/>
            </a:solidFill>
            <a:ln w="6350" cap="flat">
              <a:noFill/>
              <a:prstDash val="solid"/>
              <a:miter/>
            </a:ln>
          </p:spPr>
          <p:txBody>
            <a:bodyPr rtlCol="0" anchor="ctr"/>
            <a:lstStyle/>
            <a:p>
              <a:endParaRPr lang="en-GB"/>
            </a:p>
          </p:txBody>
        </p:sp>
        <p:sp>
          <p:nvSpPr>
            <p:cNvPr id="171" name="Freeform 170"/>
            <p:cNvSpPr/>
            <p:nvPr/>
          </p:nvSpPr>
          <p:spPr>
            <a:xfrm>
              <a:off x="-4138294" y="4514214"/>
              <a:ext cx="175894" cy="201930"/>
            </a:xfrm>
            <a:custGeom>
              <a:avLst/>
              <a:gdLst>
                <a:gd name="connsiteX0" fmla="*/ 86464 w 175894"/>
                <a:gd name="connsiteY0" fmla="*/ -295 h 201930"/>
                <a:gd name="connsiteX1" fmla="*/ 86464 w 175894"/>
                <a:gd name="connsiteY1" fmla="*/ -295 h 201930"/>
                <a:gd name="connsiteX2" fmla="*/ 86464 w 175894"/>
                <a:gd name="connsiteY2" fmla="*/ -295 h 201930"/>
                <a:gd name="connsiteX3" fmla="*/ 85194 w 175894"/>
                <a:gd name="connsiteY3" fmla="*/ -1566 h 201930"/>
                <a:gd name="connsiteX4" fmla="*/ 83925 w 175894"/>
                <a:gd name="connsiteY4" fmla="*/ -295 h 201930"/>
                <a:gd name="connsiteX5" fmla="*/ 83925 w 175894"/>
                <a:gd name="connsiteY5" fmla="*/ -295 h 201930"/>
                <a:gd name="connsiteX6" fmla="*/ -3070 w 175894"/>
                <a:gd name="connsiteY6" fmla="*/ 200364 h 201930"/>
                <a:gd name="connsiteX7" fmla="*/ 27410 w 175894"/>
                <a:gd name="connsiteY7" fmla="*/ 200364 h 201930"/>
                <a:gd name="connsiteX8" fmla="*/ 84560 w 175894"/>
                <a:gd name="connsiteY8" fmla="*/ 67014 h 201930"/>
                <a:gd name="connsiteX9" fmla="*/ 142344 w 175894"/>
                <a:gd name="connsiteY9" fmla="*/ 200364 h 201930"/>
                <a:gd name="connsiteX10" fmla="*/ 172825 w 175894"/>
                <a:gd name="connsiteY10" fmla="*/ 200364 h 201930"/>
                <a:gd name="connsiteX11" fmla="*/ 86464 w 175894"/>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4" h="201930">
                  <a:moveTo>
                    <a:pt x="86464" y="-295"/>
                  </a:moveTo>
                  <a:lnTo>
                    <a:pt x="86464" y="-295"/>
                  </a:lnTo>
                  <a:lnTo>
                    <a:pt x="86464" y="-295"/>
                  </a:lnTo>
                  <a:cubicBezTo>
                    <a:pt x="86464" y="-930"/>
                    <a:pt x="85830" y="-1566"/>
                    <a:pt x="85194" y="-1566"/>
                  </a:cubicBezTo>
                  <a:cubicBezTo>
                    <a:pt x="84560" y="-1566"/>
                    <a:pt x="83925" y="-930"/>
                    <a:pt x="83925" y="-295"/>
                  </a:cubicBezTo>
                  <a:lnTo>
                    <a:pt x="83925" y="-295"/>
                  </a:lnTo>
                  <a:lnTo>
                    <a:pt x="-3070" y="200364"/>
                  </a:lnTo>
                  <a:lnTo>
                    <a:pt x="27410" y="200364"/>
                  </a:lnTo>
                  <a:lnTo>
                    <a:pt x="84560" y="67014"/>
                  </a:lnTo>
                  <a:lnTo>
                    <a:pt x="142344" y="200364"/>
                  </a:lnTo>
                  <a:lnTo>
                    <a:pt x="172825" y="200364"/>
                  </a:lnTo>
                  <a:lnTo>
                    <a:pt x="86464" y="-295"/>
                  </a:lnTo>
                  <a:close/>
                </a:path>
              </a:pathLst>
            </a:custGeom>
            <a:solidFill>
              <a:srgbClr val="FFFFFF"/>
            </a:solidFill>
            <a:ln w="6350" cap="flat">
              <a:noFill/>
              <a:prstDash val="solid"/>
              <a:miter/>
            </a:ln>
          </p:spPr>
          <p:txBody>
            <a:bodyPr rtlCol="0" anchor="ctr"/>
            <a:lstStyle/>
            <a:p>
              <a:endParaRPr lang="en-GB"/>
            </a:p>
          </p:txBody>
        </p:sp>
        <p:sp>
          <p:nvSpPr>
            <p:cNvPr id="172" name="Freeform 171"/>
            <p:cNvSpPr/>
            <p:nvPr/>
          </p:nvSpPr>
          <p:spPr>
            <a:xfrm>
              <a:off x="-4926964" y="4514850"/>
              <a:ext cx="267334" cy="201294"/>
            </a:xfrm>
            <a:custGeom>
              <a:avLst/>
              <a:gdLst>
                <a:gd name="connsiteX0" fmla="*/ 181714 w 267334"/>
                <a:gd name="connsiteY0" fmla="*/ -296 h 201294"/>
                <a:gd name="connsiteX1" fmla="*/ 181714 w 267334"/>
                <a:gd name="connsiteY1" fmla="*/ -296 h 201294"/>
                <a:gd name="connsiteX2" fmla="*/ 181714 w 267334"/>
                <a:gd name="connsiteY2" fmla="*/ -296 h 201294"/>
                <a:gd name="connsiteX3" fmla="*/ 179809 w 267334"/>
                <a:gd name="connsiteY3" fmla="*/ -1566 h 201294"/>
                <a:gd name="connsiteX4" fmla="*/ 177905 w 267334"/>
                <a:gd name="connsiteY4" fmla="*/ -296 h 201294"/>
                <a:gd name="connsiteX5" fmla="*/ 177905 w 267334"/>
                <a:gd name="connsiteY5" fmla="*/ -296 h 201294"/>
                <a:gd name="connsiteX6" fmla="*/ 139169 w 267334"/>
                <a:gd name="connsiteY6" fmla="*/ 102573 h 201294"/>
                <a:gd name="connsiteX7" fmla="*/ 130280 w 267334"/>
                <a:gd name="connsiteY7" fmla="*/ 126704 h 201294"/>
                <a:gd name="connsiteX8" fmla="*/ 82655 w 267334"/>
                <a:gd name="connsiteY8" fmla="*/ -296 h 201294"/>
                <a:gd name="connsiteX9" fmla="*/ 80750 w 267334"/>
                <a:gd name="connsiteY9" fmla="*/ -1566 h 201294"/>
                <a:gd name="connsiteX10" fmla="*/ 78844 w 267334"/>
                <a:gd name="connsiteY10" fmla="*/ -296 h 201294"/>
                <a:gd name="connsiteX11" fmla="*/ -3070 w 267334"/>
                <a:gd name="connsiteY11" fmla="*/ 199095 h 201294"/>
                <a:gd name="connsiteX12" fmla="*/ 29950 w 267334"/>
                <a:gd name="connsiteY12" fmla="*/ 199095 h 201294"/>
                <a:gd name="connsiteX13" fmla="*/ 55350 w 267334"/>
                <a:gd name="connsiteY13" fmla="*/ 138134 h 201294"/>
                <a:gd name="connsiteX14" fmla="*/ 80114 w 267334"/>
                <a:gd name="connsiteY14" fmla="*/ 73364 h 201294"/>
                <a:gd name="connsiteX15" fmla="*/ 128375 w 267334"/>
                <a:gd name="connsiteY15" fmla="*/ 198459 h 201294"/>
                <a:gd name="connsiteX16" fmla="*/ 130280 w 267334"/>
                <a:gd name="connsiteY16" fmla="*/ 199729 h 201294"/>
                <a:gd name="connsiteX17" fmla="*/ 132184 w 267334"/>
                <a:gd name="connsiteY17" fmla="*/ 198459 h 201294"/>
                <a:gd name="connsiteX18" fmla="*/ 181080 w 267334"/>
                <a:gd name="connsiteY18" fmla="*/ 73364 h 201294"/>
                <a:gd name="connsiteX19" fmla="*/ 231244 w 267334"/>
                <a:gd name="connsiteY19" fmla="*/ 198459 h 201294"/>
                <a:gd name="connsiteX20" fmla="*/ 264264 w 267334"/>
                <a:gd name="connsiteY20" fmla="*/ 198459 h 201294"/>
                <a:gd name="connsiteX21" fmla="*/ 181714 w 267334"/>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4" h="201294">
                  <a:moveTo>
                    <a:pt x="181714" y="-296"/>
                  </a:moveTo>
                  <a:lnTo>
                    <a:pt x="181714" y="-296"/>
                  </a:lnTo>
                  <a:lnTo>
                    <a:pt x="181714" y="-296"/>
                  </a:lnTo>
                  <a:cubicBezTo>
                    <a:pt x="181080" y="-930"/>
                    <a:pt x="180444" y="-1566"/>
                    <a:pt x="179809" y="-1566"/>
                  </a:cubicBezTo>
                  <a:cubicBezTo>
                    <a:pt x="178539" y="-1566"/>
                    <a:pt x="177905" y="-930"/>
                    <a:pt x="177905" y="-296"/>
                  </a:cubicBezTo>
                  <a:lnTo>
                    <a:pt x="177905" y="-296"/>
                  </a:lnTo>
                  <a:lnTo>
                    <a:pt x="139169" y="102573"/>
                  </a:lnTo>
                  <a:lnTo>
                    <a:pt x="130280" y="126704"/>
                  </a:lnTo>
                  <a:lnTo>
                    <a:pt x="82655" y="-296"/>
                  </a:lnTo>
                  <a:cubicBezTo>
                    <a:pt x="82019" y="-930"/>
                    <a:pt x="81384" y="-1566"/>
                    <a:pt x="80750" y="-1566"/>
                  </a:cubicBezTo>
                  <a:cubicBezTo>
                    <a:pt x="79480" y="-1566"/>
                    <a:pt x="78844" y="-930"/>
                    <a:pt x="78844" y="-296"/>
                  </a:cubicBezTo>
                  <a:lnTo>
                    <a:pt x="-3070" y="199095"/>
                  </a:lnTo>
                  <a:lnTo>
                    <a:pt x="29950" y="199095"/>
                  </a:lnTo>
                  <a:lnTo>
                    <a:pt x="55350" y="138134"/>
                  </a:lnTo>
                  <a:lnTo>
                    <a:pt x="80114" y="73364"/>
                  </a:lnTo>
                  <a:lnTo>
                    <a:pt x="128375" y="198459"/>
                  </a:lnTo>
                  <a:cubicBezTo>
                    <a:pt x="128375" y="199095"/>
                    <a:pt x="129644" y="199729"/>
                    <a:pt x="130280" y="199729"/>
                  </a:cubicBezTo>
                  <a:cubicBezTo>
                    <a:pt x="130914" y="199729"/>
                    <a:pt x="131550" y="199095"/>
                    <a:pt x="132184" y="198459"/>
                  </a:cubicBezTo>
                  <a:lnTo>
                    <a:pt x="181080" y="73364"/>
                  </a:lnTo>
                  <a:lnTo>
                    <a:pt x="231244" y="198459"/>
                  </a:lnTo>
                  <a:lnTo>
                    <a:pt x="264264" y="198459"/>
                  </a:lnTo>
                  <a:lnTo>
                    <a:pt x="181714" y="-296"/>
                  </a:lnTo>
                  <a:close/>
                </a:path>
              </a:pathLst>
            </a:custGeom>
            <a:solidFill>
              <a:srgbClr val="FFFFFF"/>
            </a:solidFill>
            <a:ln w="6350" cap="flat">
              <a:noFill/>
              <a:prstDash val="solid"/>
              <a:miter/>
            </a:ln>
          </p:spPr>
          <p:txBody>
            <a:bodyPr rtlCol="0" anchor="ctr"/>
            <a:lstStyle/>
            <a:p>
              <a:endParaRPr lang="en-GB"/>
            </a:p>
          </p:txBody>
        </p:sp>
      </p:grpSp>
      <p:grpSp>
        <p:nvGrpSpPr>
          <p:cNvPr id="448" name="Graphic 79"/>
          <p:cNvGrpSpPr/>
          <p:nvPr userDrawn="1"/>
        </p:nvGrpSpPr>
        <p:grpSpPr>
          <a:xfrm>
            <a:off x="7343775" y="1985010"/>
            <a:ext cx="679450" cy="513079"/>
            <a:chOff x="-6372225" y="1985010"/>
            <a:chExt cx="679450" cy="513079"/>
          </a:xfrm>
          <a:solidFill>
            <a:srgbClr val="FFFFFF"/>
          </a:solidFill>
        </p:grpSpPr>
        <p:sp>
          <p:nvSpPr>
            <p:cNvPr id="449" name="Freeform 448"/>
            <p:cNvSpPr/>
            <p:nvPr/>
          </p:nvSpPr>
          <p:spPr>
            <a:xfrm>
              <a:off x="-6229984"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solidFill>
              <a:srgbClr val="FFFFFF"/>
            </a:solidFill>
            <a:ln w="6350" cap="flat">
              <a:noFill/>
              <a:prstDash val="solid"/>
              <a:miter/>
            </a:ln>
          </p:spPr>
          <p:txBody>
            <a:bodyPr rtlCol="0" anchor="ctr"/>
            <a:lstStyle/>
            <a:p>
              <a:endParaRPr lang="en-GB"/>
            </a:p>
          </p:txBody>
        </p:sp>
        <p:sp>
          <p:nvSpPr>
            <p:cNvPr id="450" name="Freeform 449"/>
            <p:cNvSpPr/>
            <p:nvPr/>
          </p:nvSpPr>
          <p:spPr>
            <a:xfrm>
              <a:off x="-623252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solidFill>
              <a:srgbClr val="FFFFFF"/>
            </a:solidFill>
            <a:ln w="6350" cap="flat">
              <a:noFill/>
              <a:prstDash val="solid"/>
              <a:miter/>
            </a:ln>
          </p:spPr>
          <p:txBody>
            <a:bodyPr rtlCol="0" anchor="ctr"/>
            <a:lstStyle/>
            <a:p>
              <a:endParaRPr lang="en-GB"/>
            </a:p>
          </p:txBody>
        </p:sp>
        <p:sp>
          <p:nvSpPr>
            <p:cNvPr id="451" name="Freeform 450"/>
            <p:cNvSpPr/>
            <p:nvPr/>
          </p:nvSpPr>
          <p:spPr>
            <a:xfrm>
              <a:off x="-6190615"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solidFill>
              <a:srgbClr val="FFFFFF"/>
            </a:solidFill>
            <a:ln w="6350" cap="flat">
              <a:noFill/>
              <a:prstDash val="solid"/>
              <a:miter/>
            </a:ln>
          </p:spPr>
          <p:txBody>
            <a:bodyPr rtlCol="0" anchor="ctr"/>
            <a:lstStyle/>
            <a:p>
              <a:endParaRPr lang="en-GB"/>
            </a:p>
          </p:txBody>
        </p:sp>
        <p:sp>
          <p:nvSpPr>
            <p:cNvPr id="452" name="Freeform 451"/>
            <p:cNvSpPr/>
            <p:nvPr/>
          </p:nvSpPr>
          <p:spPr>
            <a:xfrm>
              <a:off x="-6372225" y="2403475"/>
              <a:ext cx="151129" cy="94614"/>
            </a:xfrm>
            <a:custGeom>
              <a:avLst/>
              <a:gdLst>
                <a:gd name="connsiteX0" fmla="*/ 132715 w 151129"/>
                <a:gd name="connsiteY0" fmla="*/ 41910 h 94614"/>
                <a:gd name="connsiteX1" fmla="*/ 90805 w 151129"/>
                <a:gd name="connsiteY1" fmla="*/ 37465 h 94614"/>
                <a:gd name="connsiteX2" fmla="*/ 43180 w 151129"/>
                <a:gd name="connsiteY2" fmla="*/ 33655 h 94614"/>
                <a:gd name="connsiteX3" fmla="*/ 26670 w 151129"/>
                <a:gd name="connsiteY3" fmla="*/ 31750 h 94614"/>
                <a:gd name="connsiteX4" fmla="*/ 22225 w 151129"/>
                <a:gd name="connsiteY4" fmla="*/ 24130 h 94614"/>
                <a:gd name="connsiteX5" fmla="*/ 27940 w 151129"/>
                <a:gd name="connsiteY5" fmla="*/ 18415 h 94614"/>
                <a:gd name="connsiteX6" fmla="*/ 31750 w 151129"/>
                <a:gd name="connsiteY6" fmla="*/ 18415 h 94614"/>
                <a:gd name="connsiteX7" fmla="*/ 139065 w 151129"/>
                <a:gd name="connsiteY7" fmla="*/ 18415 h 94614"/>
                <a:gd name="connsiteX8" fmla="*/ 143510 w 151129"/>
                <a:gd name="connsiteY8" fmla="*/ 18415 h 94614"/>
                <a:gd name="connsiteX9" fmla="*/ 143510 w 151129"/>
                <a:gd name="connsiteY9" fmla="*/ 0 h 94614"/>
                <a:gd name="connsiteX10" fmla="*/ 139065 w 151129"/>
                <a:gd name="connsiteY10" fmla="*/ 0 h 94614"/>
                <a:gd name="connsiteX11" fmla="*/ 28575 w 151129"/>
                <a:gd name="connsiteY11" fmla="*/ 0 h 94614"/>
                <a:gd name="connsiteX12" fmla="*/ 23495 w 151129"/>
                <a:gd name="connsiteY12" fmla="*/ 635 h 94614"/>
                <a:gd name="connsiteX13" fmla="*/ 635 w 151129"/>
                <a:gd name="connsiteY13" fmla="*/ 17780 h 94614"/>
                <a:gd name="connsiteX14" fmla="*/ 0 w 151129"/>
                <a:gd name="connsiteY14" fmla="*/ 30480 h 94614"/>
                <a:gd name="connsiteX15" fmla="*/ 17780 w 151129"/>
                <a:gd name="connsiteY15" fmla="*/ 50800 h 94614"/>
                <a:gd name="connsiteX16" fmla="*/ 37465 w 151129"/>
                <a:gd name="connsiteY16" fmla="*/ 53340 h 94614"/>
                <a:gd name="connsiteX17" fmla="*/ 92710 w 151129"/>
                <a:gd name="connsiteY17" fmla="*/ 57785 h 94614"/>
                <a:gd name="connsiteX18" fmla="*/ 121920 w 151129"/>
                <a:gd name="connsiteY18" fmla="*/ 60325 h 94614"/>
                <a:gd name="connsiteX19" fmla="*/ 128270 w 151129"/>
                <a:gd name="connsiteY19" fmla="*/ 69215 h 94614"/>
                <a:gd name="connsiteX20" fmla="*/ 121285 w 151129"/>
                <a:gd name="connsiteY20" fmla="*/ 76200 h 94614"/>
                <a:gd name="connsiteX21" fmla="*/ 117475 w 151129"/>
                <a:gd name="connsiteY21" fmla="*/ 76200 h 94614"/>
                <a:gd name="connsiteX22" fmla="*/ 9525 w 151129"/>
                <a:gd name="connsiteY22" fmla="*/ 76200 h 94614"/>
                <a:gd name="connsiteX23" fmla="*/ 5080 w 151129"/>
                <a:gd name="connsiteY23" fmla="*/ 76200 h 94614"/>
                <a:gd name="connsiteX24" fmla="*/ 5080 w 151129"/>
                <a:gd name="connsiteY24" fmla="*/ 94615 h 94614"/>
                <a:gd name="connsiteX25" fmla="*/ 7620 w 151129"/>
                <a:gd name="connsiteY25" fmla="*/ 94615 h 94614"/>
                <a:gd name="connsiteX26" fmla="*/ 121285 w 151129"/>
                <a:gd name="connsiteY26" fmla="*/ 94615 h 94614"/>
                <a:gd name="connsiteX27" fmla="*/ 131445 w 151129"/>
                <a:gd name="connsiteY27" fmla="*/ 93980 h 94614"/>
                <a:gd name="connsiteX28" fmla="*/ 150495 w 151129"/>
                <a:gd name="connsiteY28" fmla="*/ 75565 h 94614"/>
                <a:gd name="connsiteX29" fmla="*/ 151130 w 151129"/>
                <a:gd name="connsiteY29" fmla="*/ 64770 h 94614"/>
                <a:gd name="connsiteX30" fmla="*/ 132715 w 151129"/>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29"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solidFill>
              <a:srgbClr val="FFFFFF"/>
            </a:solidFill>
            <a:ln w="6350" cap="flat">
              <a:noFill/>
              <a:prstDash val="solid"/>
              <a:miter/>
            </a:ln>
          </p:spPr>
          <p:txBody>
            <a:bodyPr rtlCol="0" anchor="ctr"/>
            <a:lstStyle/>
            <a:p>
              <a:endParaRPr lang="en-GB"/>
            </a:p>
          </p:txBody>
        </p:sp>
        <p:sp>
          <p:nvSpPr>
            <p:cNvPr id="453" name="Freeform 452"/>
            <p:cNvSpPr/>
            <p:nvPr/>
          </p:nvSpPr>
          <p:spPr>
            <a:xfrm>
              <a:off x="-6005829" y="2402204"/>
              <a:ext cx="142875" cy="95250"/>
            </a:xfrm>
            <a:custGeom>
              <a:avLst/>
              <a:gdLst>
                <a:gd name="connsiteX0" fmla="*/ 31750 w 142875"/>
                <a:gd name="connsiteY0" fmla="*/ 635 h 95250"/>
                <a:gd name="connsiteX1" fmla="*/ 635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0 w 142875"/>
                <a:gd name="connsiteY7" fmla="*/ 67945 h 95250"/>
                <a:gd name="connsiteX8" fmla="*/ 118110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0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0" y="10160"/>
                    <a:pt x="635" y="24765"/>
                  </a:cubicBezTo>
                  <a:cubicBezTo>
                    <a:pt x="0" y="28575"/>
                    <a:pt x="0" y="32385"/>
                    <a:pt x="0" y="36195"/>
                  </a:cubicBezTo>
                  <a:cubicBezTo>
                    <a:pt x="0" y="54610"/>
                    <a:pt x="0" y="73025"/>
                    <a:pt x="0" y="91440"/>
                  </a:cubicBezTo>
                  <a:lnTo>
                    <a:pt x="0" y="94615"/>
                  </a:lnTo>
                  <a:lnTo>
                    <a:pt x="24765" y="94615"/>
                  </a:lnTo>
                  <a:lnTo>
                    <a:pt x="24765" y="67945"/>
                  </a:lnTo>
                  <a:lnTo>
                    <a:pt x="118110" y="67945"/>
                  </a:lnTo>
                  <a:lnTo>
                    <a:pt x="118110" y="95250"/>
                  </a:lnTo>
                  <a:lnTo>
                    <a:pt x="142875" y="95250"/>
                  </a:lnTo>
                  <a:lnTo>
                    <a:pt x="142875" y="635"/>
                  </a:lnTo>
                  <a:lnTo>
                    <a:pt x="141605" y="0"/>
                  </a:lnTo>
                  <a:cubicBezTo>
                    <a:pt x="104775" y="0"/>
                    <a:pt x="67945" y="0"/>
                    <a:pt x="31750" y="635"/>
                  </a:cubicBezTo>
                  <a:close/>
                  <a:moveTo>
                    <a:pt x="118110" y="48895"/>
                  </a:moveTo>
                  <a:lnTo>
                    <a:pt x="24765" y="48895"/>
                  </a:lnTo>
                  <a:cubicBezTo>
                    <a:pt x="24765" y="41275"/>
                    <a:pt x="24130" y="33655"/>
                    <a:pt x="26670" y="26670"/>
                  </a:cubicBezTo>
                  <a:cubicBezTo>
                    <a:pt x="29210" y="20955"/>
                    <a:pt x="34290" y="19050"/>
                    <a:pt x="40005" y="19050"/>
                  </a:cubicBezTo>
                  <a:cubicBezTo>
                    <a:pt x="60960" y="19050"/>
                    <a:pt x="81280" y="19050"/>
                    <a:pt x="102870" y="19050"/>
                  </a:cubicBezTo>
                  <a:lnTo>
                    <a:pt x="117475" y="19050"/>
                  </a:lnTo>
                  <a:lnTo>
                    <a:pt x="117475" y="48895"/>
                  </a:lnTo>
                  <a:close/>
                </a:path>
              </a:pathLst>
            </a:custGeom>
            <a:solidFill>
              <a:srgbClr val="FFFFFF"/>
            </a:solidFill>
            <a:ln w="6350" cap="flat">
              <a:noFill/>
              <a:prstDash val="solid"/>
              <a:miter/>
            </a:ln>
          </p:spPr>
          <p:txBody>
            <a:bodyPr rtlCol="0" anchor="ctr"/>
            <a:lstStyle/>
            <a:p>
              <a:endParaRPr lang="en-GB"/>
            </a:p>
          </p:txBody>
        </p:sp>
        <p:sp>
          <p:nvSpPr>
            <p:cNvPr id="454" name="Freeform 453"/>
            <p:cNvSpPr/>
            <p:nvPr/>
          </p:nvSpPr>
          <p:spPr>
            <a:xfrm>
              <a:off x="-583247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solidFill>
              <a:srgbClr val="FFFFFF"/>
            </a:solidFill>
            <a:ln w="6350" cap="flat">
              <a:noFill/>
              <a:prstDash val="solid"/>
              <a:miter/>
            </a:ln>
          </p:spPr>
          <p:txBody>
            <a:bodyPr rtlCol="0" anchor="ctr"/>
            <a:lstStyle/>
            <a:p>
              <a:endParaRPr lang="en-GB"/>
            </a:p>
          </p:txBody>
        </p:sp>
      </p:grpSp>
      <p:grpSp>
        <p:nvGrpSpPr>
          <p:cNvPr id="455" name="Graphic 79"/>
          <p:cNvGrpSpPr/>
          <p:nvPr userDrawn="1"/>
        </p:nvGrpSpPr>
        <p:grpSpPr>
          <a:xfrm>
            <a:off x="5645150" y="1931035"/>
            <a:ext cx="901700" cy="622082"/>
            <a:chOff x="-8070850" y="1931035"/>
            <a:chExt cx="901700" cy="622082"/>
          </a:xfrm>
          <a:solidFill>
            <a:srgbClr val="FFFFFF"/>
          </a:solidFill>
        </p:grpSpPr>
        <p:sp>
          <p:nvSpPr>
            <p:cNvPr id="456" name="Freeform 455"/>
            <p:cNvSpPr/>
            <p:nvPr/>
          </p:nvSpPr>
          <p:spPr>
            <a:xfrm>
              <a:off x="-7838440" y="1931035"/>
              <a:ext cx="407034" cy="406400"/>
            </a:xfrm>
            <a:custGeom>
              <a:avLst/>
              <a:gdLst>
                <a:gd name="connsiteX0" fmla="*/ 203200 w 407034"/>
                <a:gd name="connsiteY0" fmla="*/ 406400 h 406400"/>
                <a:gd name="connsiteX1" fmla="*/ 407035 w 407034"/>
                <a:gd name="connsiteY1" fmla="*/ 203200 h 406400"/>
                <a:gd name="connsiteX2" fmla="*/ 203835 w 407034"/>
                <a:gd name="connsiteY2" fmla="*/ 0 h 406400"/>
                <a:gd name="connsiteX3" fmla="*/ 0 w 407034"/>
                <a:gd name="connsiteY3" fmla="*/ 203200 h 406400"/>
                <a:gd name="connsiteX4" fmla="*/ 203200 w 407034"/>
                <a:gd name="connsiteY4" fmla="*/ 406400 h 406400"/>
                <a:gd name="connsiteX5" fmla="*/ 204470 w 407034"/>
                <a:gd name="connsiteY5" fmla="*/ 16510 h 406400"/>
                <a:gd name="connsiteX6" fmla="*/ 389890 w 407034"/>
                <a:gd name="connsiteY6" fmla="*/ 203200 h 406400"/>
                <a:gd name="connsiteX7" fmla="*/ 203200 w 407034"/>
                <a:gd name="connsiteY7" fmla="*/ 389255 h 406400"/>
                <a:gd name="connsiteX8" fmla="*/ 17145 w 407034"/>
                <a:gd name="connsiteY8" fmla="*/ 202565 h 406400"/>
                <a:gd name="connsiteX9" fmla="*/ 204470 w 407034"/>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4"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FFFFFF"/>
            </a:solidFill>
            <a:ln w="6350" cap="flat">
              <a:noFill/>
              <a:prstDash val="solid"/>
              <a:miter/>
            </a:ln>
          </p:spPr>
          <p:txBody>
            <a:bodyPr rtlCol="0" anchor="ctr"/>
            <a:lstStyle/>
            <a:p>
              <a:endParaRPr lang="en-GB"/>
            </a:p>
          </p:txBody>
        </p:sp>
        <p:sp>
          <p:nvSpPr>
            <p:cNvPr id="457" name="Freeform 456"/>
            <p:cNvSpPr/>
            <p:nvPr/>
          </p:nvSpPr>
          <p:spPr>
            <a:xfrm>
              <a:off x="-7886065"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FFFFFF"/>
            </a:solidFill>
            <a:ln w="6350" cap="flat">
              <a:noFill/>
              <a:prstDash val="solid"/>
              <a:miter/>
            </a:ln>
          </p:spPr>
          <p:txBody>
            <a:bodyPr rtlCol="0" anchor="ctr"/>
            <a:lstStyle/>
            <a:p>
              <a:endParaRPr lang="en-GB"/>
            </a:p>
          </p:txBody>
        </p:sp>
        <p:sp>
          <p:nvSpPr>
            <p:cNvPr id="458" name="Freeform 457"/>
            <p:cNvSpPr/>
            <p:nvPr/>
          </p:nvSpPr>
          <p:spPr>
            <a:xfrm>
              <a:off x="-80708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FFFFFF"/>
            </a:solidFill>
            <a:ln w="6350" cap="flat">
              <a:noFill/>
              <a:prstDash val="solid"/>
              <a:miter/>
            </a:ln>
          </p:spPr>
          <p:txBody>
            <a:bodyPr rtlCol="0" anchor="ctr"/>
            <a:lstStyle/>
            <a:p>
              <a:endParaRPr lang="en-GB"/>
            </a:p>
          </p:txBody>
        </p:sp>
        <p:sp>
          <p:nvSpPr>
            <p:cNvPr id="459" name="Freeform 458"/>
            <p:cNvSpPr/>
            <p:nvPr/>
          </p:nvSpPr>
          <p:spPr>
            <a:xfrm>
              <a:off x="-8025765"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FFFFFF"/>
            </a:solidFill>
            <a:ln w="6350" cap="flat">
              <a:noFill/>
              <a:prstDash val="solid"/>
              <a:miter/>
            </a:ln>
          </p:spPr>
          <p:txBody>
            <a:bodyPr rtlCol="0" anchor="ctr"/>
            <a:lstStyle/>
            <a:p>
              <a:endParaRPr lang="en-GB"/>
            </a:p>
          </p:txBody>
        </p:sp>
        <p:sp>
          <p:nvSpPr>
            <p:cNvPr id="460" name="Freeform 459"/>
            <p:cNvSpPr/>
            <p:nvPr/>
          </p:nvSpPr>
          <p:spPr>
            <a:xfrm>
              <a:off x="-7519669" y="2425700"/>
              <a:ext cx="153669" cy="126364"/>
            </a:xfrm>
            <a:custGeom>
              <a:avLst/>
              <a:gdLst>
                <a:gd name="connsiteX0" fmla="*/ 108585 w 153669"/>
                <a:gd name="connsiteY0" fmla="*/ 0 h 126364"/>
                <a:gd name="connsiteX1" fmla="*/ 94614 w 153669"/>
                <a:gd name="connsiteY1" fmla="*/ 0 h 126364"/>
                <a:gd name="connsiteX2" fmla="*/ 3810 w 153669"/>
                <a:gd name="connsiteY2" fmla="*/ 0 h 126364"/>
                <a:gd name="connsiteX3" fmla="*/ 0 w 153669"/>
                <a:gd name="connsiteY3" fmla="*/ 0 h 126364"/>
                <a:gd name="connsiteX4" fmla="*/ 0 w 153669"/>
                <a:gd name="connsiteY4" fmla="*/ 126365 h 126364"/>
                <a:gd name="connsiteX5" fmla="*/ 3175 w 153669"/>
                <a:gd name="connsiteY5" fmla="*/ 126365 h 126364"/>
                <a:gd name="connsiteX6" fmla="*/ 109220 w 153669"/>
                <a:gd name="connsiteY6" fmla="*/ 126365 h 126364"/>
                <a:gd name="connsiteX7" fmla="*/ 118110 w 153669"/>
                <a:gd name="connsiteY7" fmla="*/ 125730 h 126364"/>
                <a:gd name="connsiteX8" fmla="*/ 153670 w 153669"/>
                <a:gd name="connsiteY8" fmla="*/ 81915 h 126364"/>
                <a:gd name="connsiteX9" fmla="*/ 153670 w 153669"/>
                <a:gd name="connsiteY9" fmla="*/ 45085 h 126364"/>
                <a:gd name="connsiteX10" fmla="*/ 140970 w 153669"/>
                <a:gd name="connsiteY10" fmla="*/ 13335 h 126364"/>
                <a:gd name="connsiteX11" fmla="*/ 108585 w 153669"/>
                <a:gd name="connsiteY11" fmla="*/ 0 h 126364"/>
                <a:gd name="connsiteX12" fmla="*/ 123825 w 153669"/>
                <a:gd name="connsiteY12" fmla="*/ 83820 h 126364"/>
                <a:gd name="connsiteX13" fmla="*/ 109220 w 153669"/>
                <a:gd name="connsiteY13" fmla="*/ 98425 h 126364"/>
                <a:gd name="connsiteX14" fmla="*/ 32385 w 153669"/>
                <a:gd name="connsiteY14" fmla="*/ 98425 h 126364"/>
                <a:gd name="connsiteX15" fmla="*/ 29845 w 153669"/>
                <a:gd name="connsiteY15" fmla="*/ 97790 h 126364"/>
                <a:gd name="connsiteX16" fmla="*/ 29845 w 153669"/>
                <a:gd name="connsiteY16" fmla="*/ 28575 h 126364"/>
                <a:gd name="connsiteX17" fmla="*/ 31750 w 153669"/>
                <a:gd name="connsiteY17" fmla="*/ 28575 h 126364"/>
                <a:gd name="connsiteX18" fmla="*/ 109220 w 153669"/>
                <a:gd name="connsiteY18" fmla="*/ 28575 h 126364"/>
                <a:gd name="connsiteX19" fmla="*/ 123825 w 153669"/>
                <a:gd name="connsiteY19" fmla="*/ 42545 h 126364"/>
                <a:gd name="connsiteX20" fmla="*/ 123825 w 153669"/>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69" h="126364">
                  <a:moveTo>
                    <a:pt x="108585" y="0"/>
                  </a:moveTo>
                  <a:cubicBezTo>
                    <a:pt x="103505" y="0"/>
                    <a:pt x="99695" y="0"/>
                    <a:pt x="94614" y="0"/>
                  </a:cubicBezTo>
                  <a:lnTo>
                    <a:pt x="3810" y="0"/>
                  </a:lnTo>
                  <a:cubicBezTo>
                    <a:pt x="2539"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4" y="120650"/>
                    <a:pt x="153035" y="103505"/>
                    <a:pt x="153670" y="81915"/>
                  </a:cubicBezTo>
                  <a:cubicBezTo>
                    <a:pt x="153670" y="69215"/>
                    <a:pt x="153670" y="57785"/>
                    <a:pt x="153670" y="45085"/>
                  </a:cubicBezTo>
                  <a:cubicBezTo>
                    <a:pt x="153670" y="33020"/>
                    <a:pt x="149225" y="22225"/>
                    <a:pt x="140970" y="13335"/>
                  </a:cubicBezTo>
                  <a:cubicBezTo>
                    <a:pt x="132714"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4" y="98425"/>
                    <a:pt x="29845" y="97790"/>
                  </a:cubicBezTo>
                  <a:lnTo>
                    <a:pt x="29845" y="28575"/>
                  </a:lnTo>
                  <a:cubicBezTo>
                    <a:pt x="30480" y="28575"/>
                    <a:pt x="31114"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FFFFFF"/>
            </a:solidFill>
            <a:ln w="6350" cap="flat">
              <a:noFill/>
              <a:prstDash val="solid"/>
              <a:miter/>
            </a:ln>
          </p:spPr>
          <p:txBody>
            <a:bodyPr rtlCol="0" anchor="ctr"/>
            <a:lstStyle/>
            <a:p>
              <a:endParaRPr lang="en-GB"/>
            </a:p>
          </p:txBody>
        </p:sp>
        <p:sp>
          <p:nvSpPr>
            <p:cNvPr id="461" name="Freeform 460"/>
            <p:cNvSpPr/>
            <p:nvPr/>
          </p:nvSpPr>
          <p:spPr>
            <a:xfrm>
              <a:off x="-7714615" y="2425700"/>
              <a:ext cx="159384" cy="126012"/>
            </a:xfrm>
            <a:custGeom>
              <a:avLst/>
              <a:gdLst>
                <a:gd name="connsiteX0" fmla="*/ 113665 w 159384"/>
                <a:gd name="connsiteY0" fmla="*/ 0 h 126012"/>
                <a:gd name="connsiteX1" fmla="*/ 45720 w 159384"/>
                <a:gd name="connsiteY1" fmla="*/ 0 h 126012"/>
                <a:gd name="connsiteX2" fmla="*/ 37465 w 159384"/>
                <a:gd name="connsiteY2" fmla="*/ 635 h 126012"/>
                <a:gd name="connsiteX3" fmla="*/ 0 w 159384"/>
                <a:gd name="connsiteY3" fmla="*/ 45085 h 126012"/>
                <a:gd name="connsiteX4" fmla="*/ 0 w 159384"/>
                <a:gd name="connsiteY4" fmla="*/ 81280 h 126012"/>
                <a:gd name="connsiteX5" fmla="*/ 8255 w 159384"/>
                <a:gd name="connsiteY5" fmla="*/ 107950 h 126012"/>
                <a:gd name="connsiteX6" fmla="*/ 43180 w 159384"/>
                <a:gd name="connsiteY6" fmla="*/ 125730 h 126012"/>
                <a:gd name="connsiteX7" fmla="*/ 79375 w 159384"/>
                <a:gd name="connsiteY7" fmla="*/ 125730 h 126012"/>
                <a:gd name="connsiteX8" fmla="*/ 113665 w 159384"/>
                <a:gd name="connsiteY8" fmla="*/ 125730 h 126012"/>
                <a:gd name="connsiteX9" fmla="*/ 122555 w 159384"/>
                <a:gd name="connsiteY9" fmla="*/ 125095 h 126012"/>
                <a:gd name="connsiteX10" fmla="*/ 159385 w 159384"/>
                <a:gd name="connsiteY10" fmla="*/ 81915 h 126012"/>
                <a:gd name="connsiteX11" fmla="*/ 159385 w 159384"/>
                <a:gd name="connsiteY11" fmla="*/ 44450 h 126012"/>
                <a:gd name="connsiteX12" fmla="*/ 152400 w 159384"/>
                <a:gd name="connsiteY12" fmla="*/ 20320 h 126012"/>
                <a:gd name="connsiteX13" fmla="*/ 113665 w 159384"/>
                <a:gd name="connsiteY13" fmla="*/ 0 h 126012"/>
                <a:gd name="connsiteX14" fmla="*/ 129540 w 159384"/>
                <a:gd name="connsiteY14" fmla="*/ 83820 h 126012"/>
                <a:gd name="connsiteX15" fmla="*/ 115570 w 159384"/>
                <a:gd name="connsiteY15" fmla="*/ 97790 h 126012"/>
                <a:gd name="connsiteX16" fmla="*/ 99060 w 159384"/>
                <a:gd name="connsiteY16" fmla="*/ 97790 h 126012"/>
                <a:gd name="connsiteX17" fmla="*/ 80010 w 159384"/>
                <a:gd name="connsiteY17" fmla="*/ 97790 h 126012"/>
                <a:gd name="connsiteX18" fmla="*/ 44450 w 159384"/>
                <a:gd name="connsiteY18" fmla="*/ 97790 h 126012"/>
                <a:gd name="connsiteX19" fmla="*/ 30480 w 159384"/>
                <a:gd name="connsiteY19" fmla="*/ 86995 h 126012"/>
                <a:gd name="connsiteX20" fmla="*/ 29845 w 159384"/>
                <a:gd name="connsiteY20" fmla="*/ 81280 h 126012"/>
                <a:gd name="connsiteX21" fmla="*/ 29845 w 159384"/>
                <a:gd name="connsiteY21" fmla="*/ 43180 h 126012"/>
                <a:gd name="connsiteX22" fmla="*/ 31115 w 159384"/>
                <a:gd name="connsiteY22" fmla="*/ 36195 h 126012"/>
                <a:gd name="connsiteX23" fmla="*/ 43815 w 159384"/>
                <a:gd name="connsiteY23" fmla="*/ 27305 h 126012"/>
                <a:gd name="connsiteX24" fmla="*/ 45085 w 159384"/>
                <a:gd name="connsiteY24" fmla="*/ 27305 h 126012"/>
                <a:gd name="connsiteX25" fmla="*/ 114300 w 159384"/>
                <a:gd name="connsiteY25" fmla="*/ 27305 h 126012"/>
                <a:gd name="connsiteX26" fmla="*/ 121285 w 159384"/>
                <a:gd name="connsiteY26" fmla="*/ 28575 h 126012"/>
                <a:gd name="connsiteX27" fmla="*/ 129540 w 159384"/>
                <a:gd name="connsiteY27" fmla="*/ 41275 h 126012"/>
                <a:gd name="connsiteX28" fmla="*/ 129540 w 159384"/>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4"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FFFFFF"/>
            </a:solidFill>
            <a:ln w="6350" cap="flat">
              <a:noFill/>
              <a:prstDash val="solid"/>
              <a:miter/>
            </a:ln>
          </p:spPr>
          <p:txBody>
            <a:bodyPr rtlCol="0" anchor="ctr"/>
            <a:lstStyle/>
            <a:p>
              <a:endParaRPr lang="en-GB"/>
            </a:p>
          </p:txBody>
        </p:sp>
        <p:sp>
          <p:nvSpPr>
            <p:cNvPr id="462" name="Freeform 461"/>
            <p:cNvSpPr/>
            <p:nvPr/>
          </p:nvSpPr>
          <p:spPr>
            <a:xfrm>
              <a:off x="-7352030" y="2425700"/>
              <a:ext cx="182880" cy="125895"/>
            </a:xfrm>
            <a:custGeom>
              <a:avLst/>
              <a:gdLst>
                <a:gd name="connsiteX0" fmla="*/ 180340 w 182880"/>
                <a:gd name="connsiteY0" fmla="*/ 123190 h 125895"/>
                <a:gd name="connsiteX1" fmla="*/ 113030 w 182880"/>
                <a:gd name="connsiteY1" fmla="*/ 2540 h 125895"/>
                <a:gd name="connsiteX2" fmla="*/ 109220 w 182880"/>
                <a:gd name="connsiteY2" fmla="*/ 0 h 125895"/>
                <a:gd name="connsiteX3" fmla="*/ 73025 w 182880"/>
                <a:gd name="connsiteY3" fmla="*/ 0 h 125895"/>
                <a:gd name="connsiteX4" fmla="*/ 68580 w 182880"/>
                <a:gd name="connsiteY4" fmla="*/ 2540 h 125895"/>
                <a:gd name="connsiteX5" fmla="*/ 1270 w 182880"/>
                <a:gd name="connsiteY5" fmla="*/ 123190 h 125895"/>
                <a:gd name="connsiteX6" fmla="*/ 0 w 182880"/>
                <a:gd name="connsiteY6" fmla="*/ 125730 h 125895"/>
                <a:gd name="connsiteX7" fmla="*/ 3175 w 182880"/>
                <a:gd name="connsiteY7" fmla="*/ 125730 h 125895"/>
                <a:gd name="connsiteX8" fmla="*/ 30480 w 182880"/>
                <a:gd name="connsiteY8" fmla="*/ 125730 h 125895"/>
                <a:gd name="connsiteX9" fmla="*/ 34925 w 182880"/>
                <a:gd name="connsiteY9" fmla="*/ 123190 h 125895"/>
                <a:gd name="connsiteX10" fmla="*/ 58420 w 182880"/>
                <a:gd name="connsiteY10" fmla="*/ 81280 h 125895"/>
                <a:gd name="connsiteX11" fmla="*/ 60325 w 182880"/>
                <a:gd name="connsiteY11" fmla="*/ 78740 h 125895"/>
                <a:gd name="connsiteX12" fmla="*/ 62230 w 182880"/>
                <a:gd name="connsiteY12" fmla="*/ 81280 h 125895"/>
                <a:gd name="connsiteX13" fmla="*/ 74930 w 182880"/>
                <a:gd name="connsiteY13" fmla="*/ 101600 h 125895"/>
                <a:gd name="connsiteX14" fmla="*/ 78105 w 182880"/>
                <a:gd name="connsiteY14" fmla="*/ 103505 h 125895"/>
                <a:gd name="connsiteX15" fmla="*/ 80011 w 182880"/>
                <a:gd name="connsiteY15" fmla="*/ 103505 h 125895"/>
                <a:gd name="connsiteX16" fmla="*/ 132080 w 182880"/>
                <a:gd name="connsiteY16" fmla="*/ 102870 h 125895"/>
                <a:gd name="connsiteX17" fmla="*/ 137795 w 182880"/>
                <a:gd name="connsiteY17" fmla="*/ 106680 h 125895"/>
                <a:gd name="connsiteX18" fmla="*/ 146686 w 182880"/>
                <a:gd name="connsiteY18" fmla="*/ 121920 h 125895"/>
                <a:gd name="connsiteX19" fmla="*/ 149225 w 182880"/>
                <a:gd name="connsiteY19" fmla="*/ 125730 h 125895"/>
                <a:gd name="connsiteX20" fmla="*/ 182880 w 182880"/>
                <a:gd name="connsiteY20" fmla="*/ 125730 h 125895"/>
                <a:gd name="connsiteX21" fmla="*/ 180340 w 182880"/>
                <a:gd name="connsiteY21" fmla="*/ 123190 h 125895"/>
                <a:gd name="connsiteX22" fmla="*/ 60325 w 182880"/>
                <a:gd name="connsiteY22" fmla="*/ 76835 h 125895"/>
                <a:gd name="connsiteX23" fmla="*/ 90170 w 182880"/>
                <a:gd name="connsiteY23" fmla="*/ 22860 h 125895"/>
                <a:gd name="connsiteX24" fmla="*/ 120015 w 182880"/>
                <a:gd name="connsiteY24" fmla="*/ 76835 h 125895"/>
                <a:gd name="connsiteX25" fmla="*/ 60325 w 182880"/>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80" h="125895">
                  <a:moveTo>
                    <a:pt x="180340" y="123190"/>
                  </a:moveTo>
                  <a:cubicBezTo>
                    <a:pt x="157480" y="83185"/>
                    <a:pt x="135255" y="42545"/>
                    <a:pt x="113030" y="2540"/>
                  </a:cubicBezTo>
                  <a:cubicBezTo>
                    <a:pt x="111761" y="635"/>
                    <a:pt x="111125" y="0"/>
                    <a:pt x="109220" y="0"/>
                  </a:cubicBezTo>
                  <a:cubicBezTo>
                    <a:pt x="97155" y="0"/>
                    <a:pt x="84455" y="0"/>
                    <a:pt x="73025" y="0"/>
                  </a:cubicBezTo>
                  <a:cubicBezTo>
                    <a:pt x="70486" y="0"/>
                    <a:pt x="69850" y="635"/>
                    <a:pt x="68580" y="2540"/>
                  </a:cubicBezTo>
                  <a:cubicBezTo>
                    <a:pt x="45720" y="43180"/>
                    <a:pt x="24130" y="83185"/>
                    <a:pt x="1270" y="123190"/>
                  </a:cubicBezTo>
                  <a:cubicBezTo>
                    <a:pt x="636" y="123825"/>
                    <a:pt x="636"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1" y="80010"/>
                    <a:pt x="61595" y="80645"/>
                    <a:pt x="62230" y="81280"/>
                  </a:cubicBezTo>
                  <a:cubicBezTo>
                    <a:pt x="66675" y="88265"/>
                    <a:pt x="71120" y="94615"/>
                    <a:pt x="74930" y="101600"/>
                  </a:cubicBezTo>
                  <a:cubicBezTo>
                    <a:pt x="75565" y="102870"/>
                    <a:pt x="76200" y="103505"/>
                    <a:pt x="78105" y="103505"/>
                  </a:cubicBezTo>
                  <a:cubicBezTo>
                    <a:pt x="78740" y="102870"/>
                    <a:pt x="79375" y="103505"/>
                    <a:pt x="80011" y="103505"/>
                  </a:cubicBezTo>
                  <a:cubicBezTo>
                    <a:pt x="97155" y="103505"/>
                    <a:pt x="114936" y="103505"/>
                    <a:pt x="132080" y="102870"/>
                  </a:cubicBezTo>
                  <a:cubicBezTo>
                    <a:pt x="135255" y="102870"/>
                    <a:pt x="136525" y="104140"/>
                    <a:pt x="137795" y="106680"/>
                  </a:cubicBezTo>
                  <a:cubicBezTo>
                    <a:pt x="140970" y="111760"/>
                    <a:pt x="143511" y="117475"/>
                    <a:pt x="146686"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6" y="59055"/>
                    <a:pt x="80645" y="41275"/>
                    <a:pt x="90170" y="22860"/>
                  </a:cubicBezTo>
                  <a:cubicBezTo>
                    <a:pt x="100330" y="40640"/>
                    <a:pt x="110490" y="58420"/>
                    <a:pt x="120015" y="76835"/>
                  </a:cubicBezTo>
                  <a:cubicBezTo>
                    <a:pt x="118111" y="77470"/>
                    <a:pt x="65405" y="77470"/>
                    <a:pt x="60325" y="76835"/>
                  </a:cubicBezTo>
                  <a:close/>
                </a:path>
              </a:pathLst>
            </a:custGeom>
            <a:solidFill>
              <a:srgbClr val="FFFFFF"/>
            </a:solidFill>
            <a:ln w="6350" cap="flat">
              <a:noFill/>
              <a:prstDash val="solid"/>
              <a:miter/>
            </a:ln>
          </p:spPr>
          <p:txBody>
            <a:bodyPr rtlCol="0" anchor="ctr"/>
            <a:lstStyle/>
            <a:p>
              <a:endParaRPr lang="en-GB"/>
            </a:p>
          </p:txBody>
        </p:sp>
        <p:sp>
          <p:nvSpPr>
            <p:cNvPr id="463" name="Freeform 462"/>
            <p:cNvSpPr/>
            <p:nvPr/>
          </p:nvSpPr>
          <p:spPr>
            <a:xfrm>
              <a:off x="-779462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FFFFFF"/>
            </a:solidFill>
            <a:ln w="6350" cap="flat">
              <a:noFill/>
              <a:prstDash val="solid"/>
              <a:miter/>
            </a:ln>
          </p:spPr>
          <p:txBody>
            <a:bodyPr rtlCol="0" anchor="ctr"/>
            <a:lstStyle/>
            <a:p>
              <a:endParaRPr lang="en-GB"/>
            </a:p>
          </p:txBody>
        </p:sp>
      </p:grpSp>
      <p:sp>
        <p:nvSpPr>
          <p:cNvPr id="464" name="Freeform 463"/>
          <p:cNvSpPr/>
          <p:nvPr userDrawn="1"/>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FFFFFF"/>
          </a:solidFill>
          <a:ln w="6350" cap="flat">
            <a:noFill/>
            <a:prstDash val="solid"/>
            <a:miter/>
          </a:ln>
        </p:spPr>
        <p:txBody>
          <a:bodyPr rtlCol="0" anchor="ctr"/>
          <a:lstStyle/>
          <a:p>
            <a:endParaRPr lang="en-GB"/>
          </a:p>
        </p:txBody>
      </p:sp>
      <p:grpSp>
        <p:nvGrpSpPr>
          <p:cNvPr id="465" name="Graphic 79"/>
          <p:cNvGrpSpPr/>
          <p:nvPr userDrawn="1"/>
        </p:nvGrpSpPr>
        <p:grpSpPr>
          <a:xfrm>
            <a:off x="4093210" y="1875154"/>
            <a:ext cx="830580" cy="732790"/>
            <a:chOff x="-9622790" y="1875154"/>
            <a:chExt cx="830580" cy="732790"/>
          </a:xfrm>
          <a:solidFill>
            <a:srgbClr val="FFFFFF"/>
          </a:solidFill>
        </p:grpSpPr>
        <p:sp>
          <p:nvSpPr>
            <p:cNvPr id="466" name="Freeform 465"/>
            <p:cNvSpPr/>
            <p:nvPr/>
          </p:nvSpPr>
          <p:spPr>
            <a:xfrm>
              <a:off x="-9622790"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FFFFFF"/>
            </a:solidFill>
            <a:ln w="6350" cap="flat">
              <a:noFill/>
              <a:prstDash val="solid"/>
              <a:miter/>
            </a:ln>
          </p:spPr>
          <p:txBody>
            <a:bodyPr rtlCol="0" anchor="ctr"/>
            <a:lstStyle/>
            <a:p>
              <a:endParaRPr lang="en-GB"/>
            </a:p>
          </p:txBody>
        </p:sp>
        <p:sp>
          <p:nvSpPr>
            <p:cNvPr id="467" name="Freeform 466"/>
            <p:cNvSpPr/>
            <p:nvPr/>
          </p:nvSpPr>
          <p:spPr>
            <a:xfrm>
              <a:off x="-953389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68" name="Freeform 467"/>
            <p:cNvSpPr/>
            <p:nvPr/>
          </p:nvSpPr>
          <p:spPr>
            <a:xfrm>
              <a:off x="-9466580" y="2508885"/>
              <a:ext cx="45085" cy="74929"/>
            </a:xfrm>
            <a:custGeom>
              <a:avLst/>
              <a:gdLst>
                <a:gd name="connsiteX0" fmla="*/ 27305 w 45085"/>
                <a:gd name="connsiteY0" fmla="*/ 0 h 74929"/>
                <a:gd name="connsiteX1" fmla="*/ 10795 w 45085"/>
                <a:gd name="connsiteY1" fmla="*/ 0 h 74929"/>
                <a:gd name="connsiteX2" fmla="*/ 10795 w 45085"/>
                <a:gd name="connsiteY2" fmla="*/ 13970 h 74929"/>
                <a:gd name="connsiteX3" fmla="*/ 0 w 45085"/>
                <a:gd name="connsiteY3" fmla="*/ 17780 h 74929"/>
                <a:gd name="connsiteX4" fmla="*/ 0 w 45085"/>
                <a:gd name="connsiteY4" fmla="*/ 26670 h 74929"/>
                <a:gd name="connsiteX5" fmla="*/ 10795 w 45085"/>
                <a:gd name="connsiteY5" fmla="*/ 26670 h 74929"/>
                <a:gd name="connsiteX6" fmla="*/ 10795 w 45085"/>
                <a:gd name="connsiteY6" fmla="*/ 57785 h 74929"/>
                <a:gd name="connsiteX7" fmla="*/ 30480 w 45085"/>
                <a:gd name="connsiteY7" fmla="*/ 74930 h 74929"/>
                <a:gd name="connsiteX8" fmla="*/ 44450 w 45085"/>
                <a:gd name="connsiteY8" fmla="*/ 73025 h 74929"/>
                <a:gd name="connsiteX9" fmla="*/ 44450 w 45085"/>
                <a:gd name="connsiteY9" fmla="*/ 59690 h 74929"/>
                <a:gd name="connsiteX10" fmla="*/ 34925 w 45085"/>
                <a:gd name="connsiteY10" fmla="*/ 61595 h 74929"/>
                <a:gd name="connsiteX11" fmla="*/ 27940 w 45085"/>
                <a:gd name="connsiteY11" fmla="*/ 54610 h 74929"/>
                <a:gd name="connsiteX12" fmla="*/ 27940 w 45085"/>
                <a:gd name="connsiteY12" fmla="*/ 26670 h 74929"/>
                <a:gd name="connsiteX13" fmla="*/ 45086 w 45085"/>
                <a:gd name="connsiteY13" fmla="*/ 26670 h 74929"/>
                <a:gd name="connsiteX14" fmla="*/ 45086 w 45085"/>
                <a:gd name="connsiteY14" fmla="*/ 13970 h 74929"/>
                <a:gd name="connsiteX15" fmla="*/ 27940 w 45085"/>
                <a:gd name="connsiteY15" fmla="*/ 13970 h 74929"/>
                <a:gd name="connsiteX16" fmla="*/ 27940 w 45085"/>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5"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1" y="73660"/>
                    <a:pt x="44450" y="73025"/>
                  </a:cubicBezTo>
                  <a:lnTo>
                    <a:pt x="44450" y="59690"/>
                  </a:lnTo>
                  <a:cubicBezTo>
                    <a:pt x="41911" y="60325"/>
                    <a:pt x="37465" y="61595"/>
                    <a:pt x="34925" y="61595"/>
                  </a:cubicBezTo>
                  <a:cubicBezTo>
                    <a:pt x="29845" y="61595"/>
                    <a:pt x="27940" y="59055"/>
                    <a:pt x="27940" y="54610"/>
                  </a:cubicBezTo>
                  <a:lnTo>
                    <a:pt x="27940" y="26670"/>
                  </a:lnTo>
                  <a:lnTo>
                    <a:pt x="45086" y="26670"/>
                  </a:lnTo>
                  <a:lnTo>
                    <a:pt x="45086" y="13970"/>
                  </a:lnTo>
                  <a:lnTo>
                    <a:pt x="27940" y="13970"/>
                  </a:lnTo>
                  <a:lnTo>
                    <a:pt x="27940" y="0"/>
                  </a:lnTo>
                  <a:close/>
                </a:path>
              </a:pathLst>
            </a:custGeom>
            <a:solidFill>
              <a:srgbClr val="FFFFFF"/>
            </a:solidFill>
            <a:ln w="6350" cap="flat">
              <a:noFill/>
              <a:prstDash val="solid"/>
              <a:miter/>
            </a:ln>
          </p:spPr>
          <p:txBody>
            <a:bodyPr rtlCol="0" anchor="ctr"/>
            <a:lstStyle/>
            <a:p>
              <a:endParaRPr lang="en-GB"/>
            </a:p>
          </p:txBody>
        </p:sp>
        <p:sp>
          <p:nvSpPr>
            <p:cNvPr id="469" name="Freeform 468"/>
            <p:cNvSpPr/>
            <p:nvPr/>
          </p:nvSpPr>
          <p:spPr>
            <a:xfrm>
              <a:off x="-9413240"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0" name="Freeform 469"/>
            <p:cNvSpPr/>
            <p:nvPr/>
          </p:nvSpPr>
          <p:spPr>
            <a:xfrm>
              <a:off x="-9356090" y="2496185"/>
              <a:ext cx="41909" cy="86360"/>
            </a:xfrm>
            <a:custGeom>
              <a:avLst/>
              <a:gdLst>
                <a:gd name="connsiteX0" fmla="*/ 27305 w 41909"/>
                <a:gd name="connsiteY0" fmla="*/ 19685 h 86360"/>
                <a:gd name="connsiteX1" fmla="*/ 33655 w 41909"/>
                <a:gd name="connsiteY1" fmla="*/ 13335 h 86360"/>
                <a:gd name="connsiteX2" fmla="*/ 41910 w 41909"/>
                <a:gd name="connsiteY2" fmla="*/ 13970 h 86360"/>
                <a:gd name="connsiteX3" fmla="*/ 41910 w 41909"/>
                <a:gd name="connsiteY3" fmla="*/ 635 h 86360"/>
                <a:gd name="connsiteX4" fmla="*/ 31115 w 41909"/>
                <a:gd name="connsiteY4" fmla="*/ 0 h 86360"/>
                <a:gd name="connsiteX5" fmla="*/ 10795 w 41909"/>
                <a:gd name="connsiteY5" fmla="*/ 19685 h 86360"/>
                <a:gd name="connsiteX6" fmla="*/ 10795 w 41909"/>
                <a:gd name="connsiteY6" fmla="*/ 27305 h 86360"/>
                <a:gd name="connsiteX7" fmla="*/ 0 w 41909"/>
                <a:gd name="connsiteY7" fmla="*/ 31115 h 86360"/>
                <a:gd name="connsiteX8" fmla="*/ 0 w 41909"/>
                <a:gd name="connsiteY8" fmla="*/ 40005 h 86360"/>
                <a:gd name="connsiteX9" fmla="*/ 10795 w 41909"/>
                <a:gd name="connsiteY9" fmla="*/ 40005 h 86360"/>
                <a:gd name="connsiteX10" fmla="*/ 10795 w 41909"/>
                <a:gd name="connsiteY10" fmla="*/ 86360 h 86360"/>
                <a:gd name="connsiteX11" fmla="*/ 27305 w 41909"/>
                <a:gd name="connsiteY11" fmla="*/ 86360 h 86360"/>
                <a:gd name="connsiteX12" fmla="*/ 27305 w 41909"/>
                <a:gd name="connsiteY12" fmla="*/ 40005 h 86360"/>
                <a:gd name="connsiteX13" fmla="*/ 41910 w 41909"/>
                <a:gd name="connsiteY13" fmla="*/ 40005 h 86360"/>
                <a:gd name="connsiteX14" fmla="*/ 41910 w 41909"/>
                <a:gd name="connsiteY14" fmla="*/ 27305 h 86360"/>
                <a:gd name="connsiteX15" fmla="*/ 27305 w 41909"/>
                <a:gd name="connsiteY15" fmla="*/ 27305 h 86360"/>
                <a:gd name="connsiteX16" fmla="*/ 27305 w 41909"/>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09"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FFFFFF"/>
            </a:solidFill>
            <a:ln w="6350" cap="flat">
              <a:noFill/>
              <a:prstDash val="solid"/>
              <a:miter/>
            </a:ln>
          </p:spPr>
          <p:txBody>
            <a:bodyPr rtlCol="0" anchor="ctr"/>
            <a:lstStyle/>
            <a:p>
              <a:endParaRPr lang="en-GB"/>
            </a:p>
          </p:txBody>
        </p:sp>
        <p:sp>
          <p:nvSpPr>
            <p:cNvPr id="471" name="Freeform 470"/>
            <p:cNvSpPr/>
            <p:nvPr/>
          </p:nvSpPr>
          <p:spPr>
            <a:xfrm>
              <a:off x="-930783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1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1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6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1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1" y="2540"/>
                    <a:pt x="3811" y="5080"/>
                  </a:cubicBezTo>
                  <a:lnTo>
                    <a:pt x="7620" y="17780"/>
                  </a:lnTo>
                  <a:cubicBezTo>
                    <a:pt x="13336" y="15240"/>
                    <a:pt x="20955" y="13335"/>
                    <a:pt x="27305" y="13335"/>
                  </a:cubicBezTo>
                  <a:cubicBezTo>
                    <a:pt x="31115" y="13335"/>
                    <a:pt x="37465" y="14605"/>
                    <a:pt x="37465" y="21590"/>
                  </a:cubicBezTo>
                  <a:lnTo>
                    <a:pt x="37465" y="24130"/>
                  </a:lnTo>
                  <a:lnTo>
                    <a:pt x="29211" y="24130"/>
                  </a:lnTo>
                  <a:cubicBezTo>
                    <a:pt x="8255" y="24130"/>
                    <a:pt x="0" y="30480"/>
                    <a:pt x="0" y="43815"/>
                  </a:cubicBezTo>
                  <a:cubicBezTo>
                    <a:pt x="0" y="54610"/>
                    <a:pt x="6986" y="62230"/>
                    <a:pt x="20320" y="62230"/>
                  </a:cubicBezTo>
                  <a:cubicBezTo>
                    <a:pt x="27305" y="62230"/>
                    <a:pt x="35561" y="58420"/>
                    <a:pt x="39370" y="54610"/>
                  </a:cubicBezTo>
                  <a:lnTo>
                    <a:pt x="39370" y="54610"/>
                  </a:lnTo>
                  <a:cubicBezTo>
                    <a:pt x="41275" y="59055"/>
                    <a:pt x="45086" y="61595"/>
                    <a:pt x="51436" y="61595"/>
                  </a:cubicBezTo>
                  <a:cubicBezTo>
                    <a:pt x="55245" y="61595"/>
                    <a:pt x="57786"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1" y="47625"/>
                    <a:pt x="16511" y="42545"/>
                  </a:cubicBezTo>
                  <a:cubicBezTo>
                    <a:pt x="16511" y="38100"/>
                    <a:pt x="20955" y="35560"/>
                    <a:pt x="31750" y="35560"/>
                  </a:cubicBezTo>
                  <a:lnTo>
                    <a:pt x="38100" y="35560"/>
                  </a:lnTo>
                  <a:lnTo>
                    <a:pt x="38100" y="45720"/>
                  </a:lnTo>
                  <a:close/>
                </a:path>
              </a:pathLst>
            </a:custGeom>
            <a:solidFill>
              <a:srgbClr val="FFFFFF"/>
            </a:solidFill>
            <a:ln w="6350" cap="flat">
              <a:noFill/>
              <a:prstDash val="solid"/>
              <a:miter/>
            </a:ln>
          </p:spPr>
          <p:txBody>
            <a:bodyPr rtlCol="0" anchor="ctr"/>
            <a:lstStyle/>
            <a:p>
              <a:endParaRPr lang="en-GB"/>
            </a:p>
          </p:txBody>
        </p:sp>
        <p:sp>
          <p:nvSpPr>
            <p:cNvPr id="472" name="Freeform 471"/>
            <p:cNvSpPr/>
            <p:nvPr/>
          </p:nvSpPr>
          <p:spPr>
            <a:xfrm>
              <a:off x="-9235440"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FFFFFF"/>
            </a:solidFill>
            <a:ln w="6350" cap="flat">
              <a:noFill/>
              <a:prstDash val="solid"/>
              <a:miter/>
            </a:ln>
          </p:spPr>
          <p:txBody>
            <a:bodyPr rtlCol="0" anchor="ctr"/>
            <a:lstStyle/>
            <a:p>
              <a:endParaRPr lang="en-GB"/>
            </a:p>
          </p:txBody>
        </p:sp>
        <p:sp>
          <p:nvSpPr>
            <p:cNvPr id="473" name="Freeform 472"/>
            <p:cNvSpPr/>
            <p:nvPr/>
          </p:nvSpPr>
          <p:spPr>
            <a:xfrm>
              <a:off x="-9163684"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FFFFFF"/>
            </a:solidFill>
            <a:ln w="6350" cap="flat">
              <a:noFill/>
              <a:prstDash val="solid"/>
              <a:miter/>
            </a:ln>
          </p:spPr>
          <p:txBody>
            <a:bodyPr rtlCol="0" anchor="ctr"/>
            <a:lstStyle/>
            <a:p>
              <a:endParaRPr lang="en-GB"/>
            </a:p>
          </p:txBody>
        </p:sp>
        <p:sp>
          <p:nvSpPr>
            <p:cNvPr id="474" name="Freeform 473"/>
            <p:cNvSpPr/>
            <p:nvPr/>
          </p:nvSpPr>
          <p:spPr>
            <a:xfrm>
              <a:off x="-9119869" y="2522854"/>
              <a:ext cx="48894" cy="59055"/>
            </a:xfrm>
            <a:custGeom>
              <a:avLst/>
              <a:gdLst>
                <a:gd name="connsiteX0" fmla="*/ 1905 w 48894"/>
                <a:gd name="connsiteY0" fmla="*/ 12700 h 59055"/>
                <a:gd name="connsiteX1" fmla="*/ 28575 w 48894"/>
                <a:gd name="connsiteY1" fmla="*/ 12700 h 59055"/>
                <a:gd name="connsiteX2" fmla="*/ 28575 w 48894"/>
                <a:gd name="connsiteY2" fmla="*/ 12700 h 59055"/>
                <a:gd name="connsiteX3" fmla="*/ 0 w 48894"/>
                <a:gd name="connsiteY3" fmla="*/ 50165 h 59055"/>
                <a:gd name="connsiteX4" fmla="*/ 0 w 48894"/>
                <a:gd name="connsiteY4" fmla="*/ 59055 h 59055"/>
                <a:gd name="connsiteX5" fmla="*/ 48895 w 48894"/>
                <a:gd name="connsiteY5" fmla="*/ 59055 h 59055"/>
                <a:gd name="connsiteX6" fmla="*/ 48895 w 48894"/>
                <a:gd name="connsiteY6" fmla="*/ 46355 h 59055"/>
                <a:gd name="connsiteX7" fmla="*/ 20320 w 48894"/>
                <a:gd name="connsiteY7" fmla="*/ 46355 h 59055"/>
                <a:gd name="connsiteX8" fmla="*/ 20320 w 48894"/>
                <a:gd name="connsiteY8" fmla="*/ 46355 h 59055"/>
                <a:gd name="connsiteX9" fmla="*/ 48895 w 48894"/>
                <a:gd name="connsiteY9" fmla="*/ 8890 h 59055"/>
                <a:gd name="connsiteX10" fmla="*/ 48895 w 48894"/>
                <a:gd name="connsiteY10" fmla="*/ 0 h 59055"/>
                <a:gd name="connsiteX11" fmla="*/ 1905 w 48894"/>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4"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5" name="Freeform 474"/>
            <p:cNvSpPr/>
            <p:nvPr/>
          </p:nvSpPr>
          <p:spPr>
            <a:xfrm>
              <a:off x="-90614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FFFFFF"/>
            </a:solidFill>
            <a:ln w="6350" cap="flat">
              <a:noFill/>
              <a:prstDash val="solid"/>
              <a:miter/>
            </a:ln>
          </p:spPr>
          <p:txBody>
            <a:bodyPr rtlCol="0" anchor="ctr"/>
            <a:lstStyle/>
            <a:p>
              <a:endParaRPr lang="en-GB"/>
            </a:p>
          </p:txBody>
        </p:sp>
        <p:sp>
          <p:nvSpPr>
            <p:cNvPr id="476" name="Freeform 475"/>
            <p:cNvSpPr/>
            <p:nvPr/>
          </p:nvSpPr>
          <p:spPr>
            <a:xfrm>
              <a:off x="-899160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77" name="Freeform 476"/>
            <p:cNvSpPr/>
            <p:nvPr/>
          </p:nvSpPr>
          <p:spPr>
            <a:xfrm>
              <a:off x="-8922384" y="2520950"/>
              <a:ext cx="59690" cy="86995"/>
            </a:xfrm>
            <a:custGeom>
              <a:avLst/>
              <a:gdLst>
                <a:gd name="connsiteX0" fmla="*/ 44450 w 59690"/>
                <a:gd name="connsiteY0" fmla="*/ 6985 h 86995"/>
                <a:gd name="connsiteX1" fmla="*/ 44450 w 59690"/>
                <a:gd name="connsiteY1" fmla="*/ 6985 h 86995"/>
                <a:gd name="connsiteX2" fmla="*/ 26035 w 59690"/>
                <a:gd name="connsiteY2" fmla="*/ 0 h 86995"/>
                <a:gd name="connsiteX3" fmla="*/ 0 w 59690"/>
                <a:gd name="connsiteY3" fmla="*/ 31115 h 86995"/>
                <a:gd name="connsiteX4" fmla="*/ 26035 w 59690"/>
                <a:gd name="connsiteY4" fmla="*/ 61595 h 86995"/>
                <a:gd name="connsiteX5" fmla="*/ 43180 w 59690"/>
                <a:gd name="connsiteY5" fmla="*/ 55880 h 86995"/>
                <a:gd name="connsiteX6" fmla="*/ 43180 w 59690"/>
                <a:gd name="connsiteY6" fmla="*/ 55880 h 86995"/>
                <a:gd name="connsiteX7" fmla="*/ 43180 w 59690"/>
                <a:gd name="connsiteY7" fmla="*/ 60325 h 86995"/>
                <a:gd name="connsiteX8" fmla="*/ 29210 w 59690"/>
                <a:gd name="connsiteY8" fmla="*/ 73660 h 86995"/>
                <a:gd name="connsiteX9" fmla="*/ 10795 w 59690"/>
                <a:gd name="connsiteY9" fmla="*/ 69215 h 86995"/>
                <a:gd name="connsiteX10" fmla="*/ 5715 w 59690"/>
                <a:gd name="connsiteY10" fmla="*/ 81280 h 86995"/>
                <a:gd name="connsiteX11" fmla="*/ 29210 w 59690"/>
                <a:gd name="connsiteY11" fmla="*/ 86995 h 86995"/>
                <a:gd name="connsiteX12" fmla="*/ 59690 w 59690"/>
                <a:gd name="connsiteY12" fmla="*/ 57150 h 86995"/>
                <a:gd name="connsiteX13" fmla="*/ 59690 w 59690"/>
                <a:gd name="connsiteY13" fmla="*/ 1905 h 86995"/>
                <a:gd name="connsiteX14" fmla="*/ 46990 w 59690"/>
                <a:gd name="connsiteY14" fmla="*/ 1905 h 86995"/>
                <a:gd name="connsiteX15" fmla="*/ 44450 w 59690"/>
                <a:gd name="connsiteY15" fmla="*/ 6985 h 86995"/>
                <a:gd name="connsiteX16" fmla="*/ 43180 w 59690"/>
                <a:gd name="connsiteY16" fmla="*/ 45085 h 86995"/>
                <a:gd name="connsiteX17" fmla="*/ 31115 w 59690"/>
                <a:gd name="connsiteY17" fmla="*/ 48260 h 86995"/>
                <a:gd name="connsiteX18" fmla="*/ 17145 w 59690"/>
                <a:gd name="connsiteY18" fmla="*/ 31115 h 86995"/>
                <a:gd name="connsiteX19" fmla="*/ 31115 w 59690"/>
                <a:gd name="connsiteY19" fmla="*/ 13970 h 86995"/>
                <a:gd name="connsiteX20" fmla="*/ 43180 w 59690"/>
                <a:gd name="connsiteY20" fmla="*/ 17780 h 86995"/>
                <a:gd name="connsiteX21" fmla="*/ 43180 w 59690"/>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90"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FFFFFF"/>
            </a:solidFill>
            <a:ln w="6350" cap="flat">
              <a:noFill/>
              <a:prstDash val="solid"/>
              <a:miter/>
            </a:ln>
          </p:spPr>
          <p:txBody>
            <a:bodyPr rtlCol="0" anchor="ctr"/>
            <a:lstStyle/>
            <a:p>
              <a:endParaRPr lang="en-GB"/>
            </a:p>
          </p:txBody>
        </p:sp>
        <p:sp>
          <p:nvSpPr>
            <p:cNvPr id="478" name="Freeform 477"/>
            <p:cNvSpPr/>
            <p:nvPr/>
          </p:nvSpPr>
          <p:spPr>
            <a:xfrm>
              <a:off x="-8849994" y="2520950"/>
              <a:ext cx="57784" cy="62864"/>
            </a:xfrm>
            <a:custGeom>
              <a:avLst/>
              <a:gdLst>
                <a:gd name="connsiteX0" fmla="*/ 57785 w 57784"/>
                <a:gd name="connsiteY0" fmla="*/ 25400 h 62864"/>
                <a:gd name="connsiteX1" fmla="*/ 29845 w 57784"/>
                <a:gd name="connsiteY1" fmla="*/ 0 h 62864"/>
                <a:gd name="connsiteX2" fmla="*/ 0 w 57784"/>
                <a:gd name="connsiteY2" fmla="*/ 31115 h 62864"/>
                <a:gd name="connsiteX3" fmla="*/ 30480 w 57784"/>
                <a:gd name="connsiteY3" fmla="*/ 62865 h 62864"/>
                <a:gd name="connsiteX4" fmla="*/ 54610 w 57784"/>
                <a:gd name="connsiteY4" fmla="*/ 57785 h 62864"/>
                <a:gd name="connsiteX5" fmla="*/ 50800 w 57784"/>
                <a:gd name="connsiteY5" fmla="*/ 45720 h 62864"/>
                <a:gd name="connsiteX6" fmla="*/ 31750 w 57784"/>
                <a:gd name="connsiteY6" fmla="*/ 49530 h 62864"/>
                <a:gd name="connsiteX7" fmla="*/ 16510 w 57784"/>
                <a:gd name="connsiteY7" fmla="*/ 36195 h 62864"/>
                <a:gd name="connsiteX8" fmla="*/ 56514 w 57784"/>
                <a:gd name="connsiteY8" fmla="*/ 36195 h 62864"/>
                <a:gd name="connsiteX9" fmla="*/ 57785 w 57784"/>
                <a:gd name="connsiteY9" fmla="*/ 25400 h 62864"/>
                <a:gd name="connsiteX10" fmla="*/ 42545 w 57784"/>
                <a:gd name="connsiteY10" fmla="*/ 26035 h 62864"/>
                <a:gd name="connsiteX11" fmla="*/ 17145 w 57784"/>
                <a:gd name="connsiteY11" fmla="*/ 26035 h 62864"/>
                <a:gd name="connsiteX12" fmla="*/ 29845 w 57784"/>
                <a:gd name="connsiteY12" fmla="*/ 12065 h 62864"/>
                <a:gd name="connsiteX13" fmla="*/ 42545 w 57784"/>
                <a:gd name="connsiteY13" fmla="*/ 24130 h 62864"/>
                <a:gd name="connsiteX14" fmla="*/ 42545 w 57784"/>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4"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4" y="36195"/>
                  </a:lnTo>
                  <a:cubicBezTo>
                    <a:pt x="57150" y="34290"/>
                    <a:pt x="57785" y="29210"/>
                    <a:pt x="57785" y="25400"/>
                  </a:cubicBezTo>
                  <a:close/>
                  <a:moveTo>
                    <a:pt x="42545" y="26035"/>
                  </a:moveTo>
                  <a:lnTo>
                    <a:pt x="17145" y="26035"/>
                  </a:lnTo>
                  <a:cubicBezTo>
                    <a:pt x="17780" y="19050"/>
                    <a:pt x="21589" y="12065"/>
                    <a:pt x="29845" y="12065"/>
                  </a:cubicBezTo>
                  <a:cubicBezTo>
                    <a:pt x="39370" y="12065"/>
                    <a:pt x="42545" y="17780"/>
                    <a:pt x="42545" y="24130"/>
                  </a:cubicBezTo>
                  <a:cubicBezTo>
                    <a:pt x="42545" y="24765"/>
                    <a:pt x="42545" y="25400"/>
                    <a:pt x="42545" y="26035"/>
                  </a:cubicBezTo>
                  <a:close/>
                </a:path>
              </a:pathLst>
            </a:custGeom>
            <a:solidFill>
              <a:srgbClr val="FFFFFF"/>
            </a:solidFill>
            <a:ln w="6350" cap="flat">
              <a:noFill/>
              <a:prstDash val="solid"/>
              <a:miter/>
            </a:ln>
          </p:spPr>
          <p:txBody>
            <a:bodyPr rtlCol="0" anchor="ctr"/>
            <a:lstStyle/>
            <a:p>
              <a:endParaRPr lang="en-GB"/>
            </a:p>
          </p:txBody>
        </p:sp>
        <p:sp>
          <p:nvSpPr>
            <p:cNvPr id="479" name="Freeform 478"/>
            <p:cNvSpPr/>
            <p:nvPr/>
          </p:nvSpPr>
          <p:spPr>
            <a:xfrm>
              <a:off x="-9457690"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7000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7000"/>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FFFFFF"/>
            </a:solidFill>
            <a:ln w="6350" cap="flat">
              <a:noFill/>
              <a:prstDash val="solid"/>
              <a:miter/>
            </a:ln>
          </p:spPr>
          <p:txBody>
            <a:bodyPr rtlCol="0" anchor="ctr"/>
            <a:lstStyle/>
            <a:p>
              <a:endParaRPr lang="en-GB"/>
            </a:p>
          </p:txBody>
        </p:sp>
      </p:grpSp>
      <p:grpSp>
        <p:nvGrpSpPr>
          <p:cNvPr id="480" name="Graphic 79"/>
          <p:cNvGrpSpPr/>
          <p:nvPr userDrawn="1"/>
        </p:nvGrpSpPr>
        <p:grpSpPr>
          <a:xfrm>
            <a:off x="4136391" y="4263390"/>
            <a:ext cx="775969" cy="435609"/>
            <a:chOff x="-9579609" y="4263390"/>
            <a:chExt cx="775969" cy="435609"/>
          </a:xfrm>
          <a:solidFill>
            <a:srgbClr val="FFFFFF"/>
          </a:solidFill>
        </p:grpSpPr>
        <p:sp>
          <p:nvSpPr>
            <p:cNvPr id="481" name="Freeform 480"/>
            <p:cNvSpPr/>
            <p:nvPr/>
          </p:nvSpPr>
          <p:spPr>
            <a:xfrm>
              <a:off x="-9070340" y="4580890"/>
              <a:ext cx="197484" cy="118109"/>
            </a:xfrm>
            <a:custGeom>
              <a:avLst/>
              <a:gdLst>
                <a:gd name="connsiteX0" fmla="*/ 139700 w 197484"/>
                <a:gd name="connsiteY0" fmla="*/ 52705 h 118109"/>
                <a:gd name="connsiteX1" fmla="*/ 58420 w 197484"/>
                <a:gd name="connsiteY1" fmla="*/ 0 h 118109"/>
                <a:gd name="connsiteX2" fmla="*/ 0 w 197484"/>
                <a:gd name="connsiteY2" fmla="*/ 0 h 118109"/>
                <a:gd name="connsiteX3" fmla="*/ 0 w 197484"/>
                <a:gd name="connsiteY3" fmla="*/ 118110 h 118109"/>
                <a:gd name="connsiteX4" fmla="*/ 62865 w 197484"/>
                <a:gd name="connsiteY4" fmla="*/ 118110 h 118109"/>
                <a:gd name="connsiteX5" fmla="*/ 62865 w 197484"/>
                <a:gd name="connsiteY5" fmla="*/ 66675 h 118109"/>
                <a:gd name="connsiteX6" fmla="*/ 136525 w 197484"/>
                <a:gd name="connsiteY6" fmla="*/ 118110 h 118109"/>
                <a:gd name="connsiteX7" fmla="*/ 197485 w 197484"/>
                <a:gd name="connsiteY7" fmla="*/ 118110 h 118109"/>
                <a:gd name="connsiteX8" fmla="*/ 197485 w 197484"/>
                <a:gd name="connsiteY8" fmla="*/ 0 h 118109"/>
                <a:gd name="connsiteX9" fmla="*/ 139700 w 197484"/>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4"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FFFFFF"/>
            </a:solidFill>
            <a:ln w="6350" cap="flat">
              <a:noFill/>
              <a:prstDash val="solid"/>
              <a:miter/>
            </a:ln>
          </p:spPr>
          <p:txBody>
            <a:bodyPr rtlCol="0" anchor="ctr"/>
            <a:lstStyle/>
            <a:p>
              <a:endParaRPr lang="en-GB"/>
            </a:p>
          </p:txBody>
        </p:sp>
        <p:sp>
          <p:nvSpPr>
            <p:cNvPr id="482" name="Freeform 481"/>
            <p:cNvSpPr/>
            <p:nvPr/>
          </p:nvSpPr>
          <p:spPr>
            <a:xfrm>
              <a:off x="-929513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6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6" y="50165"/>
                  </a:lnTo>
                  <a:lnTo>
                    <a:pt x="121920" y="74930"/>
                  </a:lnTo>
                  <a:lnTo>
                    <a:pt x="96520" y="74930"/>
                  </a:lnTo>
                  <a:close/>
                </a:path>
              </a:pathLst>
            </a:custGeom>
            <a:solidFill>
              <a:srgbClr val="FFFFFF"/>
            </a:solidFill>
            <a:ln w="6350" cap="flat">
              <a:noFill/>
              <a:prstDash val="solid"/>
              <a:miter/>
            </a:ln>
          </p:spPr>
          <p:txBody>
            <a:bodyPr rtlCol="0" anchor="ctr"/>
            <a:lstStyle/>
            <a:p>
              <a:endParaRPr lang="en-GB"/>
            </a:p>
          </p:txBody>
        </p:sp>
        <p:sp>
          <p:nvSpPr>
            <p:cNvPr id="483" name="Freeform 482"/>
            <p:cNvSpPr/>
            <p:nvPr/>
          </p:nvSpPr>
          <p:spPr>
            <a:xfrm>
              <a:off x="-9499600" y="4580890"/>
              <a:ext cx="198119" cy="118109"/>
            </a:xfrm>
            <a:custGeom>
              <a:avLst/>
              <a:gdLst>
                <a:gd name="connsiteX0" fmla="*/ 99060 w 198119"/>
                <a:gd name="connsiteY0" fmla="*/ 44450 h 118109"/>
                <a:gd name="connsiteX1" fmla="*/ 60325 w 198119"/>
                <a:gd name="connsiteY1" fmla="*/ 0 h 118109"/>
                <a:gd name="connsiteX2" fmla="*/ 0 w 198119"/>
                <a:gd name="connsiteY2" fmla="*/ 0 h 118109"/>
                <a:gd name="connsiteX3" fmla="*/ 0 w 198119"/>
                <a:gd name="connsiteY3" fmla="*/ 118110 h 118109"/>
                <a:gd name="connsiteX4" fmla="*/ 59690 w 198119"/>
                <a:gd name="connsiteY4" fmla="*/ 118110 h 118109"/>
                <a:gd name="connsiteX5" fmla="*/ 59690 w 198119"/>
                <a:gd name="connsiteY5" fmla="*/ 75565 h 118109"/>
                <a:gd name="connsiteX6" fmla="*/ 100330 w 198119"/>
                <a:gd name="connsiteY6" fmla="*/ 111760 h 118109"/>
                <a:gd name="connsiteX7" fmla="*/ 138430 w 198119"/>
                <a:gd name="connsiteY7" fmla="*/ 75565 h 118109"/>
                <a:gd name="connsiteX8" fmla="*/ 138430 w 198119"/>
                <a:gd name="connsiteY8" fmla="*/ 118110 h 118109"/>
                <a:gd name="connsiteX9" fmla="*/ 198120 w 198119"/>
                <a:gd name="connsiteY9" fmla="*/ 118110 h 118109"/>
                <a:gd name="connsiteX10" fmla="*/ 198120 w 198119"/>
                <a:gd name="connsiteY10" fmla="*/ 0 h 118109"/>
                <a:gd name="connsiteX11" fmla="*/ 140970 w 198119"/>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19"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FFFFFF"/>
            </a:solidFill>
            <a:ln w="6350" cap="flat">
              <a:noFill/>
              <a:prstDash val="solid"/>
              <a:miter/>
            </a:ln>
          </p:spPr>
          <p:txBody>
            <a:bodyPr rtlCol="0" anchor="ctr"/>
            <a:lstStyle/>
            <a:p>
              <a:endParaRPr lang="en-GB"/>
            </a:p>
          </p:txBody>
        </p:sp>
        <p:sp>
          <p:nvSpPr>
            <p:cNvPr id="484" name="Freeform 483"/>
            <p:cNvSpPr/>
            <p:nvPr/>
          </p:nvSpPr>
          <p:spPr>
            <a:xfrm>
              <a:off x="-9579609"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FFFFFF"/>
            </a:solidFill>
            <a:ln w="6350" cap="flat">
              <a:noFill/>
              <a:prstDash val="solid"/>
              <a:miter/>
            </a:ln>
          </p:spPr>
          <p:txBody>
            <a:bodyPr rtlCol="0" anchor="ctr"/>
            <a:lstStyle/>
            <a:p>
              <a:endParaRPr lang="en-GB"/>
            </a:p>
          </p:txBody>
        </p:sp>
      </p:grpSp>
      <p:grpSp>
        <p:nvGrpSpPr>
          <p:cNvPr id="485" name="Graphic 79"/>
          <p:cNvGrpSpPr/>
          <p:nvPr userDrawn="1"/>
        </p:nvGrpSpPr>
        <p:grpSpPr>
          <a:xfrm>
            <a:off x="5635625" y="4225448"/>
            <a:ext cx="920115" cy="476726"/>
            <a:chOff x="-8080375" y="4225448"/>
            <a:chExt cx="920115" cy="476726"/>
          </a:xfrm>
          <a:solidFill>
            <a:srgbClr val="FFFFFF"/>
          </a:solidFill>
        </p:grpSpPr>
        <p:sp>
          <p:nvSpPr>
            <p:cNvPr id="486" name="Freeform 485"/>
            <p:cNvSpPr/>
            <p:nvPr/>
          </p:nvSpPr>
          <p:spPr>
            <a:xfrm>
              <a:off x="-7395844" y="4557395"/>
              <a:ext cx="235584" cy="139700"/>
            </a:xfrm>
            <a:custGeom>
              <a:avLst/>
              <a:gdLst>
                <a:gd name="connsiteX0" fmla="*/ 182245 w 235584"/>
                <a:gd name="connsiteY0" fmla="*/ 0 h 139700"/>
                <a:gd name="connsiteX1" fmla="*/ 97155 w 235584"/>
                <a:gd name="connsiteY1" fmla="*/ 0 h 139700"/>
                <a:gd name="connsiteX2" fmla="*/ 53339 w 235584"/>
                <a:gd name="connsiteY2" fmla="*/ 113665 h 139700"/>
                <a:gd name="connsiteX3" fmla="*/ 53339 w 235584"/>
                <a:gd name="connsiteY3" fmla="*/ 0 h 139700"/>
                <a:gd name="connsiteX4" fmla="*/ 0 w 235584"/>
                <a:gd name="connsiteY4" fmla="*/ 0 h 139700"/>
                <a:gd name="connsiteX5" fmla="*/ 0 w 235584"/>
                <a:gd name="connsiteY5" fmla="*/ 139700 h 139700"/>
                <a:gd name="connsiteX6" fmla="*/ 97789 w 235584"/>
                <a:gd name="connsiteY6" fmla="*/ 139700 h 139700"/>
                <a:gd name="connsiteX7" fmla="*/ 105410 w 235584"/>
                <a:gd name="connsiteY7" fmla="*/ 119380 h 139700"/>
                <a:gd name="connsiteX8" fmla="*/ 172085 w 235584"/>
                <a:gd name="connsiteY8" fmla="*/ 119380 h 139700"/>
                <a:gd name="connsiteX9" fmla="*/ 179705 w 235584"/>
                <a:gd name="connsiteY9" fmla="*/ 139700 h 139700"/>
                <a:gd name="connsiteX10" fmla="*/ 235585 w 235584"/>
                <a:gd name="connsiteY10" fmla="*/ 139700 h 139700"/>
                <a:gd name="connsiteX11" fmla="*/ 182245 w 235584"/>
                <a:gd name="connsiteY11" fmla="*/ 0 h 139700"/>
                <a:gd name="connsiteX12" fmla="*/ 120014 w 235584"/>
                <a:gd name="connsiteY12" fmla="*/ 82550 h 139700"/>
                <a:gd name="connsiteX13" fmla="*/ 139064 w 235584"/>
                <a:gd name="connsiteY13" fmla="*/ 32385 h 139700"/>
                <a:gd name="connsiteX14" fmla="*/ 158114 w 235584"/>
                <a:gd name="connsiteY14" fmla="*/ 82550 h 139700"/>
                <a:gd name="connsiteX15" fmla="*/ 120014 w 235584"/>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4" h="139700">
                  <a:moveTo>
                    <a:pt x="182245" y="0"/>
                  </a:moveTo>
                  <a:lnTo>
                    <a:pt x="97155" y="0"/>
                  </a:lnTo>
                  <a:lnTo>
                    <a:pt x="53339" y="113665"/>
                  </a:lnTo>
                  <a:lnTo>
                    <a:pt x="53339" y="0"/>
                  </a:lnTo>
                  <a:lnTo>
                    <a:pt x="0" y="0"/>
                  </a:lnTo>
                  <a:lnTo>
                    <a:pt x="0" y="139700"/>
                  </a:lnTo>
                  <a:lnTo>
                    <a:pt x="97789" y="139700"/>
                  </a:lnTo>
                  <a:lnTo>
                    <a:pt x="105410" y="119380"/>
                  </a:lnTo>
                  <a:lnTo>
                    <a:pt x="172085" y="119380"/>
                  </a:lnTo>
                  <a:lnTo>
                    <a:pt x="179705" y="139700"/>
                  </a:lnTo>
                  <a:lnTo>
                    <a:pt x="235585" y="139700"/>
                  </a:lnTo>
                  <a:lnTo>
                    <a:pt x="182245" y="0"/>
                  </a:lnTo>
                  <a:close/>
                  <a:moveTo>
                    <a:pt x="120014" y="82550"/>
                  </a:moveTo>
                  <a:lnTo>
                    <a:pt x="139064" y="32385"/>
                  </a:lnTo>
                  <a:lnTo>
                    <a:pt x="158114" y="82550"/>
                  </a:lnTo>
                  <a:lnTo>
                    <a:pt x="120014" y="82550"/>
                  </a:lnTo>
                  <a:close/>
                </a:path>
              </a:pathLst>
            </a:custGeom>
            <a:solidFill>
              <a:srgbClr val="FFFFFF"/>
            </a:solidFill>
            <a:ln w="6350" cap="flat">
              <a:noFill/>
              <a:prstDash val="solid"/>
              <a:miter/>
            </a:ln>
          </p:spPr>
          <p:txBody>
            <a:bodyPr rtlCol="0" anchor="ctr"/>
            <a:lstStyle/>
            <a:p>
              <a:endParaRPr lang="en-GB"/>
            </a:p>
          </p:txBody>
        </p:sp>
        <p:sp>
          <p:nvSpPr>
            <p:cNvPr id="487" name="Freeform 486"/>
            <p:cNvSpPr/>
            <p:nvPr/>
          </p:nvSpPr>
          <p:spPr>
            <a:xfrm>
              <a:off x="-8080375" y="4550409"/>
              <a:ext cx="671194" cy="151765"/>
            </a:xfrm>
            <a:custGeom>
              <a:avLst/>
              <a:gdLst>
                <a:gd name="connsiteX0" fmla="*/ 619125 w 671194"/>
                <a:gd name="connsiteY0" fmla="*/ 80645 h 151765"/>
                <a:gd name="connsiteX1" fmla="*/ 563880 w 671194"/>
                <a:gd name="connsiteY1" fmla="*/ 6985 h 151765"/>
                <a:gd name="connsiteX2" fmla="*/ 497840 w 671194"/>
                <a:gd name="connsiteY2" fmla="*/ 6985 h 151765"/>
                <a:gd name="connsiteX3" fmla="*/ 497840 w 671194"/>
                <a:gd name="connsiteY3" fmla="*/ 120650 h 151765"/>
                <a:gd name="connsiteX4" fmla="*/ 453390 w 671194"/>
                <a:gd name="connsiteY4" fmla="*/ 6985 h 151765"/>
                <a:gd name="connsiteX5" fmla="*/ 368300 w 671194"/>
                <a:gd name="connsiteY5" fmla="*/ 6985 h 151765"/>
                <a:gd name="connsiteX6" fmla="*/ 336550 w 671194"/>
                <a:gd name="connsiteY6" fmla="*/ 89535 h 151765"/>
                <a:gd name="connsiteX7" fmla="*/ 284480 w 671194"/>
                <a:gd name="connsiteY7" fmla="*/ 89535 h 151765"/>
                <a:gd name="connsiteX8" fmla="*/ 255905 w 671194"/>
                <a:gd name="connsiteY8" fmla="*/ 114935 h 151765"/>
                <a:gd name="connsiteX9" fmla="*/ 226060 w 671194"/>
                <a:gd name="connsiteY9" fmla="*/ 76835 h 151765"/>
                <a:gd name="connsiteX10" fmla="*/ 255905 w 671194"/>
                <a:gd name="connsiteY10" fmla="*/ 38735 h 151765"/>
                <a:gd name="connsiteX11" fmla="*/ 283845 w 671194"/>
                <a:gd name="connsiteY11" fmla="*/ 60325 h 151765"/>
                <a:gd name="connsiteX12" fmla="*/ 341630 w 671194"/>
                <a:gd name="connsiteY12" fmla="*/ 60325 h 151765"/>
                <a:gd name="connsiteX13" fmla="*/ 341630 w 671194"/>
                <a:gd name="connsiteY13" fmla="*/ 56515 h 151765"/>
                <a:gd name="connsiteX14" fmla="*/ 256540 w 671194"/>
                <a:gd name="connsiteY14" fmla="*/ 0 h 151765"/>
                <a:gd name="connsiteX15" fmla="*/ 169545 w 671194"/>
                <a:gd name="connsiteY15" fmla="*/ 76200 h 151765"/>
                <a:gd name="connsiteX16" fmla="*/ 169545 w 671194"/>
                <a:gd name="connsiteY16" fmla="*/ 79375 h 151765"/>
                <a:gd name="connsiteX17" fmla="*/ 121285 w 671194"/>
                <a:gd name="connsiteY17" fmla="*/ 60325 h 151765"/>
                <a:gd name="connsiteX18" fmla="*/ 85090 w 671194"/>
                <a:gd name="connsiteY18" fmla="*/ 54610 h 151765"/>
                <a:gd name="connsiteX19" fmla="*/ 62865 w 671194"/>
                <a:gd name="connsiteY19" fmla="*/ 44450 h 151765"/>
                <a:gd name="connsiteX20" fmla="*/ 83185 w 671194"/>
                <a:gd name="connsiteY20" fmla="*/ 32385 h 151765"/>
                <a:gd name="connsiteX21" fmla="*/ 109220 w 671194"/>
                <a:gd name="connsiteY21" fmla="*/ 48895 h 151765"/>
                <a:gd name="connsiteX22" fmla="*/ 167640 w 671194"/>
                <a:gd name="connsiteY22" fmla="*/ 48895 h 151765"/>
                <a:gd name="connsiteX23" fmla="*/ 167640 w 671194"/>
                <a:gd name="connsiteY23" fmla="*/ 46990 h 151765"/>
                <a:gd name="connsiteX24" fmla="*/ 85090 w 671194"/>
                <a:gd name="connsiteY24" fmla="*/ 635 h 151765"/>
                <a:gd name="connsiteX25" fmla="*/ 3810 w 671194"/>
                <a:gd name="connsiteY25" fmla="*/ 50165 h 151765"/>
                <a:gd name="connsiteX26" fmla="*/ 53340 w 671194"/>
                <a:gd name="connsiteY26" fmla="*/ 90805 h 151765"/>
                <a:gd name="connsiteX27" fmla="*/ 94615 w 671194"/>
                <a:gd name="connsiteY27" fmla="*/ 96520 h 151765"/>
                <a:gd name="connsiteX28" fmla="*/ 114300 w 671194"/>
                <a:gd name="connsiteY28" fmla="*/ 107315 h 151765"/>
                <a:gd name="connsiteX29" fmla="*/ 89535 w 671194"/>
                <a:gd name="connsiteY29" fmla="*/ 119380 h 151765"/>
                <a:gd name="connsiteX30" fmla="*/ 61595 w 671194"/>
                <a:gd name="connsiteY30" fmla="*/ 99695 h 151765"/>
                <a:gd name="connsiteX31" fmla="*/ 0 w 671194"/>
                <a:gd name="connsiteY31" fmla="*/ 99695 h 151765"/>
                <a:gd name="connsiteX32" fmla="*/ 0 w 671194"/>
                <a:gd name="connsiteY32" fmla="*/ 102870 h 151765"/>
                <a:gd name="connsiteX33" fmla="*/ 86995 w 671194"/>
                <a:gd name="connsiteY33" fmla="*/ 151765 h 151765"/>
                <a:gd name="connsiteX34" fmla="*/ 175895 w 671194"/>
                <a:gd name="connsiteY34" fmla="*/ 110490 h 151765"/>
                <a:gd name="connsiteX35" fmla="*/ 256540 w 671194"/>
                <a:gd name="connsiteY35" fmla="*/ 151765 h 151765"/>
                <a:gd name="connsiteX36" fmla="*/ 321310 w 671194"/>
                <a:gd name="connsiteY36" fmla="*/ 128270 h 151765"/>
                <a:gd name="connsiteX37" fmla="*/ 314960 w 671194"/>
                <a:gd name="connsiteY37" fmla="*/ 145415 h 151765"/>
                <a:gd name="connsiteX38" fmla="*/ 369570 w 671194"/>
                <a:gd name="connsiteY38" fmla="*/ 145415 h 151765"/>
                <a:gd name="connsiteX39" fmla="*/ 377825 w 671194"/>
                <a:gd name="connsiteY39" fmla="*/ 125730 h 151765"/>
                <a:gd name="connsiteX40" fmla="*/ 444500 w 671194"/>
                <a:gd name="connsiteY40" fmla="*/ 125730 h 151765"/>
                <a:gd name="connsiteX41" fmla="*/ 452120 w 671194"/>
                <a:gd name="connsiteY41" fmla="*/ 146050 h 151765"/>
                <a:gd name="connsiteX42" fmla="*/ 549910 w 671194"/>
                <a:gd name="connsiteY42" fmla="*/ 146050 h 151765"/>
                <a:gd name="connsiteX43" fmla="*/ 549910 w 671194"/>
                <a:gd name="connsiteY43" fmla="*/ 66040 h 151765"/>
                <a:gd name="connsiteX44" fmla="*/ 610235 w 671194"/>
                <a:gd name="connsiteY44" fmla="*/ 146685 h 151765"/>
                <a:gd name="connsiteX45" fmla="*/ 671195 w 671194"/>
                <a:gd name="connsiteY45" fmla="*/ 146685 h 151765"/>
                <a:gd name="connsiteX46" fmla="*/ 671195 w 671194"/>
                <a:gd name="connsiteY46" fmla="*/ 6985 h 151765"/>
                <a:gd name="connsiteX47" fmla="*/ 619125 w 671194"/>
                <a:gd name="connsiteY47" fmla="*/ 6985 h 151765"/>
                <a:gd name="connsiteX48" fmla="*/ 619125 w 671194"/>
                <a:gd name="connsiteY48" fmla="*/ 80645 h 151765"/>
                <a:gd name="connsiteX49" fmla="*/ 391160 w 671194"/>
                <a:gd name="connsiteY49" fmla="*/ 89535 h 151765"/>
                <a:gd name="connsiteX50" fmla="*/ 410210 w 671194"/>
                <a:gd name="connsiteY50" fmla="*/ 39370 h 151765"/>
                <a:gd name="connsiteX51" fmla="*/ 429260 w 671194"/>
                <a:gd name="connsiteY51" fmla="*/ 89535 h 151765"/>
                <a:gd name="connsiteX52" fmla="*/ 391160 w 671194"/>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4"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FFFFFF"/>
            </a:solidFill>
            <a:ln w="6350" cap="flat">
              <a:noFill/>
              <a:prstDash val="solid"/>
              <a:miter/>
            </a:ln>
          </p:spPr>
          <p:txBody>
            <a:bodyPr rtlCol="0" anchor="ctr"/>
            <a:lstStyle/>
            <a:p>
              <a:endParaRPr lang="en-GB"/>
            </a:p>
          </p:txBody>
        </p:sp>
        <p:sp>
          <p:nvSpPr>
            <p:cNvPr id="488" name="Freeform 487"/>
            <p:cNvSpPr/>
            <p:nvPr/>
          </p:nvSpPr>
          <p:spPr>
            <a:xfrm>
              <a:off x="-7598409"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FFFFFF"/>
            </a:solidFill>
            <a:ln w="6350" cap="flat">
              <a:noFill/>
              <a:prstDash val="solid"/>
              <a:miter/>
            </a:ln>
          </p:spPr>
          <p:txBody>
            <a:bodyPr rtlCol="0" anchor="ctr"/>
            <a:lstStyle/>
            <a:p>
              <a:endParaRPr lang="en-GB"/>
            </a:p>
          </p:txBody>
        </p:sp>
        <p:sp>
          <p:nvSpPr>
            <p:cNvPr id="489" name="Freeform 488"/>
            <p:cNvSpPr/>
            <p:nvPr/>
          </p:nvSpPr>
          <p:spPr>
            <a:xfrm>
              <a:off x="-7631430" y="4344670"/>
              <a:ext cx="45171" cy="46989"/>
            </a:xfrm>
            <a:custGeom>
              <a:avLst/>
              <a:gdLst>
                <a:gd name="connsiteX0" fmla="*/ 18415 w 45171"/>
                <a:gd name="connsiteY0" fmla="*/ 22225 h 46989"/>
                <a:gd name="connsiteX1" fmla="*/ 15240 w 45171"/>
                <a:gd name="connsiteY1" fmla="*/ 19050 h 46989"/>
                <a:gd name="connsiteX2" fmla="*/ 15240 w 45171"/>
                <a:gd name="connsiteY2" fmla="*/ 24130 h 46989"/>
                <a:gd name="connsiteX3" fmla="*/ 10161 w 45171"/>
                <a:gd name="connsiteY3" fmla="*/ 34925 h 46989"/>
                <a:gd name="connsiteX4" fmla="*/ 9525 w 45171"/>
                <a:gd name="connsiteY4" fmla="*/ 25400 h 46989"/>
                <a:gd name="connsiteX5" fmla="*/ 5715 w 45171"/>
                <a:gd name="connsiteY5" fmla="*/ 27305 h 46989"/>
                <a:gd name="connsiteX6" fmla="*/ 3811 w 45171"/>
                <a:gd name="connsiteY6" fmla="*/ 37465 h 46989"/>
                <a:gd name="connsiteX7" fmla="*/ 0 w 45171"/>
                <a:gd name="connsiteY7" fmla="*/ 41275 h 46989"/>
                <a:gd name="connsiteX8" fmla="*/ 5080 w 45171"/>
                <a:gd name="connsiteY8" fmla="*/ 41275 h 46989"/>
                <a:gd name="connsiteX9" fmla="*/ 18415 w 45171"/>
                <a:gd name="connsiteY9" fmla="*/ 31750 h 46989"/>
                <a:gd name="connsiteX10" fmla="*/ 15240 w 45171"/>
                <a:gd name="connsiteY10" fmla="*/ 42545 h 46989"/>
                <a:gd name="connsiteX11" fmla="*/ 12700 w 45171"/>
                <a:gd name="connsiteY11" fmla="*/ 46990 h 46989"/>
                <a:gd name="connsiteX12" fmla="*/ 17780 w 45171"/>
                <a:gd name="connsiteY12" fmla="*/ 45720 h 46989"/>
                <a:gd name="connsiteX13" fmla="*/ 29845 w 45171"/>
                <a:gd name="connsiteY13" fmla="*/ 37465 h 46989"/>
                <a:gd name="connsiteX14" fmla="*/ 33020 w 45171"/>
                <a:gd name="connsiteY14" fmla="*/ 22225 h 46989"/>
                <a:gd name="connsiteX15" fmla="*/ 36195 w 45171"/>
                <a:gd name="connsiteY15" fmla="*/ 34925 h 46989"/>
                <a:gd name="connsiteX16" fmla="*/ 36195 w 45171"/>
                <a:gd name="connsiteY16" fmla="*/ 40640 h 46989"/>
                <a:gd name="connsiteX17" fmla="*/ 40005 w 45171"/>
                <a:gd name="connsiteY17" fmla="*/ 36195 h 46989"/>
                <a:gd name="connsiteX18" fmla="*/ 36195 w 45171"/>
                <a:gd name="connsiteY18" fmla="*/ 0 h 46989"/>
                <a:gd name="connsiteX19" fmla="*/ 34925 w 45171"/>
                <a:gd name="connsiteY19" fmla="*/ 4445 h 46989"/>
                <a:gd name="connsiteX20" fmla="*/ 40005 w 45171"/>
                <a:gd name="connsiteY20" fmla="*/ 27940 h 46989"/>
                <a:gd name="connsiteX21" fmla="*/ 30480 w 45171"/>
                <a:gd name="connsiteY21" fmla="*/ 15240 h 46989"/>
                <a:gd name="connsiteX22" fmla="*/ 26670 w 45171"/>
                <a:gd name="connsiteY22" fmla="*/ 13970 h 46989"/>
                <a:gd name="connsiteX23" fmla="*/ 27940 w 45171"/>
                <a:gd name="connsiteY23" fmla="*/ 17780 h 46989"/>
                <a:gd name="connsiteX24" fmla="*/ 26670 w 45171"/>
                <a:gd name="connsiteY24" fmla="*/ 34925 h 46989"/>
                <a:gd name="connsiteX25" fmla="*/ 22225 w 45171"/>
                <a:gd name="connsiteY25" fmla="*/ 39370 h 46989"/>
                <a:gd name="connsiteX26" fmla="*/ 18415 w 45171"/>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1" h="46989">
                  <a:moveTo>
                    <a:pt x="18415" y="22225"/>
                  </a:moveTo>
                  <a:cubicBezTo>
                    <a:pt x="18415" y="21590"/>
                    <a:pt x="15240" y="19050"/>
                    <a:pt x="15240" y="19050"/>
                  </a:cubicBezTo>
                  <a:lnTo>
                    <a:pt x="15240" y="24130"/>
                  </a:lnTo>
                  <a:cubicBezTo>
                    <a:pt x="15240" y="28575"/>
                    <a:pt x="13336" y="32385"/>
                    <a:pt x="10161" y="34925"/>
                  </a:cubicBezTo>
                  <a:cubicBezTo>
                    <a:pt x="11430" y="31750"/>
                    <a:pt x="10795" y="28575"/>
                    <a:pt x="9525" y="25400"/>
                  </a:cubicBezTo>
                  <a:lnTo>
                    <a:pt x="5715" y="27305"/>
                  </a:lnTo>
                  <a:cubicBezTo>
                    <a:pt x="7620" y="31115"/>
                    <a:pt x="6350" y="34925"/>
                    <a:pt x="3811" y="37465"/>
                  </a:cubicBezTo>
                  <a:lnTo>
                    <a:pt x="0" y="41275"/>
                  </a:lnTo>
                  <a:cubicBezTo>
                    <a:pt x="0" y="41275"/>
                    <a:pt x="3811"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1" y="44450"/>
                    <a:pt x="26670" y="41275"/>
                    <a:pt x="29845" y="37465"/>
                  </a:cubicBezTo>
                  <a:cubicBezTo>
                    <a:pt x="32386" y="33020"/>
                    <a:pt x="33655" y="27940"/>
                    <a:pt x="33020" y="22225"/>
                  </a:cubicBezTo>
                  <a:cubicBezTo>
                    <a:pt x="35561" y="26035"/>
                    <a:pt x="36830" y="30480"/>
                    <a:pt x="36195" y="34925"/>
                  </a:cubicBezTo>
                  <a:lnTo>
                    <a:pt x="36195" y="40640"/>
                  </a:lnTo>
                  <a:cubicBezTo>
                    <a:pt x="37465" y="39370"/>
                    <a:pt x="38736" y="38100"/>
                    <a:pt x="40005" y="36195"/>
                  </a:cubicBezTo>
                  <a:cubicBezTo>
                    <a:pt x="48261" y="24765"/>
                    <a:pt x="46355" y="9525"/>
                    <a:pt x="36195" y="0"/>
                  </a:cubicBezTo>
                  <a:lnTo>
                    <a:pt x="34925" y="4445"/>
                  </a:lnTo>
                  <a:cubicBezTo>
                    <a:pt x="40640" y="10795"/>
                    <a:pt x="42545" y="19685"/>
                    <a:pt x="40005" y="27940"/>
                  </a:cubicBezTo>
                  <a:cubicBezTo>
                    <a:pt x="39370" y="22225"/>
                    <a:pt x="35561" y="17780"/>
                    <a:pt x="30480" y="15240"/>
                  </a:cubicBezTo>
                  <a:cubicBezTo>
                    <a:pt x="29211" y="14605"/>
                    <a:pt x="27940" y="13970"/>
                    <a:pt x="26670" y="13970"/>
                  </a:cubicBezTo>
                  <a:lnTo>
                    <a:pt x="27940" y="17780"/>
                  </a:lnTo>
                  <a:cubicBezTo>
                    <a:pt x="29845" y="23495"/>
                    <a:pt x="29211" y="29845"/>
                    <a:pt x="26670" y="34925"/>
                  </a:cubicBezTo>
                  <a:cubicBezTo>
                    <a:pt x="25400" y="36830"/>
                    <a:pt x="24130" y="38100"/>
                    <a:pt x="22225" y="39370"/>
                  </a:cubicBezTo>
                  <a:cubicBezTo>
                    <a:pt x="22861" y="32385"/>
                    <a:pt x="22225" y="26670"/>
                    <a:pt x="18415" y="22225"/>
                  </a:cubicBezTo>
                  <a:close/>
                </a:path>
              </a:pathLst>
            </a:custGeom>
            <a:solidFill>
              <a:srgbClr val="FFFFFF"/>
            </a:solidFill>
            <a:ln w="6350" cap="flat">
              <a:noFill/>
              <a:prstDash val="solid"/>
              <a:miter/>
            </a:ln>
          </p:spPr>
          <p:txBody>
            <a:bodyPr rtlCol="0" anchor="ctr"/>
            <a:lstStyle/>
            <a:p>
              <a:endParaRPr lang="en-GB"/>
            </a:p>
          </p:txBody>
        </p:sp>
        <p:sp>
          <p:nvSpPr>
            <p:cNvPr id="490" name="Freeform 489"/>
            <p:cNvSpPr/>
            <p:nvPr/>
          </p:nvSpPr>
          <p:spPr>
            <a:xfrm>
              <a:off x="-7700009"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FFFFFF"/>
            </a:solidFill>
            <a:ln w="6350" cap="flat">
              <a:noFill/>
              <a:prstDash val="solid"/>
              <a:miter/>
            </a:ln>
          </p:spPr>
          <p:txBody>
            <a:bodyPr rtlCol="0" anchor="ctr"/>
            <a:lstStyle/>
            <a:p>
              <a:endParaRPr lang="en-GB"/>
            </a:p>
          </p:txBody>
        </p:sp>
        <p:sp>
          <p:nvSpPr>
            <p:cNvPr id="491" name="Freeform 490"/>
            <p:cNvSpPr/>
            <p:nvPr/>
          </p:nvSpPr>
          <p:spPr>
            <a:xfrm>
              <a:off x="-7635240"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FFFFFF"/>
            </a:solidFill>
            <a:ln w="6350" cap="flat">
              <a:noFill/>
              <a:prstDash val="solid"/>
              <a:miter/>
            </a:ln>
          </p:spPr>
          <p:txBody>
            <a:bodyPr rtlCol="0" anchor="ctr"/>
            <a:lstStyle/>
            <a:p>
              <a:endParaRPr lang="en-GB"/>
            </a:p>
          </p:txBody>
        </p:sp>
        <p:sp>
          <p:nvSpPr>
            <p:cNvPr id="492" name="Freeform 491"/>
            <p:cNvSpPr/>
            <p:nvPr/>
          </p:nvSpPr>
          <p:spPr>
            <a:xfrm>
              <a:off x="-7767319" y="4225448"/>
              <a:ext cx="294004" cy="278288"/>
            </a:xfrm>
            <a:custGeom>
              <a:avLst/>
              <a:gdLst>
                <a:gd name="connsiteX0" fmla="*/ 19050 w 294004"/>
                <a:gd name="connsiteY0" fmla="*/ 117316 h 278288"/>
                <a:gd name="connsiteX1" fmla="*/ 18414 w 294004"/>
                <a:gd name="connsiteY1" fmla="*/ 128111 h 278288"/>
                <a:gd name="connsiteX2" fmla="*/ 92710 w 294004"/>
                <a:gd name="connsiteY2" fmla="*/ 244951 h 278288"/>
                <a:gd name="connsiteX3" fmla="*/ 100330 w 294004"/>
                <a:gd name="connsiteY3" fmla="*/ 268446 h 278288"/>
                <a:gd name="connsiteX4" fmla="*/ 100964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4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89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4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4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4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4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4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4" y="124301"/>
                    <a:pt x="18414" y="128111"/>
                  </a:cubicBezTo>
                  <a:cubicBezTo>
                    <a:pt x="18414" y="178276"/>
                    <a:pt x="47625" y="223361"/>
                    <a:pt x="92710" y="244951"/>
                  </a:cubicBezTo>
                  <a:cubicBezTo>
                    <a:pt x="95250" y="252571"/>
                    <a:pt x="98425" y="260826"/>
                    <a:pt x="100330" y="268446"/>
                  </a:cubicBezTo>
                  <a:lnTo>
                    <a:pt x="100964" y="270986"/>
                  </a:lnTo>
                  <a:lnTo>
                    <a:pt x="102870" y="271621"/>
                  </a:lnTo>
                  <a:cubicBezTo>
                    <a:pt x="132080" y="280511"/>
                    <a:pt x="162560" y="280511"/>
                    <a:pt x="191770" y="271621"/>
                  </a:cubicBezTo>
                  <a:lnTo>
                    <a:pt x="194310" y="270986"/>
                  </a:lnTo>
                  <a:lnTo>
                    <a:pt x="194945" y="269081"/>
                  </a:lnTo>
                  <a:cubicBezTo>
                    <a:pt x="197485" y="260826"/>
                    <a:pt x="200025" y="253206"/>
                    <a:pt x="202564" y="244951"/>
                  </a:cubicBezTo>
                  <a:cubicBezTo>
                    <a:pt x="247650" y="223996"/>
                    <a:pt x="276860" y="178276"/>
                    <a:pt x="276860" y="128746"/>
                  </a:cubicBezTo>
                  <a:cubicBezTo>
                    <a:pt x="276860" y="124936"/>
                    <a:pt x="276860" y="121761"/>
                    <a:pt x="276225" y="117951"/>
                  </a:cubicBezTo>
                  <a:cubicBezTo>
                    <a:pt x="281939"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89"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4" y="232886"/>
                  </a:cubicBezTo>
                  <a:cubicBezTo>
                    <a:pt x="50164" y="211931"/>
                    <a:pt x="26670" y="171926"/>
                    <a:pt x="26670" y="128111"/>
                  </a:cubicBezTo>
                  <a:lnTo>
                    <a:pt x="26670" y="128111"/>
                  </a:lnTo>
                  <a:close/>
                  <a:moveTo>
                    <a:pt x="187325" y="264636"/>
                  </a:moveTo>
                  <a:cubicBezTo>
                    <a:pt x="161289" y="272256"/>
                    <a:pt x="133350" y="272256"/>
                    <a:pt x="107314" y="264636"/>
                  </a:cubicBezTo>
                  <a:cubicBezTo>
                    <a:pt x="106045" y="259556"/>
                    <a:pt x="104139"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39" y="76676"/>
                    <a:pt x="253364" y="49371"/>
                    <a:pt x="229870" y="29686"/>
                  </a:cubicBezTo>
                  <a:cubicBezTo>
                    <a:pt x="234950" y="28416"/>
                    <a:pt x="240030" y="27781"/>
                    <a:pt x="245110" y="26511"/>
                  </a:cubicBezTo>
                  <a:lnTo>
                    <a:pt x="245110" y="26511"/>
                  </a:lnTo>
                  <a:close/>
                  <a:moveTo>
                    <a:pt x="147320" y="8096"/>
                  </a:moveTo>
                  <a:cubicBezTo>
                    <a:pt x="168910" y="8096"/>
                    <a:pt x="190500" y="13811"/>
                    <a:pt x="208914" y="25241"/>
                  </a:cubicBezTo>
                  <a:cubicBezTo>
                    <a:pt x="188595" y="28416"/>
                    <a:pt x="167639" y="29686"/>
                    <a:pt x="147320" y="29686"/>
                  </a:cubicBezTo>
                  <a:cubicBezTo>
                    <a:pt x="126364" y="29686"/>
                    <a:pt x="106045" y="27781"/>
                    <a:pt x="85725" y="24606"/>
                  </a:cubicBezTo>
                  <a:cubicBezTo>
                    <a:pt x="104139" y="13811"/>
                    <a:pt x="125730" y="7461"/>
                    <a:pt x="147320" y="8096"/>
                  </a:cubicBezTo>
                  <a:lnTo>
                    <a:pt x="147320" y="8096"/>
                  </a:lnTo>
                  <a:close/>
                  <a:moveTo>
                    <a:pt x="75564" y="31591"/>
                  </a:moveTo>
                  <a:cubicBezTo>
                    <a:pt x="99060" y="36036"/>
                    <a:pt x="123189" y="37941"/>
                    <a:pt x="147320" y="37941"/>
                  </a:cubicBezTo>
                  <a:cubicBezTo>
                    <a:pt x="171450" y="37941"/>
                    <a:pt x="195580" y="36036"/>
                    <a:pt x="219075" y="31591"/>
                  </a:cubicBezTo>
                  <a:cubicBezTo>
                    <a:pt x="245745" y="51276"/>
                    <a:pt x="262889" y="81756"/>
                    <a:pt x="266700" y="114776"/>
                  </a:cubicBezTo>
                  <a:cubicBezTo>
                    <a:pt x="235585" y="151606"/>
                    <a:pt x="211455" y="193516"/>
                    <a:pt x="194945" y="238601"/>
                  </a:cubicBezTo>
                  <a:cubicBezTo>
                    <a:pt x="164464" y="251936"/>
                    <a:pt x="129539" y="251936"/>
                    <a:pt x="98425" y="238601"/>
                  </a:cubicBezTo>
                  <a:cubicBezTo>
                    <a:pt x="81914" y="193516"/>
                    <a:pt x="57785" y="151606"/>
                    <a:pt x="26670" y="114776"/>
                  </a:cubicBezTo>
                  <a:cubicBezTo>
                    <a:pt x="31114" y="81756"/>
                    <a:pt x="48895" y="51276"/>
                    <a:pt x="75564" y="31591"/>
                  </a:cubicBezTo>
                  <a:close/>
                  <a:moveTo>
                    <a:pt x="49530" y="25876"/>
                  </a:moveTo>
                  <a:cubicBezTo>
                    <a:pt x="54610" y="27146"/>
                    <a:pt x="59689"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FFFFFF"/>
            </a:solidFill>
            <a:ln w="6350" cap="flat">
              <a:noFill/>
              <a:prstDash val="solid"/>
              <a:miter/>
            </a:ln>
          </p:spPr>
          <p:txBody>
            <a:bodyPr rtlCol="0" anchor="ctr"/>
            <a:lstStyle/>
            <a:p>
              <a:endParaRPr lang="en-GB"/>
            </a:p>
          </p:txBody>
        </p:sp>
      </p:grpSp>
      <p:sp>
        <p:nvSpPr>
          <p:cNvPr id="3" name="Date Placeholder 2"/>
          <p:cNvSpPr>
            <a:spLocks noGrp="1"/>
          </p:cNvSpPr>
          <p:nvPr>
            <p:ph type="dt" sz="half" idx="10"/>
          </p:nvPr>
        </p:nvSpPr>
        <p:spPr/>
        <p:txBody>
          <a:bodyPr/>
          <a:lstStyle/>
          <a:p>
            <a:fld id="{82ABFCF1-7B7D-4F3A-B3F3-35BBF93ABEC9}" type="datetime1">
              <a:rPr lang="zh-CN" altLang="en-US" smtClean="0"/>
            </a:fld>
            <a:endParaRPr lang="en-GB"/>
          </a:p>
        </p:txBody>
      </p:sp>
      <p:sp>
        <p:nvSpPr>
          <p:cNvPr id="4" name="Footer Placeholder 3"/>
          <p:cNvSpPr>
            <a:spLocks noGrp="1"/>
          </p:cNvSpPr>
          <p:nvPr>
            <p:ph type="ftr" sz="quarter" idx="11"/>
          </p:nvPr>
        </p:nvSpPr>
        <p:spPr/>
        <p:txBody>
          <a:bodyPr/>
          <a:lstStyle/>
          <a:p>
            <a:r>
              <a:rPr lang="en-US" smtClean="0"/>
              <a:t>Department VWA-DT  |  Hackathon Challenge Release  |  CSD-class</a:t>
            </a:r>
            <a:endParaRPr lang="en-GB"/>
          </a:p>
        </p:txBody>
      </p:sp>
      <p:sp>
        <p:nvSpPr>
          <p:cNvPr id="5" name="Slide Number Placeholder 4"/>
          <p:cNvSpPr>
            <a:spLocks noGrp="1"/>
          </p:cNvSpPr>
          <p:nvPr>
            <p:ph type="sldNum" sz="quarter" idx="12"/>
          </p:nvPr>
        </p:nvSpPr>
        <p:spPr/>
        <p:txBody>
          <a:bodyPr/>
          <a:lstStyle/>
          <a:p>
            <a:fld id="{53C98C43-8B83-4748-BA0D-B0C90A16569F}" type="slidenum">
              <a:rPr lang="en-GB" smtClean="0"/>
            </a:fld>
            <a:endParaRPr lang="en-GB"/>
          </a:p>
        </p:txBody>
      </p:sp>
      <p:sp>
        <p:nvSpPr>
          <p:cNvPr id="120" name="Rectangle 119"/>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dirty="0">
                <a:solidFill>
                  <a:srgbClr val="002733"/>
                </a:solidFill>
              </a:rPr>
              <a:t>These logos are available </a:t>
            </a:r>
            <a:br>
              <a:rPr lang="en-GB" sz="1000" dirty="0">
                <a:solidFill>
                  <a:srgbClr val="002733"/>
                </a:solidFill>
              </a:rPr>
            </a:br>
            <a:r>
              <a:rPr lang="en-GB" sz="1000" dirty="0">
                <a:solidFill>
                  <a:srgbClr val="002733"/>
                </a:solidFill>
              </a:rPr>
              <a:t>in master view.</a:t>
            </a:r>
            <a:endParaRPr lang="en-GB" sz="1000" dirty="0">
              <a:solidFill>
                <a:srgbClr val="002733"/>
              </a:solidFill>
            </a:endParaRPr>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96092" y="3050112"/>
            <a:ext cx="550452" cy="736884"/>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olkswagen Group brands on White">
    <p:spTree>
      <p:nvGrpSpPr>
        <p:cNvPr id="1" name=""/>
        <p:cNvGrpSpPr/>
        <p:nvPr/>
      </p:nvGrpSpPr>
      <p:grpSpPr>
        <a:xfrm>
          <a:off x="0" y="0"/>
          <a:ext cx="0" cy="0"/>
          <a:chOff x="0" y="0"/>
          <a:chExt cx="0" cy="0"/>
        </a:xfrm>
      </p:grpSpPr>
      <p:sp>
        <p:nvSpPr>
          <p:cNvPr id="98" name="Freeform 97"/>
          <p:cNvSpPr/>
          <p:nvPr/>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99" name="Freeform 98"/>
          <p:cNvSpPr/>
          <p:nvPr/>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0" name="Freeform 99"/>
          <p:cNvSpPr/>
          <p:nvPr/>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1" name="Freeform 100"/>
          <p:cNvSpPr/>
          <p:nvPr/>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2" name="Freeform 101"/>
          <p:cNvSpPr/>
          <p:nvPr/>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3" name="Freeform 102"/>
          <p:cNvSpPr/>
          <p:nvPr/>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4" name="Freeform 103"/>
          <p:cNvSpPr/>
          <p:nvPr/>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5" name="Freeform 104"/>
          <p:cNvSpPr/>
          <p:nvPr/>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6" name="Freeform 105"/>
          <p:cNvSpPr/>
          <p:nvPr/>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7" name="Freeform 106"/>
          <p:cNvSpPr/>
          <p:nvPr/>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8" name="Freeform 107"/>
          <p:cNvSpPr/>
          <p:nvPr/>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9" name="Freeform 108"/>
          <p:cNvSpPr/>
          <p:nvPr/>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0" name="Freeform 109"/>
          <p:cNvSpPr/>
          <p:nvPr/>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1" name="Freeform 110"/>
          <p:cNvSpPr/>
          <p:nvPr/>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113" name="Graphic 79"/>
          <p:cNvGrpSpPr/>
          <p:nvPr/>
        </p:nvGrpSpPr>
        <p:grpSpPr>
          <a:xfrm>
            <a:off x="2448560" y="3166745"/>
            <a:ext cx="943610" cy="524509"/>
            <a:chOff x="2448560" y="3166745"/>
            <a:chExt cx="943610" cy="524509"/>
          </a:xfrm>
          <a:solidFill>
            <a:srgbClr val="002733"/>
          </a:solidFill>
        </p:grpSpPr>
        <p:grpSp>
          <p:nvGrpSpPr>
            <p:cNvPr id="114" name="Graphic 79"/>
            <p:cNvGrpSpPr/>
            <p:nvPr/>
          </p:nvGrpSpPr>
          <p:grpSpPr>
            <a:xfrm>
              <a:off x="2486660" y="3590925"/>
              <a:ext cx="379729" cy="100329"/>
              <a:chOff x="2486660" y="3590925"/>
              <a:chExt cx="379729" cy="100329"/>
            </a:xfrm>
            <a:solidFill>
              <a:srgbClr val="002733"/>
            </a:solidFill>
          </p:grpSpPr>
          <p:sp>
            <p:nvSpPr>
              <p:cNvPr id="115" name="Freeform 114"/>
              <p:cNvSpPr/>
              <p:nvPr/>
            </p:nvSpPr>
            <p:spPr>
              <a:xfrm>
                <a:off x="2486660" y="3590925"/>
                <a:ext cx="126364" cy="98425"/>
              </a:xfrm>
              <a:custGeom>
                <a:avLst/>
                <a:gdLst>
                  <a:gd name="connsiteX0" fmla="*/ 52070 w 126364"/>
                  <a:gd name="connsiteY0" fmla="*/ 0 h 98425"/>
                  <a:gd name="connsiteX1" fmla="*/ 74930 w 126364"/>
                  <a:gd name="connsiteY1" fmla="*/ 0 h 98425"/>
                  <a:gd name="connsiteX2" fmla="*/ 126365 w 126364"/>
                  <a:gd name="connsiteY2" fmla="*/ 98425 h 98425"/>
                  <a:gd name="connsiteX3" fmla="*/ 101600 w 126364"/>
                  <a:gd name="connsiteY3" fmla="*/ 98425 h 98425"/>
                  <a:gd name="connsiteX4" fmla="*/ 90805 w 126364"/>
                  <a:gd name="connsiteY4" fmla="*/ 78105 h 98425"/>
                  <a:gd name="connsiteX5" fmla="*/ 34290 w 126364"/>
                  <a:gd name="connsiteY5" fmla="*/ 78105 h 98425"/>
                  <a:gd name="connsiteX6" fmla="*/ 24130 w 126364"/>
                  <a:gd name="connsiteY6" fmla="*/ 98425 h 98425"/>
                  <a:gd name="connsiteX7" fmla="*/ 0 w 126364"/>
                  <a:gd name="connsiteY7" fmla="*/ 98425 h 98425"/>
                  <a:gd name="connsiteX8" fmla="*/ 52070 w 126364"/>
                  <a:gd name="connsiteY8" fmla="*/ 0 h 98425"/>
                  <a:gd name="connsiteX9" fmla="*/ 43180 w 126364"/>
                  <a:gd name="connsiteY9" fmla="*/ 61595 h 98425"/>
                  <a:gd name="connsiteX10" fmla="*/ 83185 w 126364"/>
                  <a:gd name="connsiteY10" fmla="*/ 61595 h 98425"/>
                  <a:gd name="connsiteX11" fmla="*/ 63500 w 126364"/>
                  <a:gd name="connsiteY11" fmla="*/ 21590 h 98425"/>
                  <a:gd name="connsiteX12" fmla="*/ 43180 w 126364"/>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4"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002733"/>
              </a:solidFill>
              <a:ln w="6350" cap="flat">
                <a:noFill/>
                <a:prstDash val="solid"/>
                <a:miter/>
              </a:ln>
            </p:spPr>
            <p:txBody>
              <a:bodyPr rtlCol="0" anchor="ctr"/>
              <a:lstStyle/>
              <a:p>
                <a:endParaRPr lang="en-GB"/>
              </a:p>
            </p:txBody>
          </p:sp>
          <p:sp>
            <p:nvSpPr>
              <p:cNvPr id="116" name="Freeform 115"/>
              <p:cNvSpPr/>
              <p:nvPr/>
            </p:nvSpPr>
            <p:spPr>
              <a:xfrm>
                <a:off x="2625089" y="3619500"/>
                <a:ext cx="83820" cy="71754"/>
              </a:xfrm>
              <a:custGeom>
                <a:avLst/>
                <a:gdLst>
                  <a:gd name="connsiteX0" fmla="*/ 62865 w 83820"/>
                  <a:gd name="connsiteY0" fmla="*/ 62865 h 71754"/>
                  <a:gd name="connsiteX1" fmla="*/ 34290 w 83820"/>
                  <a:gd name="connsiteY1" fmla="*/ 71755 h 71754"/>
                  <a:gd name="connsiteX2" fmla="*/ 0 w 83820"/>
                  <a:gd name="connsiteY2" fmla="*/ 40640 h 71754"/>
                  <a:gd name="connsiteX3" fmla="*/ 0 w 83820"/>
                  <a:gd name="connsiteY3" fmla="*/ 0 h 71754"/>
                  <a:gd name="connsiteX4" fmla="*/ 21590 w 83820"/>
                  <a:gd name="connsiteY4" fmla="*/ 0 h 71754"/>
                  <a:gd name="connsiteX5" fmla="*/ 21590 w 83820"/>
                  <a:gd name="connsiteY5" fmla="*/ 38100 h 71754"/>
                  <a:gd name="connsiteX6" fmla="*/ 40005 w 83820"/>
                  <a:gd name="connsiteY6" fmla="*/ 55245 h 71754"/>
                  <a:gd name="connsiteX7" fmla="*/ 62230 w 83820"/>
                  <a:gd name="connsiteY7" fmla="*/ 49530 h 71754"/>
                  <a:gd name="connsiteX8" fmla="*/ 62230 w 83820"/>
                  <a:gd name="connsiteY8" fmla="*/ 0 h 71754"/>
                  <a:gd name="connsiteX9" fmla="*/ 83820 w 83820"/>
                  <a:gd name="connsiteY9" fmla="*/ 0 h 71754"/>
                  <a:gd name="connsiteX10" fmla="*/ 83820 w 83820"/>
                  <a:gd name="connsiteY10" fmla="*/ 69850 h 71754"/>
                  <a:gd name="connsiteX11" fmla="*/ 65405 w 83820"/>
                  <a:gd name="connsiteY11" fmla="*/ 69850 h 71754"/>
                  <a:gd name="connsiteX12" fmla="*/ 62865 w 83820"/>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002733"/>
              </a:solidFill>
              <a:ln w="6350" cap="flat">
                <a:noFill/>
                <a:prstDash val="solid"/>
                <a:miter/>
              </a:ln>
            </p:spPr>
            <p:txBody>
              <a:bodyPr rtlCol="0" anchor="ctr"/>
              <a:lstStyle/>
              <a:p>
                <a:endParaRPr lang="en-GB"/>
              </a:p>
            </p:txBody>
          </p:sp>
          <p:sp>
            <p:nvSpPr>
              <p:cNvPr id="117" name="Freeform 116"/>
              <p:cNvSpPr/>
              <p:nvPr/>
            </p:nvSpPr>
            <p:spPr>
              <a:xfrm>
                <a:off x="2729229" y="3590925"/>
                <a:ext cx="89535" cy="100329"/>
              </a:xfrm>
              <a:custGeom>
                <a:avLst/>
                <a:gdLst>
                  <a:gd name="connsiteX0" fmla="*/ 0 w 89535"/>
                  <a:gd name="connsiteY0" fmla="*/ 63500 h 100329"/>
                  <a:gd name="connsiteX1" fmla="*/ 41275 w 89535"/>
                  <a:gd name="connsiteY1" fmla="*/ 26670 h 100329"/>
                  <a:gd name="connsiteX2" fmla="*/ 67945 w 89535"/>
                  <a:gd name="connsiteY2" fmla="*/ 33020 h 100329"/>
                  <a:gd name="connsiteX3" fmla="*/ 67945 w 89535"/>
                  <a:gd name="connsiteY3" fmla="*/ 0 h 100329"/>
                  <a:gd name="connsiteX4" fmla="*/ 89535 w 89535"/>
                  <a:gd name="connsiteY4" fmla="*/ 0 h 100329"/>
                  <a:gd name="connsiteX5" fmla="*/ 89535 w 89535"/>
                  <a:gd name="connsiteY5" fmla="*/ 98425 h 100329"/>
                  <a:gd name="connsiteX6" fmla="*/ 71120 w 89535"/>
                  <a:gd name="connsiteY6" fmla="*/ 98425 h 100329"/>
                  <a:gd name="connsiteX7" fmla="*/ 69850 w 89535"/>
                  <a:gd name="connsiteY7" fmla="*/ 90805 h 100329"/>
                  <a:gd name="connsiteX8" fmla="*/ 40640 w 89535"/>
                  <a:gd name="connsiteY8" fmla="*/ 100330 h 100329"/>
                  <a:gd name="connsiteX9" fmla="*/ 0 w 89535"/>
                  <a:gd name="connsiteY9" fmla="*/ 63500 h 100329"/>
                  <a:gd name="connsiteX10" fmla="*/ 67945 w 89535"/>
                  <a:gd name="connsiteY10" fmla="*/ 78740 h 100329"/>
                  <a:gd name="connsiteX11" fmla="*/ 67945 w 89535"/>
                  <a:gd name="connsiteY11" fmla="*/ 48895 h 100329"/>
                  <a:gd name="connsiteX12" fmla="*/ 43815 w 89535"/>
                  <a:gd name="connsiteY12" fmla="*/ 43180 h 100329"/>
                  <a:gd name="connsiteX13" fmla="*/ 21590 w 89535"/>
                  <a:gd name="connsiteY13" fmla="*/ 63500 h 100329"/>
                  <a:gd name="connsiteX14" fmla="*/ 43815 w 89535"/>
                  <a:gd name="connsiteY14" fmla="*/ 84455 h 100329"/>
                  <a:gd name="connsiteX15" fmla="*/ 67945 w 89535"/>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5"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40" y="100330"/>
                    </a:cubicBezTo>
                    <a:cubicBezTo>
                      <a:pt x="13970" y="100330"/>
                      <a:pt x="0" y="86995"/>
                      <a:pt x="0" y="63500"/>
                    </a:cubicBezTo>
                    <a:close/>
                    <a:moveTo>
                      <a:pt x="67945" y="78740"/>
                    </a:moveTo>
                    <a:lnTo>
                      <a:pt x="67945" y="48895"/>
                    </a:lnTo>
                    <a:cubicBezTo>
                      <a:pt x="60325" y="45085"/>
                      <a:pt x="53975" y="43180"/>
                      <a:pt x="43815" y="43180"/>
                    </a:cubicBezTo>
                    <a:cubicBezTo>
                      <a:pt x="29210" y="43180"/>
                      <a:pt x="21590" y="50800"/>
                      <a:pt x="21590" y="63500"/>
                    </a:cubicBezTo>
                    <a:cubicBezTo>
                      <a:pt x="21590" y="76200"/>
                      <a:pt x="29210" y="84455"/>
                      <a:pt x="43815" y="84455"/>
                    </a:cubicBezTo>
                    <a:cubicBezTo>
                      <a:pt x="53975" y="84455"/>
                      <a:pt x="60325" y="82550"/>
                      <a:pt x="67945" y="78740"/>
                    </a:cubicBezTo>
                    <a:close/>
                  </a:path>
                </a:pathLst>
              </a:custGeom>
              <a:solidFill>
                <a:srgbClr val="002733"/>
              </a:solidFill>
              <a:ln w="6350" cap="flat">
                <a:noFill/>
                <a:prstDash val="solid"/>
                <a:miter/>
              </a:ln>
            </p:spPr>
            <p:txBody>
              <a:bodyPr rtlCol="0" anchor="ctr"/>
              <a:lstStyle/>
              <a:p>
                <a:endParaRPr lang="en-GB"/>
              </a:p>
            </p:txBody>
          </p:sp>
          <p:sp>
            <p:nvSpPr>
              <p:cNvPr id="118" name="Freeform 117"/>
              <p:cNvSpPr/>
              <p:nvPr/>
            </p:nvSpPr>
            <p:spPr>
              <a:xfrm>
                <a:off x="2844800" y="3590925"/>
                <a:ext cx="21589" cy="98425"/>
              </a:xfrm>
              <a:custGeom>
                <a:avLst/>
                <a:gdLst>
                  <a:gd name="connsiteX0" fmla="*/ 0 w 21589"/>
                  <a:gd name="connsiteY0" fmla="*/ 0 h 98425"/>
                  <a:gd name="connsiteX1" fmla="*/ 21590 w 21589"/>
                  <a:gd name="connsiteY1" fmla="*/ 0 h 98425"/>
                  <a:gd name="connsiteX2" fmla="*/ 21590 w 21589"/>
                  <a:gd name="connsiteY2" fmla="*/ 18415 h 98425"/>
                  <a:gd name="connsiteX3" fmla="*/ 0 w 21589"/>
                  <a:gd name="connsiteY3" fmla="*/ 18415 h 98425"/>
                  <a:gd name="connsiteX4" fmla="*/ 0 w 21589"/>
                  <a:gd name="connsiteY4" fmla="*/ 0 h 98425"/>
                  <a:gd name="connsiteX5" fmla="*/ 0 w 21589"/>
                  <a:gd name="connsiteY5" fmla="*/ 28575 h 98425"/>
                  <a:gd name="connsiteX6" fmla="*/ 21590 w 21589"/>
                  <a:gd name="connsiteY6" fmla="*/ 28575 h 98425"/>
                  <a:gd name="connsiteX7" fmla="*/ 21590 w 21589"/>
                  <a:gd name="connsiteY7" fmla="*/ 98425 h 98425"/>
                  <a:gd name="connsiteX8" fmla="*/ 0 w 21589"/>
                  <a:gd name="connsiteY8" fmla="*/ 98425 h 98425"/>
                  <a:gd name="connsiteX9" fmla="*/ 0 w 21589"/>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89"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002733"/>
              </a:solidFill>
              <a:ln w="6350" cap="flat">
                <a:noFill/>
                <a:prstDash val="solid"/>
                <a:miter/>
              </a:ln>
            </p:spPr>
            <p:txBody>
              <a:bodyPr rtlCol="0" anchor="ctr"/>
              <a:lstStyle/>
              <a:p>
                <a:endParaRPr lang="en-GB"/>
              </a:p>
            </p:txBody>
          </p:sp>
        </p:grpSp>
        <p:sp>
          <p:nvSpPr>
            <p:cNvPr id="119" name="Freeform 118"/>
            <p:cNvSpPr/>
            <p:nvPr/>
          </p:nvSpPr>
          <p:spPr>
            <a:xfrm>
              <a:off x="2448560" y="3166745"/>
              <a:ext cx="943610" cy="326389"/>
            </a:xfrm>
            <a:custGeom>
              <a:avLst/>
              <a:gdLst>
                <a:gd name="connsiteX0" fmla="*/ 780415 w 943610"/>
                <a:gd name="connsiteY0" fmla="*/ 0 h 326389"/>
                <a:gd name="connsiteX1" fmla="*/ 677545 w 943610"/>
                <a:gd name="connsiteY1" fmla="*/ 36195 h 326389"/>
                <a:gd name="connsiteX2" fmla="*/ 574675 w 943610"/>
                <a:gd name="connsiteY2" fmla="*/ 0 h 326389"/>
                <a:gd name="connsiteX3" fmla="*/ 471805 w 943610"/>
                <a:gd name="connsiteY3" fmla="*/ 36195 h 326389"/>
                <a:gd name="connsiteX4" fmla="*/ 368935 w 943610"/>
                <a:gd name="connsiteY4" fmla="*/ 0 h 326389"/>
                <a:gd name="connsiteX5" fmla="*/ 266065 w 943610"/>
                <a:gd name="connsiteY5" fmla="*/ 36195 h 326389"/>
                <a:gd name="connsiteX6" fmla="*/ 163195 w 943610"/>
                <a:gd name="connsiteY6" fmla="*/ 0 h 326389"/>
                <a:gd name="connsiteX7" fmla="*/ 0 w 943610"/>
                <a:gd name="connsiteY7" fmla="*/ 163195 h 326389"/>
                <a:gd name="connsiteX8" fmla="*/ 163195 w 943610"/>
                <a:gd name="connsiteY8" fmla="*/ 326390 h 326389"/>
                <a:gd name="connsiteX9" fmla="*/ 266065 w 943610"/>
                <a:gd name="connsiteY9" fmla="*/ 290195 h 326389"/>
                <a:gd name="connsiteX10" fmla="*/ 368935 w 943610"/>
                <a:gd name="connsiteY10" fmla="*/ 326390 h 326389"/>
                <a:gd name="connsiteX11" fmla="*/ 471805 w 943610"/>
                <a:gd name="connsiteY11" fmla="*/ 290195 h 326389"/>
                <a:gd name="connsiteX12" fmla="*/ 574675 w 943610"/>
                <a:gd name="connsiteY12" fmla="*/ 326390 h 326389"/>
                <a:gd name="connsiteX13" fmla="*/ 677545 w 943610"/>
                <a:gd name="connsiteY13" fmla="*/ 290195 h 326389"/>
                <a:gd name="connsiteX14" fmla="*/ 780415 w 943610"/>
                <a:gd name="connsiteY14" fmla="*/ 326390 h 326389"/>
                <a:gd name="connsiteX15" fmla="*/ 943610 w 943610"/>
                <a:gd name="connsiteY15" fmla="*/ 163195 h 326389"/>
                <a:gd name="connsiteX16" fmla="*/ 780415 w 943610"/>
                <a:gd name="connsiteY16" fmla="*/ 0 h 326389"/>
                <a:gd name="connsiteX17" fmla="*/ 677545 w 943610"/>
                <a:gd name="connsiteY17" fmla="*/ 236220 h 326389"/>
                <a:gd name="connsiteX18" fmla="*/ 654050 w 943610"/>
                <a:gd name="connsiteY18" fmla="*/ 163195 h 326389"/>
                <a:gd name="connsiteX19" fmla="*/ 677545 w 943610"/>
                <a:gd name="connsiteY19" fmla="*/ 90170 h 326389"/>
                <a:gd name="connsiteX20" fmla="*/ 701040 w 943610"/>
                <a:gd name="connsiteY20" fmla="*/ 163195 h 326389"/>
                <a:gd name="connsiteX21" fmla="*/ 677545 w 943610"/>
                <a:gd name="connsiteY21" fmla="*/ 236220 h 326389"/>
                <a:gd name="connsiteX22" fmla="*/ 472440 w 943610"/>
                <a:gd name="connsiteY22" fmla="*/ 236220 h 326389"/>
                <a:gd name="connsiteX23" fmla="*/ 448945 w 943610"/>
                <a:gd name="connsiteY23" fmla="*/ 163195 h 326389"/>
                <a:gd name="connsiteX24" fmla="*/ 472440 w 943610"/>
                <a:gd name="connsiteY24" fmla="*/ 90170 h 326389"/>
                <a:gd name="connsiteX25" fmla="*/ 495935 w 943610"/>
                <a:gd name="connsiteY25" fmla="*/ 163195 h 326389"/>
                <a:gd name="connsiteX26" fmla="*/ 472440 w 943610"/>
                <a:gd name="connsiteY26" fmla="*/ 236220 h 326389"/>
                <a:gd name="connsiteX27" fmla="*/ 267335 w 943610"/>
                <a:gd name="connsiteY27" fmla="*/ 236220 h 326389"/>
                <a:gd name="connsiteX28" fmla="*/ 243840 w 943610"/>
                <a:gd name="connsiteY28" fmla="*/ 163195 h 326389"/>
                <a:gd name="connsiteX29" fmla="*/ 267335 w 943610"/>
                <a:gd name="connsiteY29" fmla="*/ 90170 h 326389"/>
                <a:gd name="connsiteX30" fmla="*/ 290830 w 943610"/>
                <a:gd name="connsiteY30" fmla="*/ 163195 h 326389"/>
                <a:gd name="connsiteX31" fmla="*/ 267335 w 943610"/>
                <a:gd name="connsiteY31" fmla="*/ 236220 h 326389"/>
                <a:gd name="connsiteX32" fmla="*/ 38735 w 943610"/>
                <a:gd name="connsiteY32" fmla="*/ 162560 h 326389"/>
                <a:gd name="connsiteX33" fmla="*/ 165100 w 943610"/>
                <a:gd name="connsiteY33" fmla="*/ 36195 h 326389"/>
                <a:gd name="connsiteX34" fmla="*/ 241935 w 943610"/>
                <a:gd name="connsiteY34" fmla="*/ 62230 h 326389"/>
                <a:gd name="connsiteX35" fmla="*/ 207645 w 943610"/>
                <a:gd name="connsiteY35" fmla="*/ 161925 h 326389"/>
                <a:gd name="connsiteX36" fmla="*/ 241935 w 943610"/>
                <a:gd name="connsiteY36" fmla="*/ 261620 h 326389"/>
                <a:gd name="connsiteX37" fmla="*/ 165100 w 943610"/>
                <a:gd name="connsiteY37" fmla="*/ 287655 h 326389"/>
                <a:gd name="connsiteX38" fmla="*/ 38735 w 943610"/>
                <a:gd name="connsiteY38" fmla="*/ 162560 h 326389"/>
                <a:gd name="connsiteX39" fmla="*/ 292735 w 943610"/>
                <a:gd name="connsiteY39" fmla="*/ 262890 h 326389"/>
                <a:gd name="connsiteX40" fmla="*/ 327025 w 943610"/>
                <a:gd name="connsiteY40" fmla="*/ 163195 h 326389"/>
                <a:gd name="connsiteX41" fmla="*/ 292735 w 943610"/>
                <a:gd name="connsiteY41" fmla="*/ 63500 h 326389"/>
                <a:gd name="connsiteX42" fmla="*/ 369570 w 943610"/>
                <a:gd name="connsiteY42" fmla="*/ 37465 h 326389"/>
                <a:gd name="connsiteX43" fmla="*/ 446405 w 943610"/>
                <a:gd name="connsiteY43" fmla="*/ 63500 h 326389"/>
                <a:gd name="connsiteX44" fmla="*/ 412115 w 943610"/>
                <a:gd name="connsiteY44" fmla="*/ 163195 h 326389"/>
                <a:gd name="connsiteX45" fmla="*/ 446405 w 943610"/>
                <a:gd name="connsiteY45" fmla="*/ 262890 h 326389"/>
                <a:gd name="connsiteX46" fmla="*/ 369570 w 943610"/>
                <a:gd name="connsiteY46" fmla="*/ 288925 h 326389"/>
                <a:gd name="connsiteX47" fmla="*/ 292735 w 943610"/>
                <a:gd name="connsiteY47" fmla="*/ 262890 h 326389"/>
                <a:gd name="connsiteX48" fmla="*/ 498475 w 943610"/>
                <a:gd name="connsiteY48" fmla="*/ 262890 h 326389"/>
                <a:gd name="connsiteX49" fmla="*/ 532765 w 943610"/>
                <a:gd name="connsiteY49" fmla="*/ 163195 h 326389"/>
                <a:gd name="connsiteX50" fmla="*/ 498475 w 943610"/>
                <a:gd name="connsiteY50" fmla="*/ 63500 h 326389"/>
                <a:gd name="connsiteX51" fmla="*/ 575310 w 943610"/>
                <a:gd name="connsiteY51" fmla="*/ 37465 h 326389"/>
                <a:gd name="connsiteX52" fmla="*/ 652145 w 943610"/>
                <a:gd name="connsiteY52" fmla="*/ 63500 h 326389"/>
                <a:gd name="connsiteX53" fmla="*/ 617855 w 943610"/>
                <a:gd name="connsiteY53" fmla="*/ 163195 h 326389"/>
                <a:gd name="connsiteX54" fmla="*/ 652145 w 943610"/>
                <a:gd name="connsiteY54" fmla="*/ 262890 h 326389"/>
                <a:gd name="connsiteX55" fmla="*/ 575310 w 943610"/>
                <a:gd name="connsiteY55" fmla="*/ 288925 h 326389"/>
                <a:gd name="connsiteX56" fmla="*/ 498475 w 943610"/>
                <a:gd name="connsiteY56" fmla="*/ 262890 h 326389"/>
                <a:gd name="connsiteX57" fmla="*/ 780415 w 943610"/>
                <a:gd name="connsiteY57" fmla="*/ 288290 h 326389"/>
                <a:gd name="connsiteX58" fmla="*/ 703580 w 943610"/>
                <a:gd name="connsiteY58" fmla="*/ 262255 h 326389"/>
                <a:gd name="connsiteX59" fmla="*/ 737870 w 943610"/>
                <a:gd name="connsiteY59" fmla="*/ 162560 h 326389"/>
                <a:gd name="connsiteX60" fmla="*/ 703580 w 943610"/>
                <a:gd name="connsiteY60" fmla="*/ 62865 h 326389"/>
                <a:gd name="connsiteX61" fmla="*/ 780415 w 943610"/>
                <a:gd name="connsiteY61" fmla="*/ 36830 h 326389"/>
                <a:gd name="connsiteX62" fmla="*/ 906780 w 943610"/>
                <a:gd name="connsiteY62" fmla="*/ 163195 h 326389"/>
                <a:gd name="connsiteX63" fmla="*/ 780415 w 943610"/>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10"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002733"/>
            </a:solidFill>
            <a:ln w="6350" cap="flat">
              <a:noFill/>
              <a:prstDash val="solid"/>
              <a:miter/>
            </a:ln>
          </p:spPr>
          <p:txBody>
            <a:bodyPr rtlCol="0" anchor="ctr"/>
            <a:lstStyle/>
            <a:p>
              <a:endParaRPr lang="en-GB"/>
            </a:p>
          </p:txBody>
        </p:sp>
      </p:grpSp>
      <p:grpSp>
        <p:nvGrpSpPr>
          <p:cNvPr id="120" name="Graphic 79"/>
          <p:cNvGrpSpPr/>
          <p:nvPr/>
        </p:nvGrpSpPr>
        <p:grpSpPr>
          <a:xfrm>
            <a:off x="3994908" y="3169920"/>
            <a:ext cx="1031116" cy="520700"/>
            <a:chOff x="3994908" y="3169920"/>
            <a:chExt cx="1031116" cy="520700"/>
          </a:xfrm>
        </p:grpSpPr>
        <p:sp>
          <p:nvSpPr>
            <p:cNvPr id="121" name="Freeform 120"/>
            <p:cNvSpPr/>
            <p:nvPr/>
          </p:nvSpPr>
          <p:spPr>
            <a:xfrm>
              <a:off x="4088765" y="3585845"/>
              <a:ext cx="95884" cy="104139"/>
            </a:xfrm>
            <a:custGeom>
              <a:avLst/>
              <a:gdLst>
                <a:gd name="connsiteX0" fmla="*/ 76585 w 95884"/>
                <a:gd name="connsiteY0" fmla="*/ 47935 h 104139"/>
                <a:gd name="connsiteX1" fmla="*/ 88015 w 95884"/>
                <a:gd name="connsiteY1" fmla="*/ 25710 h 104139"/>
                <a:gd name="connsiteX2" fmla="*/ 55630 w 95884"/>
                <a:gd name="connsiteY2" fmla="*/ -325 h 104139"/>
                <a:gd name="connsiteX3" fmla="*/ -250 w 95884"/>
                <a:gd name="connsiteY3" fmla="*/ -325 h 104139"/>
                <a:gd name="connsiteX4" fmla="*/ -250 w 95884"/>
                <a:gd name="connsiteY4" fmla="*/ 103815 h 104139"/>
                <a:gd name="connsiteX5" fmla="*/ 63250 w 95884"/>
                <a:gd name="connsiteY5" fmla="*/ 103815 h 104139"/>
                <a:gd name="connsiteX6" fmla="*/ 81665 w 95884"/>
                <a:gd name="connsiteY6" fmla="*/ 100005 h 104139"/>
                <a:gd name="connsiteX7" fmla="*/ 95635 w 95884"/>
                <a:gd name="connsiteY7" fmla="*/ 74605 h 104139"/>
                <a:gd name="connsiteX8" fmla="*/ 76585 w 95884"/>
                <a:gd name="connsiteY8" fmla="*/ 47935 h 104139"/>
                <a:gd name="connsiteX9" fmla="*/ 20070 w 95884"/>
                <a:gd name="connsiteY9" fmla="*/ 16820 h 104139"/>
                <a:gd name="connsiteX10" fmla="*/ 20070 w 95884"/>
                <a:gd name="connsiteY10" fmla="*/ 16820 h 104139"/>
                <a:gd name="connsiteX11" fmla="*/ 55630 w 95884"/>
                <a:gd name="connsiteY11" fmla="*/ 16820 h 104139"/>
                <a:gd name="connsiteX12" fmla="*/ 68965 w 95884"/>
                <a:gd name="connsiteY12" fmla="*/ 28885 h 104139"/>
                <a:gd name="connsiteX13" fmla="*/ 63885 w 95884"/>
                <a:gd name="connsiteY13" fmla="*/ 39045 h 104139"/>
                <a:gd name="connsiteX14" fmla="*/ 57535 w 95884"/>
                <a:gd name="connsiteY14" fmla="*/ 40950 h 104139"/>
                <a:gd name="connsiteX15" fmla="*/ 20705 w 95884"/>
                <a:gd name="connsiteY15" fmla="*/ 40950 h 104139"/>
                <a:gd name="connsiteX16" fmla="*/ 20070 w 95884"/>
                <a:gd name="connsiteY16" fmla="*/ 16820 h 104139"/>
                <a:gd name="connsiteX17" fmla="*/ 70235 w 95884"/>
                <a:gd name="connsiteY17" fmla="*/ 82860 h 104139"/>
                <a:gd name="connsiteX18" fmla="*/ 57535 w 95884"/>
                <a:gd name="connsiteY18" fmla="*/ 86035 h 104139"/>
                <a:gd name="connsiteX19" fmla="*/ 20070 w 95884"/>
                <a:gd name="connsiteY19" fmla="*/ 86035 h 104139"/>
                <a:gd name="connsiteX20" fmla="*/ 20070 w 95884"/>
                <a:gd name="connsiteY20" fmla="*/ 58730 h 104139"/>
                <a:gd name="connsiteX21" fmla="*/ 20070 w 95884"/>
                <a:gd name="connsiteY21" fmla="*/ 58730 h 104139"/>
                <a:gd name="connsiteX22" fmla="*/ 56900 w 95884"/>
                <a:gd name="connsiteY22" fmla="*/ 58730 h 104139"/>
                <a:gd name="connsiteX23" fmla="*/ 75315 w 95884"/>
                <a:gd name="connsiteY23" fmla="*/ 72700 h 104139"/>
                <a:gd name="connsiteX24" fmla="*/ 70235 w 95884"/>
                <a:gd name="connsiteY24" fmla="*/ 82860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5884" h="104139">
                  <a:moveTo>
                    <a:pt x="76585" y="47935"/>
                  </a:moveTo>
                  <a:cubicBezTo>
                    <a:pt x="83570" y="44125"/>
                    <a:pt x="88015" y="35235"/>
                    <a:pt x="88015" y="25710"/>
                  </a:cubicBezTo>
                  <a:cubicBezTo>
                    <a:pt x="88015" y="12375"/>
                    <a:pt x="77220" y="-325"/>
                    <a:pt x="55630" y="-325"/>
                  </a:cubicBezTo>
                  <a:cubicBezTo>
                    <a:pt x="37215" y="310"/>
                    <a:pt x="16895" y="310"/>
                    <a:pt x="-250" y="-325"/>
                  </a:cubicBezTo>
                  <a:cubicBezTo>
                    <a:pt x="385" y="34600"/>
                    <a:pt x="385" y="69525"/>
                    <a:pt x="-250" y="103815"/>
                  </a:cubicBezTo>
                  <a:lnTo>
                    <a:pt x="63250" y="103815"/>
                  </a:lnTo>
                  <a:cubicBezTo>
                    <a:pt x="70235" y="103815"/>
                    <a:pt x="75950" y="102545"/>
                    <a:pt x="81665" y="100005"/>
                  </a:cubicBezTo>
                  <a:cubicBezTo>
                    <a:pt x="90555" y="95560"/>
                    <a:pt x="95635" y="87305"/>
                    <a:pt x="95635" y="74605"/>
                  </a:cubicBezTo>
                  <a:cubicBezTo>
                    <a:pt x="95635" y="61905"/>
                    <a:pt x="88650" y="51745"/>
                    <a:pt x="76585" y="47935"/>
                  </a:cubicBezTo>
                  <a:moveTo>
                    <a:pt x="20070" y="16820"/>
                  </a:moveTo>
                  <a:lnTo>
                    <a:pt x="20070" y="16820"/>
                  </a:lnTo>
                  <a:cubicBezTo>
                    <a:pt x="30230" y="16185"/>
                    <a:pt x="47375" y="16185"/>
                    <a:pt x="55630" y="16820"/>
                  </a:cubicBezTo>
                  <a:cubicBezTo>
                    <a:pt x="64520" y="17455"/>
                    <a:pt x="68965" y="21900"/>
                    <a:pt x="68965" y="28885"/>
                  </a:cubicBezTo>
                  <a:cubicBezTo>
                    <a:pt x="68965" y="32695"/>
                    <a:pt x="67695" y="37140"/>
                    <a:pt x="63885" y="39045"/>
                  </a:cubicBezTo>
                  <a:cubicBezTo>
                    <a:pt x="61980" y="40315"/>
                    <a:pt x="60075" y="40950"/>
                    <a:pt x="57535" y="40950"/>
                  </a:cubicBezTo>
                  <a:cubicBezTo>
                    <a:pt x="49280" y="41585"/>
                    <a:pt x="29595" y="41585"/>
                    <a:pt x="20705" y="40950"/>
                  </a:cubicBezTo>
                  <a:cubicBezTo>
                    <a:pt x="20070" y="32695"/>
                    <a:pt x="20070" y="24440"/>
                    <a:pt x="20070" y="16820"/>
                  </a:cubicBezTo>
                  <a:moveTo>
                    <a:pt x="70235" y="82860"/>
                  </a:moveTo>
                  <a:cubicBezTo>
                    <a:pt x="67060" y="84765"/>
                    <a:pt x="63250" y="85400"/>
                    <a:pt x="57535" y="86035"/>
                  </a:cubicBezTo>
                  <a:cubicBezTo>
                    <a:pt x="46105" y="86670"/>
                    <a:pt x="32770" y="86670"/>
                    <a:pt x="20070" y="86035"/>
                  </a:cubicBezTo>
                  <a:cubicBezTo>
                    <a:pt x="19435" y="76510"/>
                    <a:pt x="19435" y="68255"/>
                    <a:pt x="20070" y="58730"/>
                  </a:cubicBezTo>
                  <a:lnTo>
                    <a:pt x="20070" y="58730"/>
                  </a:lnTo>
                  <a:cubicBezTo>
                    <a:pt x="32135" y="58095"/>
                    <a:pt x="46105" y="58095"/>
                    <a:pt x="56900" y="58730"/>
                  </a:cubicBezTo>
                  <a:cubicBezTo>
                    <a:pt x="69600" y="59365"/>
                    <a:pt x="75315" y="64445"/>
                    <a:pt x="75315" y="72700"/>
                  </a:cubicBezTo>
                  <a:cubicBezTo>
                    <a:pt x="75950" y="77145"/>
                    <a:pt x="74045" y="80955"/>
                    <a:pt x="70235" y="82860"/>
                  </a:cubicBezTo>
                </a:path>
              </a:pathLst>
            </a:custGeom>
            <a:solidFill>
              <a:srgbClr val="002733"/>
            </a:solidFill>
            <a:ln w="6350" cap="flat">
              <a:noFill/>
              <a:prstDash val="solid"/>
              <a:miter/>
            </a:ln>
          </p:spPr>
          <p:txBody>
            <a:bodyPr rtlCol="0" anchor="ctr"/>
            <a:lstStyle/>
            <a:p>
              <a:endParaRPr lang="en-GB"/>
            </a:p>
          </p:txBody>
        </p:sp>
        <p:sp>
          <p:nvSpPr>
            <p:cNvPr id="122" name="Freeform 121"/>
            <p:cNvSpPr/>
            <p:nvPr/>
          </p:nvSpPr>
          <p:spPr>
            <a:xfrm>
              <a:off x="4584065" y="3585209"/>
              <a:ext cx="85089" cy="104140"/>
            </a:xfrm>
            <a:custGeom>
              <a:avLst/>
              <a:gdLst>
                <a:gd name="connsiteX0" fmla="*/ 19435 w 85089"/>
                <a:gd name="connsiteY0" fmla="*/ 86035 h 104140"/>
                <a:gd name="connsiteX1" fmla="*/ 19435 w 85089"/>
                <a:gd name="connsiteY1" fmla="*/ -325 h 104140"/>
                <a:gd name="connsiteX2" fmla="*/ -250 w 85089"/>
                <a:gd name="connsiteY2" fmla="*/ -325 h 104140"/>
                <a:gd name="connsiteX3" fmla="*/ -250 w 85089"/>
                <a:gd name="connsiteY3" fmla="*/ -325 h 104140"/>
                <a:gd name="connsiteX4" fmla="*/ -250 w 85089"/>
                <a:gd name="connsiteY4" fmla="*/ -325 h 104140"/>
                <a:gd name="connsiteX5" fmla="*/ -250 w 85089"/>
                <a:gd name="connsiteY5" fmla="*/ 103815 h 104140"/>
                <a:gd name="connsiteX6" fmla="*/ 84840 w 85089"/>
                <a:gd name="connsiteY6" fmla="*/ 103815 h 104140"/>
                <a:gd name="connsiteX7" fmla="*/ 84840 w 85089"/>
                <a:gd name="connsiteY7" fmla="*/ 103815 h 104140"/>
                <a:gd name="connsiteX8" fmla="*/ 84840 w 85089"/>
                <a:gd name="connsiteY8" fmla="*/ 103815 h 104140"/>
                <a:gd name="connsiteX9" fmla="*/ 84840 w 85089"/>
                <a:gd name="connsiteY9" fmla="*/ 85400 h 104140"/>
                <a:gd name="connsiteX10" fmla="*/ 19435 w 85089"/>
                <a:gd name="connsiteY1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089" h="104140">
                  <a:moveTo>
                    <a:pt x="19435" y="86035"/>
                  </a:moveTo>
                  <a:cubicBezTo>
                    <a:pt x="18800" y="57460"/>
                    <a:pt x="18800" y="28885"/>
                    <a:pt x="19435" y="-325"/>
                  </a:cubicBezTo>
                  <a:cubicBezTo>
                    <a:pt x="13085" y="-325"/>
                    <a:pt x="6100" y="-325"/>
                    <a:pt x="-250" y="-325"/>
                  </a:cubicBezTo>
                  <a:lnTo>
                    <a:pt x="-250" y="-325"/>
                  </a:lnTo>
                  <a:lnTo>
                    <a:pt x="-250" y="-325"/>
                  </a:lnTo>
                  <a:cubicBezTo>
                    <a:pt x="385" y="34600"/>
                    <a:pt x="385" y="68890"/>
                    <a:pt x="-250" y="103815"/>
                  </a:cubicBezTo>
                  <a:cubicBezTo>
                    <a:pt x="28325" y="103180"/>
                    <a:pt x="56900" y="103180"/>
                    <a:pt x="84840" y="103815"/>
                  </a:cubicBezTo>
                  <a:lnTo>
                    <a:pt x="84840" y="103815"/>
                  </a:lnTo>
                  <a:lnTo>
                    <a:pt x="84840" y="103815"/>
                  </a:lnTo>
                  <a:cubicBezTo>
                    <a:pt x="84840" y="97465"/>
                    <a:pt x="84840" y="91750"/>
                    <a:pt x="84840" y="85400"/>
                  </a:cubicBezTo>
                  <a:cubicBezTo>
                    <a:pt x="63250" y="86670"/>
                    <a:pt x="41660" y="86670"/>
                    <a:pt x="19435" y="86035"/>
                  </a:cubicBezTo>
                </a:path>
              </a:pathLst>
            </a:custGeom>
            <a:solidFill>
              <a:srgbClr val="002733"/>
            </a:solidFill>
            <a:ln w="6350" cap="flat">
              <a:noFill/>
              <a:prstDash val="solid"/>
              <a:miter/>
            </a:ln>
          </p:spPr>
          <p:txBody>
            <a:bodyPr rtlCol="0" anchor="ctr"/>
            <a:lstStyle/>
            <a:p>
              <a:endParaRPr lang="en-GB"/>
            </a:p>
          </p:txBody>
        </p:sp>
        <p:sp>
          <p:nvSpPr>
            <p:cNvPr id="123" name="Freeform 122"/>
            <p:cNvSpPr/>
            <p:nvPr/>
          </p:nvSpPr>
          <p:spPr>
            <a:xfrm>
              <a:off x="4335145" y="3585845"/>
              <a:ext cx="95884" cy="104139"/>
            </a:xfrm>
            <a:custGeom>
              <a:avLst/>
              <a:gdLst>
                <a:gd name="connsiteX0" fmla="*/ 77855 w 95884"/>
                <a:gd name="connsiteY0" fmla="*/ -325 h 104139"/>
                <a:gd name="connsiteX1" fmla="*/ 77855 w 95884"/>
                <a:gd name="connsiteY1" fmla="*/ -325 h 104139"/>
                <a:gd name="connsiteX2" fmla="*/ 77855 w 95884"/>
                <a:gd name="connsiteY2" fmla="*/ -325 h 104139"/>
                <a:gd name="connsiteX3" fmla="*/ 77855 w 95884"/>
                <a:gd name="connsiteY3" fmla="*/ 69525 h 104139"/>
                <a:gd name="connsiteX4" fmla="*/ 17530 w 95884"/>
                <a:gd name="connsiteY4" fmla="*/ -325 h 104139"/>
                <a:gd name="connsiteX5" fmla="*/ -250 w 95884"/>
                <a:gd name="connsiteY5" fmla="*/ -325 h 104139"/>
                <a:gd name="connsiteX6" fmla="*/ -250 w 95884"/>
                <a:gd name="connsiteY6" fmla="*/ -325 h 104139"/>
                <a:gd name="connsiteX7" fmla="*/ -250 w 95884"/>
                <a:gd name="connsiteY7" fmla="*/ -325 h 104139"/>
                <a:gd name="connsiteX8" fmla="*/ -250 w 95884"/>
                <a:gd name="connsiteY8" fmla="*/ 103815 h 104139"/>
                <a:gd name="connsiteX9" fmla="*/ 17530 w 95884"/>
                <a:gd name="connsiteY9" fmla="*/ 103815 h 104139"/>
                <a:gd name="connsiteX10" fmla="*/ 17530 w 95884"/>
                <a:gd name="connsiteY10" fmla="*/ 103815 h 104139"/>
                <a:gd name="connsiteX11" fmla="*/ 17530 w 95884"/>
                <a:gd name="connsiteY11" fmla="*/ 103815 h 104139"/>
                <a:gd name="connsiteX12" fmla="*/ 17530 w 95884"/>
                <a:gd name="connsiteY12" fmla="*/ 30155 h 104139"/>
                <a:gd name="connsiteX13" fmla="*/ 80395 w 95884"/>
                <a:gd name="connsiteY13" fmla="*/ 103815 h 104139"/>
                <a:gd name="connsiteX14" fmla="*/ 95635 w 95884"/>
                <a:gd name="connsiteY14" fmla="*/ 103815 h 104139"/>
                <a:gd name="connsiteX15" fmla="*/ 95635 w 95884"/>
                <a:gd name="connsiteY15" fmla="*/ 103815 h 104139"/>
                <a:gd name="connsiteX16" fmla="*/ 95635 w 95884"/>
                <a:gd name="connsiteY16" fmla="*/ 103815 h 104139"/>
                <a:gd name="connsiteX17" fmla="*/ 95635 w 95884"/>
                <a:gd name="connsiteY17" fmla="*/ -325 h 104139"/>
                <a:gd name="connsiteX18" fmla="*/ 77855 w 95884"/>
                <a:gd name="connsiteY18" fmla="*/ -325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884" h="104139">
                  <a:moveTo>
                    <a:pt x="77855" y="-325"/>
                  </a:moveTo>
                  <a:lnTo>
                    <a:pt x="77855" y="-325"/>
                  </a:lnTo>
                  <a:lnTo>
                    <a:pt x="77855" y="-325"/>
                  </a:lnTo>
                  <a:cubicBezTo>
                    <a:pt x="78490" y="23170"/>
                    <a:pt x="78490" y="46030"/>
                    <a:pt x="77855" y="69525"/>
                  </a:cubicBezTo>
                  <a:cubicBezTo>
                    <a:pt x="56900" y="46030"/>
                    <a:pt x="37215" y="23170"/>
                    <a:pt x="17530" y="-325"/>
                  </a:cubicBezTo>
                  <a:cubicBezTo>
                    <a:pt x="11815" y="-325"/>
                    <a:pt x="5465" y="-325"/>
                    <a:pt x="-250" y="-325"/>
                  </a:cubicBezTo>
                  <a:lnTo>
                    <a:pt x="-250" y="-325"/>
                  </a:lnTo>
                  <a:lnTo>
                    <a:pt x="-250" y="-325"/>
                  </a:lnTo>
                  <a:cubicBezTo>
                    <a:pt x="385" y="34600"/>
                    <a:pt x="385" y="68890"/>
                    <a:pt x="-250" y="103815"/>
                  </a:cubicBezTo>
                  <a:cubicBezTo>
                    <a:pt x="6100" y="103815"/>
                    <a:pt x="11815" y="103815"/>
                    <a:pt x="17530" y="103815"/>
                  </a:cubicBezTo>
                  <a:lnTo>
                    <a:pt x="17530" y="103815"/>
                  </a:lnTo>
                  <a:lnTo>
                    <a:pt x="17530" y="103815"/>
                  </a:lnTo>
                  <a:cubicBezTo>
                    <a:pt x="16895" y="79050"/>
                    <a:pt x="16895" y="54285"/>
                    <a:pt x="17530" y="30155"/>
                  </a:cubicBezTo>
                  <a:cubicBezTo>
                    <a:pt x="39120" y="54920"/>
                    <a:pt x="60710" y="79685"/>
                    <a:pt x="80395" y="103815"/>
                  </a:cubicBezTo>
                  <a:cubicBezTo>
                    <a:pt x="85475" y="103815"/>
                    <a:pt x="90555" y="103815"/>
                    <a:pt x="95635" y="103815"/>
                  </a:cubicBezTo>
                  <a:lnTo>
                    <a:pt x="95635" y="103815"/>
                  </a:lnTo>
                  <a:lnTo>
                    <a:pt x="95635" y="103815"/>
                  </a:lnTo>
                  <a:cubicBezTo>
                    <a:pt x="95000" y="68890"/>
                    <a:pt x="95000" y="33965"/>
                    <a:pt x="95635" y="-325"/>
                  </a:cubicBezTo>
                  <a:cubicBezTo>
                    <a:pt x="89920" y="-325"/>
                    <a:pt x="84205" y="-325"/>
                    <a:pt x="77855" y="-325"/>
                  </a:cubicBezTo>
                </a:path>
              </a:pathLst>
            </a:custGeom>
            <a:solidFill>
              <a:srgbClr val="002733"/>
            </a:solidFill>
            <a:ln w="6350" cap="flat">
              <a:noFill/>
              <a:prstDash val="solid"/>
              <a:miter/>
            </a:ln>
          </p:spPr>
          <p:txBody>
            <a:bodyPr rtlCol="0" anchor="ctr"/>
            <a:lstStyle/>
            <a:p>
              <a:endParaRPr lang="en-GB"/>
            </a:p>
          </p:txBody>
        </p:sp>
        <p:sp>
          <p:nvSpPr>
            <p:cNvPr id="124" name="Freeform 123"/>
            <p:cNvSpPr/>
            <p:nvPr/>
          </p:nvSpPr>
          <p:spPr>
            <a:xfrm>
              <a:off x="4215765"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5" name="Freeform 124"/>
            <p:cNvSpPr/>
            <p:nvPr/>
          </p:nvSpPr>
          <p:spPr>
            <a:xfrm>
              <a:off x="4814570" y="3585845"/>
              <a:ext cx="114299" cy="104775"/>
            </a:xfrm>
            <a:custGeom>
              <a:avLst/>
              <a:gdLst>
                <a:gd name="connsiteX0" fmla="*/ 114050 w 114299"/>
                <a:gd name="connsiteY0" fmla="*/ -325 h 104775"/>
                <a:gd name="connsiteX1" fmla="*/ 89920 w 114299"/>
                <a:gd name="connsiteY1" fmla="*/ -325 h 104775"/>
                <a:gd name="connsiteX2" fmla="*/ 89920 w 114299"/>
                <a:gd name="connsiteY2" fmla="*/ -325 h 104775"/>
                <a:gd name="connsiteX3" fmla="*/ 89920 w 114299"/>
                <a:gd name="connsiteY3" fmla="*/ -325 h 104775"/>
                <a:gd name="connsiteX4" fmla="*/ 56900 w 114299"/>
                <a:gd name="connsiteY4" fmla="*/ 40315 h 104775"/>
                <a:gd name="connsiteX5" fmla="*/ 23880 w 114299"/>
                <a:gd name="connsiteY5" fmla="*/ -325 h 104775"/>
                <a:gd name="connsiteX6" fmla="*/ -250 w 114299"/>
                <a:gd name="connsiteY6" fmla="*/ -325 h 104775"/>
                <a:gd name="connsiteX7" fmla="*/ -250 w 114299"/>
                <a:gd name="connsiteY7" fmla="*/ -325 h 104775"/>
                <a:gd name="connsiteX8" fmla="*/ -250 w 114299"/>
                <a:gd name="connsiteY8" fmla="*/ -325 h 104775"/>
                <a:gd name="connsiteX9" fmla="*/ 47375 w 114299"/>
                <a:gd name="connsiteY9" fmla="*/ 59365 h 104775"/>
                <a:gd name="connsiteX10" fmla="*/ 47375 w 114299"/>
                <a:gd name="connsiteY10" fmla="*/ 104450 h 104775"/>
                <a:gd name="connsiteX11" fmla="*/ 67060 w 114299"/>
                <a:gd name="connsiteY11" fmla="*/ 104450 h 104775"/>
                <a:gd name="connsiteX12" fmla="*/ 67060 w 114299"/>
                <a:gd name="connsiteY12" fmla="*/ 104450 h 104775"/>
                <a:gd name="connsiteX13" fmla="*/ 67060 w 114299"/>
                <a:gd name="connsiteY13" fmla="*/ 104450 h 104775"/>
                <a:gd name="connsiteX14" fmla="*/ 67060 w 114299"/>
                <a:gd name="connsiteY14" fmla="*/ 59365 h 104775"/>
                <a:gd name="connsiteX15" fmla="*/ 114050 w 114299"/>
                <a:gd name="connsiteY15"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299" h="104775">
                  <a:moveTo>
                    <a:pt x="114050" y="-325"/>
                  </a:moveTo>
                  <a:cubicBezTo>
                    <a:pt x="105795" y="-325"/>
                    <a:pt x="98175" y="-325"/>
                    <a:pt x="89920" y="-325"/>
                  </a:cubicBezTo>
                  <a:lnTo>
                    <a:pt x="89920" y="-325"/>
                  </a:lnTo>
                  <a:lnTo>
                    <a:pt x="89920" y="-325"/>
                  </a:lnTo>
                  <a:cubicBezTo>
                    <a:pt x="79760" y="13010"/>
                    <a:pt x="68330" y="26345"/>
                    <a:pt x="56900" y="40315"/>
                  </a:cubicBezTo>
                  <a:cubicBezTo>
                    <a:pt x="45470" y="26980"/>
                    <a:pt x="34040" y="13645"/>
                    <a:pt x="23880" y="-325"/>
                  </a:cubicBezTo>
                  <a:cubicBezTo>
                    <a:pt x="15625" y="-325"/>
                    <a:pt x="8005" y="-325"/>
                    <a:pt x="-250" y="-325"/>
                  </a:cubicBezTo>
                  <a:lnTo>
                    <a:pt x="-250" y="-325"/>
                  </a:lnTo>
                  <a:lnTo>
                    <a:pt x="-250" y="-325"/>
                  </a:lnTo>
                  <a:cubicBezTo>
                    <a:pt x="16260" y="19360"/>
                    <a:pt x="32135" y="39045"/>
                    <a:pt x="47375" y="59365"/>
                  </a:cubicBezTo>
                  <a:cubicBezTo>
                    <a:pt x="48010" y="74605"/>
                    <a:pt x="48010" y="89210"/>
                    <a:pt x="47375" y="104450"/>
                  </a:cubicBezTo>
                  <a:cubicBezTo>
                    <a:pt x="53725" y="104450"/>
                    <a:pt x="60710" y="104450"/>
                    <a:pt x="67060" y="104450"/>
                  </a:cubicBezTo>
                  <a:lnTo>
                    <a:pt x="67060" y="104450"/>
                  </a:lnTo>
                  <a:lnTo>
                    <a:pt x="67060" y="104450"/>
                  </a:lnTo>
                  <a:cubicBezTo>
                    <a:pt x="66425" y="89210"/>
                    <a:pt x="66425" y="74605"/>
                    <a:pt x="67060" y="59365"/>
                  </a:cubicBezTo>
                  <a:cubicBezTo>
                    <a:pt x="81665" y="39045"/>
                    <a:pt x="97540" y="19360"/>
                    <a:pt x="114050" y="-325"/>
                  </a:cubicBezTo>
                </a:path>
              </a:pathLst>
            </a:custGeom>
            <a:solidFill>
              <a:srgbClr val="002733"/>
            </a:solidFill>
            <a:ln w="6350" cap="flat">
              <a:noFill/>
              <a:prstDash val="solid"/>
              <a:miter/>
            </a:ln>
          </p:spPr>
          <p:txBody>
            <a:bodyPr rtlCol="0" anchor="ctr"/>
            <a:lstStyle/>
            <a:p>
              <a:endParaRPr lang="en-GB"/>
            </a:p>
          </p:txBody>
        </p:sp>
        <p:sp>
          <p:nvSpPr>
            <p:cNvPr id="126" name="Freeform 125"/>
            <p:cNvSpPr/>
            <p:nvPr/>
          </p:nvSpPr>
          <p:spPr>
            <a:xfrm>
              <a:off x="4697729"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7" name="Freeform 126"/>
            <p:cNvSpPr/>
            <p:nvPr/>
          </p:nvSpPr>
          <p:spPr>
            <a:xfrm>
              <a:off x="4462145" y="3585845"/>
              <a:ext cx="94614" cy="104775"/>
            </a:xfrm>
            <a:custGeom>
              <a:avLst/>
              <a:gdLst>
                <a:gd name="connsiteX0" fmla="*/ -250 w 94614"/>
                <a:gd name="connsiteY0" fmla="*/ -325 h 104775"/>
                <a:gd name="connsiteX1" fmla="*/ -250 w 94614"/>
                <a:gd name="connsiteY1" fmla="*/ -325 h 104775"/>
                <a:gd name="connsiteX2" fmla="*/ -250 w 94614"/>
                <a:gd name="connsiteY2" fmla="*/ -325 h 104775"/>
                <a:gd name="connsiteX3" fmla="*/ -250 w 94614"/>
                <a:gd name="connsiteY3" fmla="*/ 18090 h 104775"/>
                <a:gd name="connsiteX4" fmla="*/ 37215 w 94614"/>
                <a:gd name="connsiteY4" fmla="*/ 18090 h 104775"/>
                <a:gd name="connsiteX5" fmla="*/ 37215 w 94614"/>
                <a:gd name="connsiteY5" fmla="*/ 104450 h 104775"/>
                <a:gd name="connsiteX6" fmla="*/ 56900 w 94614"/>
                <a:gd name="connsiteY6" fmla="*/ 104450 h 104775"/>
                <a:gd name="connsiteX7" fmla="*/ 56900 w 94614"/>
                <a:gd name="connsiteY7" fmla="*/ 104450 h 104775"/>
                <a:gd name="connsiteX8" fmla="*/ 56900 w 94614"/>
                <a:gd name="connsiteY8" fmla="*/ 104450 h 104775"/>
                <a:gd name="connsiteX9" fmla="*/ 56900 w 94614"/>
                <a:gd name="connsiteY9" fmla="*/ 18090 h 104775"/>
                <a:gd name="connsiteX10" fmla="*/ 94365 w 94614"/>
                <a:gd name="connsiteY10" fmla="*/ 18090 h 104775"/>
                <a:gd name="connsiteX11" fmla="*/ 94365 w 94614"/>
                <a:gd name="connsiteY11" fmla="*/ 18090 h 104775"/>
                <a:gd name="connsiteX12" fmla="*/ 94365 w 94614"/>
                <a:gd name="connsiteY12" fmla="*/ 18090 h 104775"/>
                <a:gd name="connsiteX13" fmla="*/ 94365 w 94614"/>
                <a:gd name="connsiteY13" fmla="*/ -325 h 104775"/>
                <a:gd name="connsiteX14" fmla="*/ -250 w 94614"/>
                <a:gd name="connsiteY14"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614" h="104775">
                  <a:moveTo>
                    <a:pt x="-250" y="-325"/>
                  </a:moveTo>
                  <a:lnTo>
                    <a:pt x="-250" y="-325"/>
                  </a:lnTo>
                  <a:lnTo>
                    <a:pt x="-250" y="-325"/>
                  </a:lnTo>
                  <a:cubicBezTo>
                    <a:pt x="-250" y="6025"/>
                    <a:pt x="-250" y="11740"/>
                    <a:pt x="-250" y="18090"/>
                  </a:cubicBezTo>
                  <a:cubicBezTo>
                    <a:pt x="12450" y="17455"/>
                    <a:pt x="24515" y="17455"/>
                    <a:pt x="37215" y="18090"/>
                  </a:cubicBezTo>
                  <a:cubicBezTo>
                    <a:pt x="37850" y="47300"/>
                    <a:pt x="37850" y="75875"/>
                    <a:pt x="37215" y="104450"/>
                  </a:cubicBezTo>
                  <a:cubicBezTo>
                    <a:pt x="43565" y="104450"/>
                    <a:pt x="50550" y="104450"/>
                    <a:pt x="56900" y="104450"/>
                  </a:cubicBezTo>
                  <a:lnTo>
                    <a:pt x="56900" y="104450"/>
                  </a:lnTo>
                  <a:lnTo>
                    <a:pt x="56900" y="104450"/>
                  </a:lnTo>
                  <a:cubicBezTo>
                    <a:pt x="56265" y="75875"/>
                    <a:pt x="56265" y="47300"/>
                    <a:pt x="56900" y="18090"/>
                  </a:cubicBezTo>
                  <a:cubicBezTo>
                    <a:pt x="69600" y="17455"/>
                    <a:pt x="81665" y="17455"/>
                    <a:pt x="94365" y="18090"/>
                  </a:cubicBezTo>
                  <a:lnTo>
                    <a:pt x="94365" y="18090"/>
                  </a:lnTo>
                  <a:lnTo>
                    <a:pt x="94365" y="18090"/>
                  </a:lnTo>
                  <a:cubicBezTo>
                    <a:pt x="94365" y="11740"/>
                    <a:pt x="94365" y="6025"/>
                    <a:pt x="94365" y="-325"/>
                  </a:cubicBezTo>
                  <a:cubicBezTo>
                    <a:pt x="62615" y="-325"/>
                    <a:pt x="30865" y="-325"/>
                    <a:pt x="-250" y="-325"/>
                  </a:cubicBezTo>
                </a:path>
              </a:pathLst>
            </a:custGeom>
            <a:solidFill>
              <a:srgbClr val="002733"/>
            </a:solidFill>
            <a:ln w="6350" cap="flat">
              <a:noFill/>
              <a:prstDash val="solid"/>
              <a:miter/>
            </a:ln>
          </p:spPr>
          <p:txBody>
            <a:bodyPr rtlCol="0" anchor="ctr"/>
            <a:lstStyle/>
            <a:p>
              <a:endParaRPr lang="en-GB"/>
            </a:p>
          </p:txBody>
        </p:sp>
        <p:sp>
          <p:nvSpPr>
            <p:cNvPr id="128" name="Freeform 127"/>
            <p:cNvSpPr/>
            <p:nvPr/>
          </p:nvSpPr>
          <p:spPr>
            <a:xfrm>
              <a:off x="3994908" y="3169920"/>
              <a:ext cx="1031116" cy="337184"/>
            </a:xfrm>
            <a:custGeom>
              <a:avLst/>
              <a:gdLst>
                <a:gd name="connsiteX0" fmla="*/ 1030231 w 1031116"/>
                <a:gd name="connsiteY0" fmla="*/ 27615 h 337184"/>
                <a:gd name="connsiteX1" fmla="*/ 1023881 w 1031116"/>
                <a:gd name="connsiteY1" fmla="*/ 19995 h 337184"/>
                <a:gd name="connsiteX2" fmla="*/ 1023881 w 1031116"/>
                <a:gd name="connsiteY2" fmla="*/ 19995 h 337184"/>
                <a:gd name="connsiteX3" fmla="*/ 1015626 w 1031116"/>
                <a:gd name="connsiteY3" fmla="*/ 11740 h 337184"/>
                <a:gd name="connsiteX4" fmla="*/ 995306 w 1031116"/>
                <a:gd name="connsiteY4" fmla="*/ 13010 h 337184"/>
                <a:gd name="connsiteX5" fmla="*/ 995306 w 1031116"/>
                <a:gd name="connsiteY5" fmla="*/ 13010 h 337184"/>
                <a:gd name="connsiteX6" fmla="*/ 995306 w 1031116"/>
                <a:gd name="connsiteY6" fmla="*/ 13010 h 337184"/>
                <a:gd name="connsiteX7" fmla="*/ 995306 w 1031116"/>
                <a:gd name="connsiteY7" fmla="*/ 13010 h 337184"/>
                <a:gd name="connsiteX8" fmla="*/ 978161 w 1031116"/>
                <a:gd name="connsiteY8" fmla="*/ 14915 h 337184"/>
                <a:gd name="connsiteX9" fmla="*/ 957841 w 1031116"/>
                <a:gd name="connsiteY9" fmla="*/ 16185 h 337184"/>
                <a:gd name="connsiteX10" fmla="*/ 945141 w 1031116"/>
                <a:gd name="connsiteY10" fmla="*/ 16820 h 337184"/>
                <a:gd name="connsiteX11" fmla="*/ 933076 w 1031116"/>
                <a:gd name="connsiteY11" fmla="*/ 16820 h 337184"/>
                <a:gd name="connsiteX12" fmla="*/ 924186 w 1031116"/>
                <a:gd name="connsiteY12" fmla="*/ 16820 h 337184"/>
                <a:gd name="connsiteX13" fmla="*/ 909581 w 1031116"/>
                <a:gd name="connsiteY13" fmla="*/ 16185 h 337184"/>
                <a:gd name="connsiteX14" fmla="*/ 896246 w 1031116"/>
                <a:gd name="connsiteY14" fmla="*/ 15550 h 337184"/>
                <a:gd name="connsiteX15" fmla="*/ 879736 w 1031116"/>
                <a:gd name="connsiteY15" fmla="*/ 14280 h 337184"/>
                <a:gd name="connsiteX16" fmla="*/ 876561 w 1031116"/>
                <a:gd name="connsiteY16" fmla="*/ 14280 h 337184"/>
                <a:gd name="connsiteX17" fmla="*/ 872116 w 1031116"/>
                <a:gd name="connsiteY17" fmla="*/ 14280 h 337184"/>
                <a:gd name="connsiteX18" fmla="*/ 864496 w 1031116"/>
                <a:gd name="connsiteY18" fmla="*/ 14280 h 337184"/>
                <a:gd name="connsiteX19" fmla="*/ 839731 w 1031116"/>
                <a:gd name="connsiteY19" fmla="*/ 14280 h 337184"/>
                <a:gd name="connsiteX20" fmla="*/ 831476 w 1031116"/>
                <a:gd name="connsiteY20" fmla="*/ 14280 h 337184"/>
                <a:gd name="connsiteX21" fmla="*/ 807346 w 1031116"/>
                <a:gd name="connsiteY21" fmla="*/ 14915 h 337184"/>
                <a:gd name="connsiteX22" fmla="*/ 780676 w 1031116"/>
                <a:gd name="connsiteY22" fmla="*/ 16820 h 337184"/>
                <a:gd name="connsiteX23" fmla="*/ 777501 w 1031116"/>
                <a:gd name="connsiteY23" fmla="*/ 16820 h 337184"/>
                <a:gd name="connsiteX24" fmla="*/ 776866 w 1031116"/>
                <a:gd name="connsiteY24" fmla="*/ 16820 h 337184"/>
                <a:gd name="connsiteX25" fmla="*/ 771786 w 1031116"/>
                <a:gd name="connsiteY25" fmla="*/ 16820 h 337184"/>
                <a:gd name="connsiteX26" fmla="*/ 764801 w 1031116"/>
                <a:gd name="connsiteY26" fmla="*/ 17455 h 337184"/>
                <a:gd name="connsiteX27" fmla="*/ 735591 w 1031116"/>
                <a:gd name="connsiteY27" fmla="*/ 18725 h 337184"/>
                <a:gd name="connsiteX28" fmla="*/ 733686 w 1031116"/>
                <a:gd name="connsiteY28" fmla="*/ 18725 h 337184"/>
                <a:gd name="connsiteX29" fmla="*/ 693681 w 1031116"/>
                <a:gd name="connsiteY29" fmla="*/ 16185 h 337184"/>
                <a:gd name="connsiteX30" fmla="*/ 666376 w 1031116"/>
                <a:gd name="connsiteY30" fmla="*/ 13645 h 337184"/>
                <a:gd name="connsiteX31" fmla="*/ 658121 w 1031116"/>
                <a:gd name="connsiteY31" fmla="*/ 13645 h 337184"/>
                <a:gd name="connsiteX32" fmla="*/ 656216 w 1031116"/>
                <a:gd name="connsiteY32" fmla="*/ 13645 h 337184"/>
                <a:gd name="connsiteX33" fmla="*/ 618751 w 1031116"/>
                <a:gd name="connsiteY33" fmla="*/ 17455 h 337184"/>
                <a:gd name="connsiteX34" fmla="*/ 607956 w 1031116"/>
                <a:gd name="connsiteY34" fmla="*/ 20630 h 337184"/>
                <a:gd name="connsiteX35" fmla="*/ 513341 w 1031116"/>
                <a:gd name="connsiteY35" fmla="*/ -325 h 337184"/>
                <a:gd name="connsiteX36" fmla="*/ 420631 w 1031116"/>
                <a:gd name="connsiteY36" fmla="*/ 19995 h 337184"/>
                <a:gd name="connsiteX37" fmla="*/ 416821 w 1031116"/>
                <a:gd name="connsiteY37" fmla="*/ 18725 h 337184"/>
                <a:gd name="connsiteX38" fmla="*/ 412376 w 1031116"/>
                <a:gd name="connsiteY38" fmla="*/ 17455 h 337184"/>
                <a:gd name="connsiteX39" fmla="*/ 374911 w 1031116"/>
                <a:gd name="connsiteY39" fmla="*/ 13645 h 337184"/>
                <a:gd name="connsiteX40" fmla="*/ 373006 w 1031116"/>
                <a:gd name="connsiteY40" fmla="*/ 13645 h 337184"/>
                <a:gd name="connsiteX41" fmla="*/ 366656 w 1031116"/>
                <a:gd name="connsiteY41" fmla="*/ 13645 h 337184"/>
                <a:gd name="connsiteX42" fmla="*/ 337446 w 1031116"/>
                <a:gd name="connsiteY42" fmla="*/ 16185 h 337184"/>
                <a:gd name="connsiteX43" fmla="*/ 297441 w 1031116"/>
                <a:gd name="connsiteY43" fmla="*/ 18725 h 337184"/>
                <a:gd name="connsiteX44" fmla="*/ 295536 w 1031116"/>
                <a:gd name="connsiteY44" fmla="*/ 18725 h 337184"/>
                <a:gd name="connsiteX45" fmla="*/ 259341 w 1031116"/>
                <a:gd name="connsiteY45" fmla="*/ 17455 h 337184"/>
                <a:gd name="connsiteX46" fmla="*/ 254261 w 1031116"/>
                <a:gd name="connsiteY46" fmla="*/ 17455 h 337184"/>
                <a:gd name="connsiteX47" fmla="*/ 253626 w 1031116"/>
                <a:gd name="connsiteY47" fmla="*/ 17455 h 337184"/>
                <a:gd name="connsiteX48" fmla="*/ 250451 w 1031116"/>
                <a:gd name="connsiteY48" fmla="*/ 17455 h 337184"/>
                <a:gd name="connsiteX49" fmla="*/ 237116 w 1031116"/>
                <a:gd name="connsiteY49" fmla="*/ 16820 h 337184"/>
                <a:gd name="connsiteX50" fmla="*/ 223781 w 1031116"/>
                <a:gd name="connsiteY50" fmla="*/ 15550 h 337184"/>
                <a:gd name="connsiteX51" fmla="*/ 202826 w 1031116"/>
                <a:gd name="connsiteY51" fmla="*/ 14915 h 337184"/>
                <a:gd name="connsiteX52" fmla="*/ 191396 w 1031116"/>
                <a:gd name="connsiteY52" fmla="*/ 14915 h 337184"/>
                <a:gd name="connsiteX53" fmla="*/ 162821 w 1031116"/>
                <a:gd name="connsiteY53" fmla="*/ 14915 h 337184"/>
                <a:gd name="connsiteX54" fmla="*/ 158376 w 1031116"/>
                <a:gd name="connsiteY54" fmla="*/ 14915 h 337184"/>
                <a:gd name="connsiteX55" fmla="*/ 153931 w 1031116"/>
                <a:gd name="connsiteY55" fmla="*/ 14915 h 337184"/>
                <a:gd name="connsiteX56" fmla="*/ 150756 w 1031116"/>
                <a:gd name="connsiteY56" fmla="*/ 14915 h 337184"/>
                <a:gd name="connsiteX57" fmla="*/ 134246 w 1031116"/>
                <a:gd name="connsiteY57" fmla="*/ 16185 h 337184"/>
                <a:gd name="connsiteX58" fmla="*/ 131071 w 1031116"/>
                <a:gd name="connsiteY58" fmla="*/ 16185 h 337184"/>
                <a:gd name="connsiteX59" fmla="*/ 101861 w 1031116"/>
                <a:gd name="connsiteY59" fmla="*/ 17455 h 337184"/>
                <a:gd name="connsiteX60" fmla="*/ 98051 w 1031116"/>
                <a:gd name="connsiteY60" fmla="*/ 17455 h 337184"/>
                <a:gd name="connsiteX61" fmla="*/ 85986 w 1031116"/>
                <a:gd name="connsiteY61" fmla="*/ 17455 h 337184"/>
                <a:gd name="connsiteX62" fmla="*/ 73286 w 1031116"/>
                <a:gd name="connsiteY62" fmla="*/ 16820 h 337184"/>
                <a:gd name="connsiteX63" fmla="*/ 54236 w 1031116"/>
                <a:gd name="connsiteY63" fmla="*/ 15550 h 337184"/>
                <a:gd name="connsiteX64" fmla="*/ 15501 w 1031116"/>
                <a:gd name="connsiteY64" fmla="*/ 12375 h 337184"/>
                <a:gd name="connsiteX65" fmla="*/ 7246 w 1031116"/>
                <a:gd name="connsiteY65" fmla="*/ 20630 h 337184"/>
                <a:gd name="connsiteX66" fmla="*/ 261 w 1031116"/>
                <a:gd name="connsiteY66" fmla="*/ 28885 h 337184"/>
                <a:gd name="connsiteX67" fmla="*/ 2166 w 1031116"/>
                <a:gd name="connsiteY67" fmla="*/ 32060 h 337184"/>
                <a:gd name="connsiteX68" fmla="*/ 32646 w 1031116"/>
                <a:gd name="connsiteY68" fmla="*/ 49205 h 337184"/>
                <a:gd name="connsiteX69" fmla="*/ 24391 w 1031116"/>
                <a:gd name="connsiteY69" fmla="*/ 68255 h 337184"/>
                <a:gd name="connsiteX70" fmla="*/ 58046 w 1031116"/>
                <a:gd name="connsiteY70" fmla="*/ 82225 h 337184"/>
                <a:gd name="connsiteX71" fmla="*/ 56141 w 1031116"/>
                <a:gd name="connsiteY71" fmla="*/ 100640 h 337184"/>
                <a:gd name="connsiteX72" fmla="*/ 89161 w 1031116"/>
                <a:gd name="connsiteY72" fmla="*/ 110800 h 337184"/>
                <a:gd name="connsiteX73" fmla="*/ 94241 w 1031116"/>
                <a:gd name="connsiteY73" fmla="*/ 131755 h 337184"/>
                <a:gd name="connsiteX74" fmla="*/ 130436 w 1031116"/>
                <a:gd name="connsiteY74" fmla="*/ 138740 h 337184"/>
                <a:gd name="connsiteX75" fmla="*/ 138691 w 1031116"/>
                <a:gd name="connsiteY75" fmla="*/ 157155 h 337184"/>
                <a:gd name="connsiteX76" fmla="*/ 186951 w 1031116"/>
                <a:gd name="connsiteY76" fmla="*/ 161600 h 337184"/>
                <a:gd name="connsiteX77" fmla="*/ 196476 w 1031116"/>
                <a:gd name="connsiteY77" fmla="*/ 180650 h 337184"/>
                <a:gd name="connsiteX78" fmla="*/ 235211 w 1031116"/>
                <a:gd name="connsiteY78" fmla="*/ 181285 h 337184"/>
                <a:gd name="connsiteX79" fmla="*/ 248546 w 1031116"/>
                <a:gd name="connsiteY79" fmla="*/ 197160 h 337184"/>
                <a:gd name="connsiteX80" fmla="*/ 284741 w 1031116"/>
                <a:gd name="connsiteY80" fmla="*/ 191445 h 337184"/>
                <a:gd name="connsiteX81" fmla="*/ 298076 w 1031116"/>
                <a:gd name="connsiteY81" fmla="*/ 204780 h 337184"/>
                <a:gd name="connsiteX82" fmla="*/ 324746 w 1031116"/>
                <a:gd name="connsiteY82" fmla="*/ 198430 h 337184"/>
                <a:gd name="connsiteX83" fmla="*/ 383166 w 1031116"/>
                <a:gd name="connsiteY83" fmla="*/ 284155 h 337184"/>
                <a:gd name="connsiteX84" fmla="*/ 437141 w 1031116"/>
                <a:gd name="connsiteY84" fmla="*/ 313365 h 337184"/>
                <a:gd name="connsiteX85" fmla="*/ 442221 w 1031116"/>
                <a:gd name="connsiteY85" fmla="*/ 323525 h 337184"/>
                <a:gd name="connsiteX86" fmla="*/ 447301 w 1031116"/>
                <a:gd name="connsiteY86" fmla="*/ 321620 h 337184"/>
                <a:gd name="connsiteX87" fmla="*/ 458731 w 1031116"/>
                <a:gd name="connsiteY87" fmla="*/ 317175 h 337184"/>
                <a:gd name="connsiteX88" fmla="*/ 461906 w 1031116"/>
                <a:gd name="connsiteY88" fmla="*/ 322255 h 337184"/>
                <a:gd name="connsiteX89" fmla="*/ 466986 w 1031116"/>
                <a:gd name="connsiteY89" fmla="*/ 330510 h 337184"/>
                <a:gd name="connsiteX90" fmla="*/ 473971 w 1031116"/>
                <a:gd name="connsiteY90" fmla="*/ 326700 h 337184"/>
                <a:gd name="connsiteX91" fmla="*/ 482226 w 1031116"/>
                <a:gd name="connsiteY91" fmla="*/ 322255 h 337184"/>
                <a:gd name="connsiteX92" fmla="*/ 489211 w 1031116"/>
                <a:gd name="connsiteY92" fmla="*/ 331145 h 337184"/>
                <a:gd name="connsiteX93" fmla="*/ 492386 w 1031116"/>
                <a:gd name="connsiteY93" fmla="*/ 334955 h 337184"/>
                <a:gd name="connsiteX94" fmla="*/ 494926 w 1031116"/>
                <a:gd name="connsiteY94" fmla="*/ 333050 h 337184"/>
                <a:gd name="connsiteX95" fmla="*/ 505721 w 1031116"/>
                <a:gd name="connsiteY95" fmla="*/ 325430 h 337184"/>
                <a:gd name="connsiteX96" fmla="*/ 512071 w 1031116"/>
                <a:gd name="connsiteY96" fmla="*/ 331780 h 337184"/>
                <a:gd name="connsiteX97" fmla="*/ 517151 w 1031116"/>
                <a:gd name="connsiteY97" fmla="*/ 336860 h 337184"/>
                <a:gd name="connsiteX98" fmla="*/ 522866 w 1031116"/>
                <a:gd name="connsiteY98" fmla="*/ 331780 h 337184"/>
                <a:gd name="connsiteX99" fmla="*/ 529851 w 1031116"/>
                <a:gd name="connsiteY99" fmla="*/ 325430 h 337184"/>
                <a:gd name="connsiteX100" fmla="*/ 540011 w 1031116"/>
                <a:gd name="connsiteY100" fmla="*/ 333050 h 337184"/>
                <a:gd name="connsiteX101" fmla="*/ 543186 w 1031116"/>
                <a:gd name="connsiteY101" fmla="*/ 335590 h 337184"/>
                <a:gd name="connsiteX102" fmla="*/ 546361 w 1031116"/>
                <a:gd name="connsiteY102" fmla="*/ 331780 h 337184"/>
                <a:gd name="connsiteX103" fmla="*/ 553346 w 1031116"/>
                <a:gd name="connsiteY103" fmla="*/ 323525 h 337184"/>
                <a:gd name="connsiteX104" fmla="*/ 564141 w 1031116"/>
                <a:gd name="connsiteY104" fmla="*/ 329240 h 337184"/>
                <a:gd name="connsiteX105" fmla="*/ 568586 w 1031116"/>
                <a:gd name="connsiteY105" fmla="*/ 331780 h 337184"/>
                <a:gd name="connsiteX106" fmla="*/ 571761 w 1031116"/>
                <a:gd name="connsiteY106" fmla="*/ 326700 h 337184"/>
                <a:gd name="connsiteX107" fmla="*/ 577476 w 1031116"/>
                <a:gd name="connsiteY107" fmla="*/ 318445 h 337184"/>
                <a:gd name="connsiteX108" fmla="*/ 590176 w 1031116"/>
                <a:gd name="connsiteY108" fmla="*/ 323525 h 337184"/>
                <a:gd name="connsiteX109" fmla="*/ 593986 w 1031116"/>
                <a:gd name="connsiteY109" fmla="*/ 324795 h 337184"/>
                <a:gd name="connsiteX110" fmla="*/ 600336 w 1031116"/>
                <a:gd name="connsiteY110" fmla="*/ 311460 h 337184"/>
                <a:gd name="connsiteX111" fmla="*/ 646691 w 1031116"/>
                <a:gd name="connsiteY111" fmla="*/ 284790 h 337184"/>
                <a:gd name="connsiteX112" fmla="*/ 703206 w 1031116"/>
                <a:gd name="connsiteY112" fmla="*/ 204780 h 337184"/>
                <a:gd name="connsiteX113" fmla="*/ 707651 w 1031116"/>
                <a:gd name="connsiteY113" fmla="*/ 206685 h 337184"/>
                <a:gd name="connsiteX114" fmla="*/ 713366 w 1031116"/>
                <a:gd name="connsiteY114" fmla="*/ 208590 h 337184"/>
                <a:gd name="connsiteX115" fmla="*/ 725431 w 1031116"/>
                <a:gd name="connsiteY115" fmla="*/ 207955 h 337184"/>
                <a:gd name="connsiteX116" fmla="*/ 733051 w 1031116"/>
                <a:gd name="connsiteY116" fmla="*/ 197160 h 337184"/>
                <a:gd name="connsiteX117" fmla="*/ 766071 w 1031116"/>
                <a:gd name="connsiteY117" fmla="*/ 201605 h 337184"/>
                <a:gd name="connsiteX118" fmla="*/ 774326 w 1031116"/>
                <a:gd name="connsiteY118" fmla="*/ 190175 h 337184"/>
                <a:gd name="connsiteX119" fmla="*/ 810521 w 1031116"/>
                <a:gd name="connsiteY119" fmla="*/ 193350 h 337184"/>
                <a:gd name="connsiteX120" fmla="*/ 821951 w 1031116"/>
                <a:gd name="connsiteY120" fmla="*/ 174300 h 337184"/>
                <a:gd name="connsiteX121" fmla="*/ 861321 w 1031116"/>
                <a:gd name="connsiteY121" fmla="*/ 173665 h 337184"/>
                <a:gd name="connsiteX122" fmla="*/ 870846 w 1031116"/>
                <a:gd name="connsiteY122" fmla="*/ 154615 h 337184"/>
                <a:gd name="connsiteX123" fmla="*/ 903866 w 1031116"/>
                <a:gd name="connsiteY123" fmla="*/ 155250 h 337184"/>
                <a:gd name="connsiteX124" fmla="*/ 918471 w 1031116"/>
                <a:gd name="connsiteY124" fmla="*/ 131120 h 337184"/>
                <a:gd name="connsiteX125" fmla="*/ 948951 w 1031116"/>
                <a:gd name="connsiteY125" fmla="*/ 126675 h 337184"/>
                <a:gd name="connsiteX126" fmla="*/ 954666 w 1031116"/>
                <a:gd name="connsiteY126" fmla="*/ 104450 h 337184"/>
                <a:gd name="connsiteX127" fmla="*/ 983241 w 1031116"/>
                <a:gd name="connsiteY127" fmla="*/ 96195 h 337184"/>
                <a:gd name="connsiteX128" fmla="*/ 983876 w 1031116"/>
                <a:gd name="connsiteY128" fmla="*/ 76510 h 337184"/>
                <a:gd name="connsiteX129" fmla="*/ 1009911 w 1031116"/>
                <a:gd name="connsiteY129" fmla="*/ 66350 h 337184"/>
                <a:gd name="connsiteX130" fmla="*/ 1003561 w 1031116"/>
                <a:gd name="connsiteY130" fmla="*/ 46665 h 337184"/>
                <a:gd name="connsiteX131" fmla="*/ 1030866 w 1031116"/>
                <a:gd name="connsiteY131" fmla="*/ 33965 h 337184"/>
                <a:gd name="connsiteX132" fmla="*/ 1030231 w 1031116"/>
                <a:gd name="connsiteY132" fmla="*/ 27615 h 33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031116" h="337184">
                  <a:moveTo>
                    <a:pt x="1030231" y="27615"/>
                  </a:moveTo>
                  <a:cubicBezTo>
                    <a:pt x="1028961" y="26345"/>
                    <a:pt x="1027056" y="23805"/>
                    <a:pt x="1023881" y="19995"/>
                  </a:cubicBezTo>
                  <a:lnTo>
                    <a:pt x="1023881" y="19995"/>
                  </a:lnTo>
                  <a:cubicBezTo>
                    <a:pt x="1020072" y="16185"/>
                    <a:pt x="1016261" y="11740"/>
                    <a:pt x="1015626" y="11740"/>
                  </a:cubicBezTo>
                  <a:cubicBezTo>
                    <a:pt x="1013722" y="11105"/>
                    <a:pt x="1006101" y="12375"/>
                    <a:pt x="995306" y="13010"/>
                  </a:cubicBezTo>
                  <a:cubicBezTo>
                    <a:pt x="995306" y="13010"/>
                    <a:pt x="995306" y="13010"/>
                    <a:pt x="995306" y="13010"/>
                  </a:cubicBezTo>
                  <a:lnTo>
                    <a:pt x="995306" y="13010"/>
                  </a:lnTo>
                  <a:lnTo>
                    <a:pt x="995306" y="13010"/>
                  </a:lnTo>
                  <a:lnTo>
                    <a:pt x="978161" y="14915"/>
                  </a:lnTo>
                  <a:cubicBezTo>
                    <a:pt x="971176" y="15550"/>
                    <a:pt x="964826" y="15550"/>
                    <a:pt x="957841" y="16185"/>
                  </a:cubicBezTo>
                  <a:cubicBezTo>
                    <a:pt x="954031" y="16185"/>
                    <a:pt x="949586" y="16185"/>
                    <a:pt x="945141" y="16820"/>
                  </a:cubicBezTo>
                  <a:cubicBezTo>
                    <a:pt x="941331" y="16820"/>
                    <a:pt x="937522" y="16820"/>
                    <a:pt x="933076" y="16820"/>
                  </a:cubicBezTo>
                  <a:cubicBezTo>
                    <a:pt x="929901" y="16820"/>
                    <a:pt x="927361" y="16820"/>
                    <a:pt x="924186" y="16820"/>
                  </a:cubicBezTo>
                  <a:cubicBezTo>
                    <a:pt x="919106" y="16820"/>
                    <a:pt x="914661" y="16185"/>
                    <a:pt x="909581" y="16185"/>
                  </a:cubicBezTo>
                  <a:cubicBezTo>
                    <a:pt x="905136" y="16185"/>
                    <a:pt x="900691" y="15550"/>
                    <a:pt x="896246" y="15550"/>
                  </a:cubicBezTo>
                  <a:cubicBezTo>
                    <a:pt x="890531" y="14915"/>
                    <a:pt x="884816" y="14915"/>
                    <a:pt x="879736" y="14280"/>
                  </a:cubicBezTo>
                  <a:cubicBezTo>
                    <a:pt x="878466" y="14280"/>
                    <a:pt x="877196" y="14280"/>
                    <a:pt x="876561" y="14280"/>
                  </a:cubicBezTo>
                  <a:cubicBezTo>
                    <a:pt x="875291" y="14280"/>
                    <a:pt x="873386" y="14280"/>
                    <a:pt x="872116" y="14280"/>
                  </a:cubicBezTo>
                  <a:cubicBezTo>
                    <a:pt x="870846" y="14280"/>
                    <a:pt x="868306" y="14280"/>
                    <a:pt x="864496" y="14280"/>
                  </a:cubicBezTo>
                  <a:cubicBezTo>
                    <a:pt x="858146" y="14280"/>
                    <a:pt x="848621" y="14280"/>
                    <a:pt x="839731" y="14280"/>
                  </a:cubicBezTo>
                  <a:cubicBezTo>
                    <a:pt x="837191" y="14280"/>
                    <a:pt x="834651" y="14280"/>
                    <a:pt x="831476" y="14280"/>
                  </a:cubicBezTo>
                  <a:cubicBezTo>
                    <a:pt x="822586" y="14280"/>
                    <a:pt x="813061" y="14280"/>
                    <a:pt x="807346" y="14915"/>
                  </a:cubicBezTo>
                  <a:cubicBezTo>
                    <a:pt x="799091" y="15550"/>
                    <a:pt x="790201" y="16185"/>
                    <a:pt x="780676" y="16820"/>
                  </a:cubicBezTo>
                  <a:lnTo>
                    <a:pt x="777501" y="16820"/>
                  </a:lnTo>
                  <a:lnTo>
                    <a:pt x="776866" y="16820"/>
                  </a:lnTo>
                  <a:lnTo>
                    <a:pt x="771786" y="16820"/>
                  </a:lnTo>
                  <a:cubicBezTo>
                    <a:pt x="769246" y="16820"/>
                    <a:pt x="767341" y="16820"/>
                    <a:pt x="764801" y="17455"/>
                  </a:cubicBezTo>
                  <a:cubicBezTo>
                    <a:pt x="755276" y="18090"/>
                    <a:pt x="745116" y="18090"/>
                    <a:pt x="735591" y="18725"/>
                  </a:cubicBezTo>
                  <a:cubicBezTo>
                    <a:pt x="734956" y="18725"/>
                    <a:pt x="734321" y="18725"/>
                    <a:pt x="733686" y="18725"/>
                  </a:cubicBezTo>
                  <a:cubicBezTo>
                    <a:pt x="720986" y="18725"/>
                    <a:pt x="708286" y="18090"/>
                    <a:pt x="693681" y="16185"/>
                  </a:cubicBezTo>
                  <a:cubicBezTo>
                    <a:pt x="683521" y="14915"/>
                    <a:pt x="674631" y="14280"/>
                    <a:pt x="666376" y="13645"/>
                  </a:cubicBezTo>
                  <a:cubicBezTo>
                    <a:pt x="663836" y="13645"/>
                    <a:pt x="660661" y="13645"/>
                    <a:pt x="658121" y="13645"/>
                  </a:cubicBezTo>
                  <a:cubicBezTo>
                    <a:pt x="657486" y="13645"/>
                    <a:pt x="656851" y="13645"/>
                    <a:pt x="656216" y="13645"/>
                  </a:cubicBezTo>
                  <a:cubicBezTo>
                    <a:pt x="641611" y="13645"/>
                    <a:pt x="630181" y="14915"/>
                    <a:pt x="618751" y="17455"/>
                  </a:cubicBezTo>
                  <a:cubicBezTo>
                    <a:pt x="614941" y="18090"/>
                    <a:pt x="611131" y="19360"/>
                    <a:pt x="607956" y="20630"/>
                  </a:cubicBezTo>
                  <a:cubicBezTo>
                    <a:pt x="579381" y="6660"/>
                    <a:pt x="546996" y="-325"/>
                    <a:pt x="513341" y="-325"/>
                  </a:cubicBezTo>
                  <a:cubicBezTo>
                    <a:pt x="479686" y="-325"/>
                    <a:pt x="448571" y="6660"/>
                    <a:pt x="420631" y="19995"/>
                  </a:cubicBezTo>
                  <a:cubicBezTo>
                    <a:pt x="419361" y="19360"/>
                    <a:pt x="418091" y="19360"/>
                    <a:pt x="416821" y="18725"/>
                  </a:cubicBezTo>
                  <a:cubicBezTo>
                    <a:pt x="415551" y="18090"/>
                    <a:pt x="413646" y="18090"/>
                    <a:pt x="412376" y="17455"/>
                  </a:cubicBezTo>
                  <a:cubicBezTo>
                    <a:pt x="401581" y="14915"/>
                    <a:pt x="389516" y="13645"/>
                    <a:pt x="374911" y="13645"/>
                  </a:cubicBezTo>
                  <a:cubicBezTo>
                    <a:pt x="374276" y="13645"/>
                    <a:pt x="373641" y="13645"/>
                    <a:pt x="373006" y="13645"/>
                  </a:cubicBezTo>
                  <a:cubicBezTo>
                    <a:pt x="371101" y="13645"/>
                    <a:pt x="369196" y="13645"/>
                    <a:pt x="366656" y="13645"/>
                  </a:cubicBezTo>
                  <a:cubicBezTo>
                    <a:pt x="357766" y="13645"/>
                    <a:pt x="348876" y="14915"/>
                    <a:pt x="337446" y="16185"/>
                  </a:cubicBezTo>
                  <a:cubicBezTo>
                    <a:pt x="323476" y="18090"/>
                    <a:pt x="310141" y="18725"/>
                    <a:pt x="297441" y="18725"/>
                  </a:cubicBezTo>
                  <a:cubicBezTo>
                    <a:pt x="296806" y="18725"/>
                    <a:pt x="296171" y="18725"/>
                    <a:pt x="295536" y="18725"/>
                  </a:cubicBezTo>
                  <a:cubicBezTo>
                    <a:pt x="283471" y="18725"/>
                    <a:pt x="271406" y="18090"/>
                    <a:pt x="259341" y="17455"/>
                  </a:cubicBezTo>
                  <a:lnTo>
                    <a:pt x="254261" y="17455"/>
                  </a:lnTo>
                  <a:lnTo>
                    <a:pt x="253626" y="17455"/>
                  </a:lnTo>
                  <a:lnTo>
                    <a:pt x="250451" y="17455"/>
                  </a:lnTo>
                  <a:cubicBezTo>
                    <a:pt x="245371" y="17455"/>
                    <a:pt x="240926" y="16820"/>
                    <a:pt x="237116" y="16820"/>
                  </a:cubicBezTo>
                  <a:cubicBezTo>
                    <a:pt x="232671" y="16820"/>
                    <a:pt x="228226" y="16185"/>
                    <a:pt x="223781" y="15550"/>
                  </a:cubicBezTo>
                  <a:cubicBezTo>
                    <a:pt x="218701" y="14915"/>
                    <a:pt x="210446" y="14915"/>
                    <a:pt x="202826" y="14915"/>
                  </a:cubicBezTo>
                  <a:cubicBezTo>
                    <a:pt x="199016" y="14915"/>
                    <a:pt x="195206" y="14915"/>
                    <a:pt x="191396" y="14915"/>
                  </a:cubicBezTo>
                  <a:cubicBezTo>
                    <a:pt x="179966" y="14915"/>
                    <a:pt x="169171" y="14915"/>
                    <a:pt x="162821" y="14915"/>
                  </a:cubicBezTo>
                  <a:cubicBezTo>
                    <a:pt x="160916" y="14915"/>
                    <a:pt x="159646" y="14915"/>
                    <a:pt x="158376" y="14915"/>
                  </a:cubicBezTo>
                  <a:cubicBezTo>
                    <a:pt x="157106" y="14915"/>
                    <a:pt x="155201" y="14915"/>
                    <a:pt x="153931" y="14915"/>
                  </a:cubicBezTo>
                  <a:cubicBezTo>
                    <a:pt x="152661" y="14915"/>
                    <a:pt x="151391" y="14915"/>
                    <a:pt x="150756" y="14915"/>
                  </a:cubicBezTo>
                  <a:cubicBezTo>
                    <a:pt x="145041" y="14915"/>
                    <a:pt x="139326" y="15550"/>
                    <a:pt x="134246" y="16185"/>
                  </a:cubicBezTo>
                  <a:cubicBezTo>
                    <a:pt x="132976" y="16185"/>
                    <a:pt x="132341" y="16185"/>
                    <a:pt x="131071" y="16185"/>
                  </a:cubicBezTo>
                  <a:cubicBezTo>
                    <a:pt x="120911" y="16820"/>
                    <a:pt x="110751" y="17455"/>
                    <a:pt x="101861" y="17455"/>
                  </a:cubicBezTo>
                  <a:cubicBezTo>
                    <a:pt x="100591" y="17455"/>
                    <a:pt x="99321" y="17455"/>
                    <a:pt x="98051" y="17455"/>
                  </a:cubicBezTo>
                  <a:cubicBezTo>
                    <a:pt x="93606" y="17455"/>
                    <a:pt x="89796" y="17455"/>
                    <a:pt x="85986" y="17455"/>
                  </a:cubicBezTo>
                  <a:cubicBezTo>
                    <a:pt x="81541" y="17455"/>
                    <a:pt x="77731" y="16820"/>
                    <a:pt x="73286" y="16820"/>
                  </a:cubicBezTo>
                  <a:cubicBezTo>
                    <a:pt x="66936" y="16820"/>
                    <a:pt x="60586" y="16185"/>
                    <a:pt x="54236" y="15550"/>
                  </a:cubicBezTo>
                  <a:cubicBezTo>
                    <a:pt x="35186" y="13645"/>
                    <a:pt x="18041" y="11740"/>
                    <a:pt x="15501" y="12375"/>
                  </a:cubicBezTo>
                  <a:cubicBezTo>
                    <a:pt x="14231" y="12375"/>
                    <a:pt x="10421" y="16820"/>
                    <a:pt x="7246" y="20630"/>
                  </a:cubicBezTo>
                  <a:cubicBezTo>
                    <a:pt x="7246" y="20630"/>
                    <a:pt x="1531" y="27615"/>
                    <a:pt x="261" y="28885"/>
                  </a:cubicBezTo>
                  <a:cubicBezTo>
                    <a:pt x="-1009" y="30155"/>
                    <a:pt x="261" y="30790"/>
                    <a:pt x="2166" y="32060"/>
                  </a:cubicBezTo>
                  <a:cubicBezTo>
                    <a:pt x="4071" y="33330"/>
                    <a:pt x="32646" y="49205"/>
                    <a:pt x="32646" y="49205"/>
                  </a:cubicBezTo>
                  <a:cubicBezTo>
                    <a:pt x="32646" y="49205"/>
                    <a:pt x="22486" y="65715"/>
                    <a:pt x="24391" y="68255"/>
                  </a:cubicBezTo>
                  <a:cubicBezTo>
                    <a:pt x="26931" y="72065"/>
                    <a:pt x="58046" y="82225"/>
                    <a:pt x="58046" y="82225"/>
                  </a:cubicBezTo>
                  <a:cubicBezTo>
                    <a:pt x="58046" y="82225"/>
                    <a:pt x="54236" y="98100"/>
                    <a:pt x="56141" y="100640"/>
                  </a:cubicBezTo>
                  <a:cubicBezTo>
                    <a:pt x="58046" y="102545"/>
                    <a:pt x="89161" y="110800"/>
                    <a:pt x="89161" y="110800"/>
                  </a:cubicBezTo>
                  <a:cubicBezTo>
                    <a:pt x="89161" y="110800"/>
                    <a:pt x="91701" y="130485"/>
                    <a:pt x="94241" y="131755"/>
                  </a:cubicBezTo>
                  <a:cubicBezTo>
                    <a:pt x="98051" y="134295"/>
                    <a:pt x="130436" y="138740"/>
                    <a:pt x="130436" y="138740"/>
                  </a:cubicBezTo>
                  <a:cubicBezTo>
                    <a:pt x="130436" y="138740"/>
                    <a:pt x="134881" y="154615"/>
                    <a:pt x="138691" y="157155"/>
                  </a:cubicBezTo>
                  <a:cubicBezTo>
                    <a:pt x="143771" y="160330"/>
                    <a:pt x="176791" y="162235"/>
                    <a:pt x="186951" y="161600"/>
                  </a:cubicBezTo>
                  <a:cubicBezTo>
                    <a:pt x="186951" y="161600"/>
                    <a:pt x="190761" y="178745"/>
                    <a:pt x="196476" y="180650"/>
                  </a:cubicBezTo>
                  <a:cubicBezTo>
                    <a:pt x="206636" y="183825"/>
                    <a:pt x="235211" y="181285"/>
                    <a:pt x="235211" y="181285"/>
                  </a:cubicBezTo>
                  <a:cubicBezTo>
                    <a:pt x="235211" y="181285"/>
                    <a:pt x="239021" y="194620"/>
                    <a:pt x="248546" y="197160"/>
                  </a:cubicBezTo>
                  <a:cubicBezTo>
                    <a:pt x="258706" y="199700"/>
                    <a:pt x="284741" y="191445"/>
                    <a:pt x="284741" y="191445"/>
                  </a:cubicBezTo>
                  <a:cubicBezTo>
                    <a:pt x="284741" y="191445"/>
                    <a:pt x="289186" y="203510"/>
                    <a:pt x="298076" y="204780"/>
                  </a:cubicBezTo>
                  <a:cubicBezTo>
                    <a:pt x="309506" y="206050"/>
                    <a:pt x="320301" y="200970"/>
                    <a:pt x="324746" y="198430"/>
                  </a:cubicBezTo>
                  <a:cubicBezTo>
                    <a:pt x="333001" y="231450"/>
                    <a:pt x="353321" y="261295"/>
                    <a:pt x="383166" y="284155"/>
                  </a:cubicBezTo>
                  <a:cubicBezTo>
                    <a:pt x="399041" y="296220"/>
                    <a:pt x="417456" y="306380"/>
                    <a:pt x="437141" y="313365"/>
                  </a:cubicBezTo>
                  <a:cubicBezTo>
                    <a:pt x="439046" y="317175"/>
                    <a:pt x="442221" y="323525"/>
                    <a:pt x="442221" y="323525"/>
                  </a:cubicBezTo>
                  <a:lnTo>
                    <a:pt x="447301" y="321620"/>
                  </a:lnTo>
                  <a:lnTo>
                    <a:pt x="458731" y="317175"/>
                  </a:lnTo>
                  <a:lnTo>
                    <a:pt x="461906" y="322255"/>
                  </a:lnTo>
                  <a:lnTo>
                    <a:pt x="466986" y="330510"/>
                  </a:lnTo>
                  <a:lnTo>
                    <a:pt x="473971" y="326700"/>
                  </a:lnTo>
                  <a:lnTo>
                    <a:pt x="482226" y="322255"/>
                  </a:lnTo>
                  <a:lnTo>
                    <a:pt x="489211" y="331145"/>
                  </a:lnTo>
                  <a:lnTo>
                    <a:pt x="492386" y="334955"/>
                  </a:lnTo>
                  <a:lnTo>
                    <a:pt x="494926" y="333050"/>
                  </a:lnTo>
                  <a:lnTo>
                    <a:pt x="505721" y="325430"/>
                  </a:lnTo>
                  <a:lnTo>
                    <a:pt x="512071" y="331780"/>
                  </a:lnTo>
                  <a:lnTo>
                    <a:pt x="517151" y="336860"/>
                  </a:lnTo>
                  <a:lnTo>
                    <a:pt x="522866" y="331780"/>
                  </a:lnTo>
                  <a:lnTo>
                    <a:pt x="529851" y="325430"/>
                  </a:lnTo>
                  <a:lnTo>
                    <a:pt x="540011" y="333050"/>
                  </a:lnTo>
                  <a:lnTo>
                    <a:pt x="543186" y="335590"/>
                  </a:lnTo>
                  <a:lnTo>
                    <a:pt x="546361" y="331780"/>
                  </a:lnTo>
                  <a:lnTo>
                    <a:pt x="553346" y="323525"/>
                  </a:lnTo>
                  <a:lnTo>
                    <a:pt x="564141" y="329240"/>
                  </a:lnTo>
                  <a:lnTo>
                    <a:pt x="568586" y="331780"/>
                  </a:lnTo>
                  <a:lnTo>
                    <a:pt x="571761" y="326700"/>
                  </a:lnTo>
                  <a:lnTo>
                    <a:pt x="577476" y="318445"/>
                  </a:lnTo>
                  <a:lnTo>
                    <a:pt x="590176" y="323525"/>
                  </a:lnTo>
                  <a:lnTo>
                    <a:pt x="593986" y="324795"/>
                  </a:lnTo>
                  <a:lnTo>
                    <a:pt x="600336" y="311460"/>
                  </a:lnTo>
                  <a:cubicBezTo>
                    <a:pt x="616846" y="304475"/>
                    <a:pt x="632721" y="295585"/>
                    <a:pt x="646691" y="284790"/>
                  </a:cubicBezTo>
                  <a:cubicBezTo>
                    <a:pt x="674631" y="263200"/>
                    <a:pt x="694316" y="235260"/>
                    <a:pt x="703206" y="204780"/>
                  </a:cubicBezTo>
                  <a:cubicBezTo>
                    <a:pt x="703841" y="204780"/>
                    <a:pt x="704476" y="205415"/>
                    <a:pt x="707651" y="206685"/>
                  </a:cubicBezTo>
                  <a:cubicBezTo>
                    <a:pt x="709556" y="207320"/>
                    <a:pt x="711461" y="207955"/>
                    <a:pt x="713366" y="208590"/>
                  </a:cubicBezTo>
                  <a:cubicBezTo>
                    <a:pt x="717176" y="209860"/>
                    <a:pt x="721621" y="209860"/>
                    <a:pt x="725431" y="207955"/>
                  </a:cubicBezTo>
                  <a:cubicBezTo>
                    <a:pt x="729241" y="206050"/>
                    <a:pt x="731781" y="201605"/>
                    <a:pt x="733051" y="197160"/>
                  </a:cubicBezTo>
                  <a:cubicBezTo>
                    <a:pt x="742576" y="200970"/>
                    <a:pt x="757816" y="206050"/>
                    <a:pt x="766071" y="201605"/>
                  </a:cubicBezTo>
                  <a:cubicBezTo>
                    <a:pt x="770516" y="199065"/>
                    <a:pt x="774326" y="190175"/>
                    <a:pt x="774326" y="190175"/>
                  </a:cubicBezTo>
                  <a:cubicBezTo>
                    <a:pt x="779406" y="191445"/>
                    <a:pt x="799726" y="196525"/>
                    <a:pt x="810521" y="193350"/>
                  </a:cubicBezTo>
                  <a:cubicBezTo>
                    <a:pt x="818776" y="190810"/>
                    <a:pt x="821316" y="178110"/>
                    <a:pt x="821951" y="174300"/>
                  </a:cubicBezTo>
                  <a:cubicBezTo>
                    <a:pt x="823856" y="174300"/>
                    <a:pt x="849256" y="177475"/>
                    <a:pt x="861321" y="173665"/>
                  </a:cubicBezTo>
                  <a:cubicBezTo>
                    <a:pt x="867671" y="171760"/>
                    <a:pt x="869576" y="162235"/>
                    <a:pt x="870846" y="154615"/>
                  </a:cubicBezTo>
                  <a:cubicBezTo>
                    <a:pt x="882276" y="156520"/>
                    <a:pt x="896246" y="156520"/>
                    <a:pt x="903866" y="155250"/>
                  </a:cubicBezTo>
                  <a:cubicBezTo>
                    <a:pt x="912756" y="153980"/>
                    <a:pt x="913391" y="146995"/>
                    <a:pt x="918471" y="131120"/>
                  </a:cubicBezTo>
                  <a:cubicBezTo>
                    <a:pt x="924822" y="130485"/>
                    <a:pt x="945141" y="128580"/>
                    <a:pt x="948951" y="126675"/>
                  </a:cubicBezTo>
                  <a:cubicBezTo>
                    <a:pt x="953397" y="124770"/>
                    <a:pt x="953397" y="115245"/>
                    <a:pt x="954666" y="104450"/>
                  </a:cubicBezTo>
                  <a:cubicBezTo>
                    <a:pt x="962286" y="102545"/>
                    <a:pt x="978161" y="98100"/>
                    <a:pt x="983241" y="96195"/>
                  </a:cubicBezTo>
                  <a:cubicBezTo>
                    <a:pt x="986416" y="94925"/>
                    <a:pt x="985147" y="86035"/>
                    <a:pt x="983876" y="76510"/>
                  </a:cubicBezTo>
                  <a:cubicBezTo>
                    <a:pt x="998481" y="72065"/>
                    <a:pt x="1008006" y="69525"/>
                    <a:pt x="1009911" y="66350"/>
                  </a:cubicBezTo>
                  <a:cubicBezTo>
                    <a:pt x="1011181" y="65080"/>
                    <a:pt x="1005466" y="51745"/>
                    <a:pt x="1003561" y="46665"/>
                  </a:cubicBezTo>
                  <a:cubicBezTo>
                    <a:pt x="1003561" y="46665"/>
                    <a:pt x="1012451" y="44125"/>
                    <a:pt x="1030866" y="33965"/>
                  </a:cubicBezTo>
                  <a:cubicBezTo>
                    <a:pt x="1028961" y="30790"/>
                    <a:pt x="1032136" y="29520"/>
                    <a:pt x="1030231" y="27615"/>
                  </a:cubicBezTo>
                </a:path>
              </a:pathLst>
            </a:custGeom>
            <a:solidFill>
              <a:srgbClr val="002733"/>
            </a:solidFill>
            <a:ln w="6350" cap="flat">
              <a:noFill/>
              <a:prstDash val="solid"/>
              <a:miter/>
            </a:ln>
          </p:spPr>
          <p:txBody>
            <a:bodyPr rtlCol="0" anchor="ctr"/>
            <a:lstStyle/>
            <a:p>
              <a:endParaRPr lang="en-GB"/>
            </a:p>
          </p:txBody>
        </p:sp>
        <p:sp>
          <p:nvSpPr>
            <p:cNvPr id="129" name="Freeform 128"/>
            <p:cNvSpPr/>
            <p:nvPr/>
          </p:nvSpPr>
          <p:spPr>
            <a:xfrm>
              <a:off x="4430346" y="3255591"/>
              <a:ext cx="155007" cy="153742"/>
            </a:xfrm>
            <a:custGeom>
              <a:avLst/>
              <a:gdLst>
                <a:gd name="connsiteX0" fmla="*/ 132514 w 155007"/>
                <a:gd name="connsiteY0" fmla="*/ 74024 h 153742"/>
                <a:gd name="connsiteX1" fmla="*/ 130609 w 155007"/>
                <a:gd name="connsiteY1" fmla="*/ 72118 h 153742"/>
                <a:gd name="connsiteX2" fmla="*/ 132514 w 155007"/>
                <a:gd name="connsiteY2" fmla="*/ 69578 h 153742"/>
                <a:gd name="connsiteX3" fmla="*/ 150929 w 155007"/>
                <a:gd name="connsiteY3" fmla="*/ 39733 h 153742"/>
                <a:gd name="connsiteX4" fmla="*/ 74729 w 155007"/>
                <a:gd name="connsiteY4" fmla="*/ -272 h 153742"/>
                <a:gd name="connsiteX5" fmla="*/ 7419 w 155007"/>
                <a:gd name="connsiteY5" fmla="*/ 21953 h 153742"/>
                <a:gd name="connsiteX6" fmla="*/ -201 w 155007"/>
                <a:gd name="connsiteY6" fmla="*/ 30843 h 153742"/>
                <a:gd name="connsiteX7" fmla="*/ 2974 w 155007"/>
                <a:gd name="connsiteY7" fmla="*/ 35288 h 153742"/>
                <a:gd name="connsiteX8" fmla="*/ 9324 w 155007"/>
                <a:gd name="connsiteY8" fmla="*/ 42274 h 153742"/>
                <a:gd name="connsiteX9" fmla="*/ 9324 w 155007"/>
                <a:gd name="connsiteY9" fmla="*/ 114028 h 153742"/>
                <a:gd name="connsiteX10" fmla="*/ 2974 w 155007"/>
                <a:gd name="connsiteY10" fmla="*/ 120378 h 153742"/>
                <a:gd name="connsiteX11" fmla="*/ -201 w 155007"/>
                <a:gd name="connsiteY11" fmla="*/ 124824 h 153742"/>
                <a:gd name="connsiteX12" fmla="*/ 8689 w 155007"/>
                <a:gd name="connsiteY12" fmla="*/ 133078 h 153742"/>
                <a:gd name="connsiteX13" fmla="*/ 77904 w 155007"/>
                <a:gd name="connsiteY13" fmla="*/ 153399 h 153742"/>
                <a:gd name="connsiteX14" fmla="*/ 154739 w 155007"/>
                <a:gd name="connsiteY14" fmla="*/ 108949 h 153742"/>
                <a:gd name="connsiteX15" fmla="*/ 132514 w 155007"/>
                <a:gd name="connsiteY15" fmla="*/ 74024 h 153742"/>
                <a:gd name="connsiteX16" fmla="*/ 77269 w 155007"/>
                <a:gd name="connsiteY16" fmla="*/ 10524 h 153742"/>
                <a:gd name="connsiteX17" fmla="*/ 110924 w 155007"/>
                <a:gd name="connsiteY17" fmla="*/ 40368 h 153742"/>
                <a:gd name="connsiteX18" fmla="*/ 79174 w 155007"/>
                <a:gd name="connsiteY18" fmla="*/ 70849 h 153742"/>
                <a:gd name="connsiteX19" fmla="*/ 46789 w 155007"/>
                <a:gd name="connsiteY19" fmla="*/ 41003 h 153742"/>
                <a:gd name="connsiteX20" fmla="*/ 77269 w 155007"/>
                <a:gd name="connsiteY20" fmla="*/ 10524 h 153742"/>
                <a:gd name="connsiteX21" fmla="*/ 81079 w 155007"/>
                <a:gd name="connsiteY21" fmla="*/ 143238 h 153742"/>
                <a:gd name="connsiteX22" fmla="*/ 46154 w 155007"/>
                <a:gd name="connsiteY22" fmla="*/ 110853 h 153742"/>
                <a:gd name="connsiteX23" fmla="*/ 79174 w 155007"/>
                <a:gd name="connsiteY23" fmla="*/ 77833 h 153742"/>
                <a:gd name="connsiteX24" fmla="*/ 115369 w 155007"/>
                <a:gd name="connsiteY24" fmla="*/ 110218 h 153742"/>
                <a:gd name="connsiteX25" fmla="*/ 81079 w 155007"/>
                <a:gd name="connsiteY25" fmla="*/ 143238 h 15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5007" h="153742">
                  <a:moveTo>
                    <a:pt x="132514" y="74024"/>
                  </a:moveTo>
                  <a:cubicBezTo>
                    <a:pt x="131879" y="73388"/>
                    <a:pt x="131244" y="73388"/>
                    <a:pt x="130609" y="72118"/>
                  </a:cubicBezTo>
                  <a:cubicBezTo>
                    <a:pt x="130609" y="71483"/>
                    <a:pt x="131244" y="70849"/>
                    <a:pt x="132514" y="69578"/>
                  </a:cubicBezTo>
                  <a:cubicBezTo>
                    <a:pt x="140134" y="64499"/>
                    <a:pt x="151564" y="58149"/>
                    <a:pt x="150929" y="39733"/>
                  </a:cubicBezTo>
                  <a:cubicBezTo>
                    <a:pt x="150294" y="20049"/>
                    <a:pt x="127434" y="-1542"/>
                    <a:pt x="74729" y="-272"/>
                  </a:cubicBezTo>
                  <a:cubicBezTo>
                    <a:pt x="48059" y="363"/>
                    <a:pt x="22024" y="8618"/>
                    <a:pt x="7419" y="21953"/>
                  </a:cubicBezTo>
                  <a:cubicBezTo>
                    <a:pt x="4879" y="23858"/>
                    <a:pt x="-836" y="28938"/>
                    <a:pt x="-201" y="30843"/>
                  </a:cubicBezTo>
                  <a:cubicBezTo>
                    <a:pt x="-201" y="32113"/>
                    <a:pt x="1069" y="33383"/>
                    <a:pt x="2974" y="35288"/>
                  </a:cubicBezTo>
                  <a:cubicBezTo>
                    <a:pt x="5514" y="37828"/>
                    <a:pt x="9324" y="42274"/>
                    <a:pt x="9324" y="42274"/>
                  </a:cubicBezTo>
                  <a:lnTo>
                    <a:pt x="9324" y="114028"/>
                  </a:lnTo>
                  <a:cubicBezTo>
                    <a:pt x="7419" y="115933"/>
                    <a:pt x="5514" y="117838"/>
                    <a:pt x="2974" y="120378"/>
                  </a:cubicBezTo>
                  <a:cubicBezTo>
                    <a:pt x="1704" y="121649"/>
                    <a:pt x="-201" y="122918"/>
                    <a:pt x="-201" y="124824"/>
                  </a:cubicBezTo>
                  <a:cubicBezTo>
                    <a:pt x="-201" y="126093"/>
                    <a:pt x="6149" y="131174"/>
                    <a:pt x="8689" y="133078"/>
                  </a:cubicBezTo>
                  <a:cubicBezTo>
                    <a:pt x="18849" y="140699"/>
                    <a:pt x="43614" y="152128"/>
                    <a:pt x="77904" y="153399"/>
                  </a:cubicBezTo>
                  <a:cubicBezTo>
                    <a:pt x="121084" y="154033"/>
                    <a:pt x="154739" y="138793"/>
                    <a:pt x="154739" y="108949"/>
                  </a:cubicBezTo>
                  <a:cubicBezTo>
                    <a:pt x="155374" y="90533"/>
                    <a:pt x="140134" y="79103"/>
                    <a:pt x="132514" y="74024"/>
                  </a:cubicBezTo>
                  <a:moveTo>
                    <a:pt x="77269" y="10524"/>
                  </a:moveTo>
                  <a:cubicBezTo>
                    <a:pt x="88699" y="10524"/>
                    <a:pt x="111559" y="11793"/>
                    <a:pt x="110924" y="40368"/>
                  </a:cubicBezTo>
                  <a:cubicBezTo>
                    <a:pt x="110289" y="63863"/>
                    <a:pt x="96954" y="70849"/>
                    <a:pt x="79174" y="70849"/>
                  </a:cubicBezTo>
                  <a:cubicBezTo>
                    <a:pt x="60124" y="70213"/>
                    <a:pt x="47424" y="64499"/>
                    <a:pt x="46789" y="41003"/>
                  </a:cubicBezTo>
                  <a:cubicBezTo>
                    <a:pt x="45519" y="14968"/>
                    <a:pt x="64569" y="10524"/>
                    <a:pt x="77269" y="10524"/>
                  </a:cubicBezTo>
                  <a:moveTo>
                    <a:pt x="81079" y="143238"/>
                  </a:moveTo>
                  <a:cubicBezTo>
                    <a:pt x="60759" y="142603"/>
                    <a:pt x="47424" y="136253"/>
                    <a:pt x="46154" y="110853"/>
                  </a:cubicBezTo>
                  <a:cubicBezTo>
                    <a:pt x="44884" y="84183"/>
                    <a:pt x="65839" y="78468"/>
                    <a:pt x="79174" y="77833"/>
                  </a:cubicBezTo>
                  <a:cubicBezTo>
                    <a:pt x="91239" y="77833"/>
                    <a:pt x="116004" y="79103"/>
                    <a:pt x="115369" y="110218"/>
                  </a:cubicBezTo>
                  <a:cubicBezTo>
                    <a:pt x="114099" y="136253"/>
                    <a:pt x="100129" y="143874"/>
                    <a:pt x="81079" y="143238"/>
                  </a:cubicBezTo>
                </a:path>
              </a:pathLst>
            </a:custGeom>
            <a:solidFill>
              <a:srgbClr val="FFFFFF"/>
            </a:solidFill>
            <a:ln w="6350" cap="flat">
              <a:noFill/>
              <a:prstDash val="solid"/>
              <a:miter/>
            </a:ln>
          </p:spPr>
          <p:txBody>
            <a:bodyPr rtlCol="0" anchor="ctr"/>
            <a:lstStyle/>
            <a:p>
              <a:endParaRPr lang="en-GB"/>
            </a:p>
          </p:txBody>
        </p:sp>
        <p:sp>
          <p:nvSpPr>
            <p:cNvPr id="130" name="Freeform 129"/>
            <p:cNvSpPr/>
            <p:nvPr/>
          </p:nvSpPr>
          <p:spPr>
            <a:xfrm>
              <a:off x="4590415" y="3374390"/>
              <a:ext cx="93979" cy="95250"/>
            </a:xfrm>
            <a:custGeom>
              <a:avLst/>
              <a:gdLst>
                <a:gd name="connsiteX0" fmla="*/ 37215 w 93979"/>
                <a:gd name="connsiteY0" fmla="*/ 65715 h 95250"/>
                <a:gd name="connsiteX1" fmla="*/ -250 w 93979"/>
                <a:gd name="connsiteY1" fmla="*/ 87940 h 95250"/>
                <a:gd name="connsiteX2" fmla="*/ 1655 w 93979"/>
                <a:gd name="connsiteY2" fmla="*/ 91115 h 95250"/>
                <a:gd name="connsiteX3" fmla="*/ 2925 w 93979"/>
                <a:gd name="connsiteY3" fmla="*/ 94925 h 95250"/>
                <a:gd name="connsiteX4" fmla="*/ 41660 w 93979"/>
                <a:gd name="connsiteY4" fmla="*/ 71430 h 95250"/>
                <a:gd name="connsiteX5" fmla="*/ 93730 w 93979"/>
                <a:gd name="connsiteY5" fmla="*/ -325 h 95250"/>
                <a:gd name="connsiteX6" fmla="*/ 86110 w 93979"/>
                <a:gd name="connsiteY6" fmla="*/ 310 h 95250"/>
                <a:gd name="connsiteX7" fmla="*/ 37215 w 93979"/>
                <a:gd name="connsiteY7" fmla="*/ 65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79" h="95250">
                  <a:moveTo>
                    <a:pt x="37215" y="65715"/>
                  </a:moveTo>
                  <a:cubicBezTo>
                    <a:pt x="25785" y="74605"/>
                    <a:pt x="13085" y="82225"/>
                    <a:pt x="-250" y="87940"/>
                  </a:cubicBezTo>
                  <a:lnTo>
                    <a:pt x="1655" y="91115"/>
                  </a:lnTo>
                  <a:cubicBezTo>
                    <a:pt x="1655" y="91115"/>
                    <a:pt x="2290" y="92385"/>
                    <a:pt x="2925" y="94925"/>
                  </a:cubicBezTo>
                  <a:cubicBezTo>
                    <a:pt x="16895" y="88575"/>
                    <a:pt x="30230" y="80955"/>
                    <a:pt x="41660" y="71430"/>
                  </a:cubicBezTo>
                  <a:cubicBezTo>
                    <a:pt x="66425" y="51745"/>
                    <a:pt x="84205" y="26980"/>
                    <a:pt x="93730" y="-325"/>
                  </a:cubicBezTo>
                  <a:cubicBezTo>
                    <a:pt x="91190" y="310"/>
                    <a:pt x="88650" y="310"/>
                    <a:pt x="86110" y="310"/>
                  </a:cubicBezTo>
                  <a:cubicBezTo>
                    <a:pt x="76585" y="25710"/>
                    <a:pt x="60075" y="47935"/>
                    <a:pt x="37215" y="65715"/>
                  </a:cubicBezTo>
                </a:path>
              </a:pathLst>
            </a:custGeom>
            <a:solidFill>
              <a:srgbClr val="FFFFFF"/>
            </a:solidFill>
            <a:ln w="6350" cap="flat">
              <a:noFill/>
              <a:prstDash val="solid"/>
              <a:miter/>
            </a:ln>
          </p:spPr>
          <p:txBody>
            <a:bodyPr rtlCol="0" anchor="ctr"/>
            <a:lstStyle/>
            <a:p>
              <a:endParaRPr lang="en-GB"/>
            </a:p>
          </p:txBody>
        </p:sp>
        <p:sp>
          <p:nvSpPr>
            <p:cNvPr id="131" name="Freeform 130"/>
            <p:cNvSpPr/>
            <p:nvPr/>
          </p:nvSpPr>
          <p:spPr>
            <a:xfrm>
              <a:off x="4424045" y="3176270"/>
              <a:ext cx="166370" cy="22225"/>
            </a:xfrm>
            <a:custGeom>
              <a:avLst/>
              <a:gdLst>
                <a:gd name="connsiteX0" fmla="*/ 81665 w 166370"/>
                <a:gd name="connsiteY0" fmla="*/ 7295 h 22225"/>
                <a:gd name="connsiteX1" fmla="*/ 159135 w 166370"/>
                <a:gd name="connsiteY1" fmla="*/ 21900 h 22225"/>
                <a:gd name="connsiteX2" fmla="*/ 166120 w 166370"/>
                <a:gd name="connsiteY2" fmla="*/ 16820 h 22225"/>
                <a:gd name="connsiteX3" fmla="*/ 81665 w 166370"/>
                <a:gd name="connsiteY3" fmla="*/ -325 h 22225"/>
                <a:gd name="connsiteX4" fmla="*/ -250 w 166370"/>
                <a:gd name="connsiteY4" fmla="*/ 15550 h 22225"/>
                <a:gd name="connsiteX5" fmla="*/ 7370 w 166370"/>
                <a:gd name="connsiteY5" fmla="*/ 19995 h 22225"/>
                <a:gd name="connsiteX6" fmla="*/ 81665 w 166370"/>
                <a:gd name="connsiteY6" fmla="*/ 7295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370" h="22225">
                  <a:moveTo>
                    <a:pt x="81665" y="7295"/>
                  </a:moveTo>
                  <a:cubicBezTo>
                    <a:pt x="108970" y="7295"/>
                    <a:pt x="135005" y="12375"/>
                    <a:pt x="159135" y="21900"/>
                  </a:cubicBezTo>
                  <a:cubicBezTo>
                    <a:pt x="161040" y="19995"/>
                    <a:pt x="163580" y="18090"/>
                    <a:pt x="166120" y="16820"/>
                  </a:cubicBezTo>
                  <a:cubicBezTo>
                    <a:pt x="140085" y="6025"/>
                    <a:pt x="111510" y="-325"/>
                    <a:pt x="81665" y="-325"/>
                  </a:cubicBezTo>
                  <a:cubicBezTo>
                    <a:pt x="51820" y="-325"/>
                    <a:pt x="25150" y="5390"/>
                    <a:pt x="-250" y="15550"/>
                  </a:cubicBezTo>
                  <a:cubicBezTo>
                    <a:pt x="2290" y="16820"/>
                    <a:pt x="4830" y="18090"/>
                    <a:pt x="7370" y="19995"/>
                  </a:cubicBezTo>
                  <a:cubicBezTo>
                    <a:pt x="30865" y="11740"/>
                    <a:pt x="55630" y="7295"/>
                    <a:pt x="81665" y="7295"/>
                  </a:cubicBezTo>
                </a:path>
              </a:pathLst>
            </a:custGeom>
            <a:solidFill>
              <a:srgbClr val="FFFFFF"/>
            </a:solidFill>
            <a:ln w="6350" cap="flat">
              <a:noFill/>
              <a:prstDash val="solid"/>
              <a:miter/>
            </a:ln>
          </p:spPr>
          <p:txBody>
            <a:bodyPr rtlCol="0" anchor="ctr"/>
            <a:lstStyle/>
            <a:p>
              <a:endParaRPr lang="en-GB"/>
            </a:p>
          </p:txBody>
        </p:sp>
        <p:sp>
          <p:nvSpPr>
            <p:cNvPr id="132" name="Freeform 131"/>
            <p:cNvSpPr/>
            <p:nvPr/>
          </p:nvSpPr>
          <p:spPr>
            <a:xfrm>
              <a:off x="4327525" y="3373120"/>
              <a:ext cx="99059" cy="99059"/>
            </a:xfrm>
            <a:custGeom>
              <a:avLst/>
              <a:gdLst>
                <a:gd name="connsiteX0" fmla="*/ 8005 w 99059"/>
                <a:gd name="connsiteY0" fmla="*/ 1580 h 99059"/>
                <a:gd name="connsiteX1" fmla="*/ -250 w 99059"/>
                <a:gd name="connsiteY1" fmla="*/ -325 h 99059"/>
                <a:gd name="connsiteX2" fmla="*/ 52455 w 99059"/>
                <a:gd name="connsiteY2" fmla="*/ 73335 h 99059"/>
                <a:gd name="connsiteX3" fmla="*/ 96270 w 99059"/>
                <a:gd name="connsiteY3" fmla="*/ 98735 h 99059"/>
                <a:gd name="connsiteX4" fmla="*/ 98175 w 99059"/>
                <a:gd name="connsiteY4" fmla="*/ 92385 h 99059"/>
                <a:gd name="connsiteX5" fmla="*/ 98810 w 99059"/>
                <a:gd name="connsiteY5" fmla="*/ 91750 h 99059"/>
                <a:gd name="connsiteX6" fmla="*/ 56900 w 99059"/>
                <a:gd name="connsiteY6" fmla="*/ 67620 h 99059"/>
                <a:gd name="connsiteX7" fmla="*/ 8005 w 99059"/>
                <a:gd name="connsiteY7" fmla="*/ 1580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 h="99059">
                  <a:moveTo>
                    <a:pt x="8005" y="1580"/>
                  </a:moveTo>
                  <a:cubicBezTo>
                    <a:pt x="3560" y="1580"/>
                    <a:pt x="1020" y="310"/>
                    <a:pt x="-250" y="-325"/>
                  </a:cubicBezTo>
                  <a:cubicBezTo>
                    <a:pt x="8640" y="27615"/>
                    <a:pt x="27055" y="53650"/>
                    <a:pt x="52455" y="73335"/>
                  </a:cubicBezTo>
                  <a:cubicBezTo>
                    <a:pt x="65790" y="83495"/>
                    <a:pt x="80395" y="92385"/>
                    <a:pt x="96270" y="98735"/>
                  </a:cubicBezTo>
                  <a:cubicBezTo>
                    <a:pt x="96270" y="96830"/>
                    <a:pt x="96905" y="94925"/>
                    <a:pt x="98175" y="92385"/>
                  </a:cubicBezTo>
                  <a:cubicBezTo>
                    <a:pt x="98175" y="92385"/>
                    <a:pt x="98175" y="91750"/>
                    <a:pt x="98810" y="91750"/>
                  </a:cubicBezTo>
                  <a:cubicBezTo>
                    <a:pt x="83570" y="85400"/>
                    <a:pt x="69600" y="77145"/>
                    <a:pt x="56900" y="67620"/>
                  </a:cubicBezTo>
                  <a:cubicBezTo>
                    <a:pt x="33405" y="49205"/>
                    <a:pt x="16895" y="26345"/>
                    <a:pt x="8005" y="1580"/>
                  </a:cubicBezTo>
                </a:path>
              </a:pathLst>
            </a:custGeom>
            <a:solidFill>
              <a:srgbClr val="FFFFFF"/>
            </a:solidFill>
            <a:ln w="6350" cap="flat">
              <a:noFill/>
              <a:prstDash val="solid"/>
              <a:miter/>
            </a:ln>
          </p:spPr>
          <p:txBody>
            <a:bodyPr rtlCol="0" anchor="ctr"/>
            <a:lstStyle/>
            <a:p>
              <a:endParaRPr lang="en-GB"/>
            </a:p>
          </p:txBody>
        </p:sp>
        <p:sp>
          <p:nvSpPr>
            <p:cNvPr id="133" name="Freeform 132"/>
            <p:cNvSpPr/>
            <p:nvPr/>
          </p:nvSpPr>
          <p:spPr>
            <a:xfrm>
              <a:off x="4570095" y="3369945"/>
              <a:ext cx="99695" cy="86995"/>
            </a:xfrm>
            <a:custGeom>
              <a:avLst/>
              <a:gdLst>
                <a:gd name="connsiteX0" fmla="*/ 99445 w 99695"/>
                <a:gd name="connsiteY0" fmla="*/ 4755 h 86995"/>
                <a:gd name="connsiteX1" fmla="*/ 85475 w 99695"/>
                <a:gd name="connsiteY1" fmla="*/ -325 h 86995"/>
                <a:gd name="connsiteX2" fmla="*/ 84205 w 99695"/>
                <a:gd name="connsiteY2" fmla="*/ 3485 h 86995"/>
                <a:gd name="connsiteX3" fmla="*/ 70870 w 99695"/>
                <a:gd name="connsiteY3" fmla="*/ 9200 h 86995"/>
                <a:gd name="connsiteX4" fmla="*/ 68330 w 99695"/>
                <a:gd name="connsiteY4" fmla="*/ 9200 h 86995"/>
                <a:gd name="connsiteX5" fmla="*/ 62615 w 99695"/>
                <a:gd name="connsiteY5" fmla="*/ 7930 h 86995"/>
                <a:gd name="connsiteX6" fmla="*/ 60075 w 99695"/>
                <a:gd name="connsiteY6" fmla="*/ 7295 h 86995"/>
                <a:gd name="connsiteX7" fmla="*/ -250 w 99695"/>
                <a:gd name="connsiteY7" fmla="*/ 56825 h 86995"/>
                <a:gd name="connsiteX8" fmla="*/ 385 w 99695"/>
                <a:gd name="connsiteY8" fmla="*/ 60635 h 86995"/>
                <a:gd name="connsiteX9" fmla="*/ 15625 w 99695"/>
                <a:gd name="connsiteY9" fmla="*/ 86670 h 86995"/>
                <a:gd name="connsiteX10" fmla="*/ 52455 w 99695"/>
                <a:gd name="connsiteY10" fmla="*/ 65080 h 86995"/>
                <a:gd name="connsiteX11" fmla="*/ 99445 w 99695"/>
                <a:gd name="connsiteY11" fmla="*/ 475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695" h="86995">
                  <a:moveTo>
                    <a:pt x="99445" y="4755"/>
                  </a:moveTo>
                  <a:cubicBezTo>
                    <a:pt x="94365" y="4120"/>
                    <a:pt x="89920" y="2215"/>
                    <a:pt x="85475" y="-325"/>
                  </a:cubicBezTo>
                  <a:cubicBezTo>
                    <a:pt x="84840" y="945"/>
                    <a:pt x="84840" y="2215"/>
                    <a:pt x="84205" y="3485"/>
                  </a:cubicBezTo>
                  <a:cubicBezTo>
                    <a:pt x="81665" y="8565"/>
                    <a:pt x="75950" y="9835"/>
                    <a:pt x="70870" y="9200"/>
                  </a:cubicBezTo>
                  <a:cubicBezTo>
                    <a:pt x="70235" y="9200"/>
                    <a:pt x="69600" y="9200"/>
                    <a:pt x="68330" y="9200"/>
                  </a:cubicBezTo>
                  <a:cubicBezTo>
                    <a:pt x="66425" y="9200"/>
                    <a:pt x="64520" y="8565"/>
                    <a:pt x="62615" y="7930"/>
                  </a:cubicBezTo>
                  <a:cubicBezTo>
                    <a:pt x="61980" y="7930"/>
                    <a:pt x="61345" y="7295"/>
                    <a:pt x="60075" y="7295"/>
                  </a:cubicBezTo>
                  <a:cubicBezTo>
                    <a:pt x="47375" y="28885"/>
                    <a:pt x="26420" y="46030"/>
                    <a:pt x="-250" y="56825"/>
                  </a:cubicBezTo>
                  <a:cubicBezTo>
                    <a:pt x="-250" y="58095"/>
                    <a:pt x="-250" y="59365"/>
                    <a:pt x="385" y="60635"/>
                  </a:cubicBezTo>
                  <a:lnTo>
                    <a:pt x="15625" y="86670"/>
                  </a:lnTo>
                  <a:cubicBezTo>
                    <a:pt x="28960" y="80955"/>
                    <a:pt x="41025" y="73335"/>
                    <a:pt x="52455" y="65080"/>
                  </a:cubicBezTo>
                  <a:cubicBezTo>
                    <a:pt x="75315" y="48570"/>
                    <a:pt x="90555" y="27615"/>
                    <a:pt x="99445" y="4755"/>
                  </a:cubicBezTo>
                </a:path>
              </a:pathLst>
            </a:custGeom>
            <a:solidFill>
              <a:srgbClr val="FFFFFF"/>
            </a:solidFill>
            <a:ln w="6350" cap="flat">
              <a:noFill/>
              <a:prstDash val="solid"/>
              <a:miter/>
            </a:ln>
          </p:spPr>
          <p:txBody>
            <a:bodyPr rtlCol="0" anchor="ctr"/>
            <a:lstStyle/>
            <a:p>
              <a:endParaRPr lang="en-GB"/>
            </a:p>
          </p:txBody>
        </p:sp>
        <p:sp>
          <p:nvSpPr>
            <p:cNvPr id="134" name="Freeform 133"/>
            <p:cNvSpPr/>
            <p:nvPr/>
          </p:nvSpPr>
          <p:spPr>
            <a:xfrm>
              <a:off x="4398833" y="3190240"/>
              <a:ext cx="219968" cy="80009"/>
            </a:xfrm>
            <a:custGeom>
              <a:avLst/>
              <a:gdLst>
                <a:gd name="connsiteX0" fmla="*/ 29407 w 219968"/>
                <a:gd name="connsiteY0" fmla="*/ 38410 h 80009"/>
                <a:gd name="connsiteX1" fmla="*/ 19247 w 219968"/>
                <a:gd name="connsiteY1" fmla="*/ 49205 h 80009"/>
                <a:gd name="connsiteX2" fmla="*/ 12897 w 219968"/>
                <a:gd name="connsiteY2" fmla="*/ 55555 h 80009"/>
                <a:gd name="connsiteX3" fmla="*/ 11627 w 219968"/>
                <a:gd name="connsiteY3" fmla="*/ 56825 h 80009"/>
                <a:gd name="connsiteX4" fmla="*/ 197 w 219968"/>
                <a:gd name="connsiteY4" fmla="*/ 77145 h 80009"/>
                <a:gd name="connsiteX5" fmla="*/ 832 w 219968"/>
                <a:gd name="connsiteY5" fmla="*/ 77780 h 80009"/>
                <a:gd name="connsiteX6" fmla="*/ 1467 w 219968"/>
                <a:gd name="connsiteY6" fmla="*/ 79050 h 80009"/>
                <a:gd name="connsiteX7" fmla="*/ 109417 w 219968"/>
                <a:gd name="connsiteY7" fmla="*/ 36505 h 80009"/>
                <a:gd name="connsiteX8" fmla="*/ 218002 w 219968"/>
                <a:gd name="connsiteY8" fmla="*/ 79685 h 80009"/>
                <a:gd name="connsiteX9" fmla="*/ 218637 w 219968"/>
                <a:gd name="connsiteY9" fmla="*/ 78415 h 80009"/>
                <a:gd name="connsiteX10" fmla="*/ 219272 w 219968"/>
                <a:gd name="connsiteY10" fmla="*/ 77780 h 80009"/>
                <a:gd name="connsiteX11" fmla="*/ 207842 w 219968"/>
                <a:gd name="connsiteY11" fmla="*/ 57460 h 80009"/>
                <a:gd name="connsiteX12" fmla="*/ 206572 w 219968"/>
                <a:gd name="connsiteY12" fmla="*/ 56190 h 80009"/>
                <a:gd name="connsiteX13" fmla="*/ 200222 w 219968"/>
                <a:gd name="connsiteY13" fmla="*/ 49840 h 80009"/>
                <a:gd name="connsiteX14" fmla="*/ 190062 w 219968"/>
                <a:gd name="connsiteY14" fmla="*/ 39045 h 80009"/>
                <a:gd name="connsiteX15" fmla="*/ 189427 w 219968"/>
                <a:gd name="connsiteY15" fmla="*/ 37775 h 80009"/>
                <a:gd name="connsiteX16" fmla="*/ 180537 w 219968"/>
                <a:gd name="connsiteY16" fmla="*/ 18725 h 80009"/>
                <a:gd name="connsiteX17" fmla="*/ 181807 w 219968"/>
                <a:gd name="connsiteY17" fmla="*/ 13645 h 80009"/>
                <a:gd name="connsiteX18" fmla="*/ 108147 w 219968"/>
                <a:gd name="connsiteY18" fmla="*/ -325 h 80009"/>
                <a:gd name="connsiteX19" fmla="*/ 38297 w 219968"/>
                <a:gd name="connsiteY19" fmla="*/ 11740 h 80009"/>
                <a:gd name="connsiteX20" fmla="*/ 40202 w 219968"/>
                <a:gd name="connsiteY20" fmla="*/ 18725 h 80009"/>
                <a:gd name="connsiteX21" fmla="*/ 31312 w 219968"/>
                <a:gd name="connsiteY21" fmla="*/ 37775 h 80009"/>
                <a:gd name="connsiteX22" fmla="*/ 29407 w 219968"/>
                <a:gd name="connsiteY22" fmla="*/ 38410 h 80009"/>
                <a:gd name="connsiteX23" fmla="*/ 29407 w 219968"/>
                <a:gd name="connsiteY23" fmla="*/ 38410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968" h="80009">
                  <a:moveTo>
                    <a:pt x="29407" y="38410"/>
                  </a:moveTo>
                  <a:cubicBezTo>
                    <a:pt x="26232" y="42220"/>
                    <a:pt x="22422" y="45395"/>
                    <a:pt x="19247" y="49205"/>
                  </a:cubicBezTo>
                  <a:cubicBezTo>
                    <a:pt x="16707" y="51110"/>
                    <a:pt x="14802" y="53650"/>
                    <a:pt x="12897" y="55555"/>
                  </a:cubicBezTo>
                  <a:cubicBezTo>
                    <a:pt x="12262" y="56190"/>
                    <a:pt x="12262" y="56190"/>
                    <a:pt x="11627" y="56825"/>
                  </a:cubicBezTo>
                  <a:cubicBezTo>
                    <a:pt x="6547" y="61905"/>
                    <a:pt x="-2343" y="71430"/>
                    <a:pt x="197" y="77145"/>
                  </a:cubicBezTo>
                  <a:cubicBezTo>
                    <a:pt x="197" y="77145"/>
                    <a:pt x="197" y="77780"/>
                    <a:pt x="832" y="77780"/>
                  </a:cubicBezTo>
                  <a:cubicBezTo>
                    <a:pt x="832" y="78415"/>
                    <a:pt x="1467" y="78415"/>
                    <a:pt x="1467" y="79050"/>
                  </a:cubicBezTo>
                  <a:cubicBezTo>
                    <a:pt x="26232" y="53015"/>
                    <a:pt x="65602" y="36505"/>
                    <a:pt x="109417" y="36505"/>
                  </a:cubicBezTo>
                  <a:cubicBezTo>
                    <a:pt x="153867" y="36505"/>
                    <a:pt x="193237" y="53650"/>
                    <a:pt x="218002" y="79685"/>
                  </a:cubicBezTo>
                  <a:cubicBezTo>
                    <a:pt x="218002" y="79050"/>
                    <a:pt x="218637" y="79050"/>
                    <a:pt x="218637" y="78415"/>
                  </a:cubicBezTo>
                  <a:cubicBezTo>
                    <a:pt x="218637" y="78415"/>
                    <a:pt x="218637" y="77780"/>
                    <a:pt x="219272" y="77780"/>
                  </a:cubicBezTo>
                  <a:cubicBezTo>
                    <a:pt x="221812" y="72065"/>
                    <a:pt x="212922" y="62540"/>
                    <a:pt x="207842" y="57460"/>
                  </a:cubicBezTo>
                  <a:cubicBezTo>
                    <a:pt x="207207" y="56825"/>
                    <a:pt x="207207" y="56190"/>
                    <a:pt x="206572" y="56190"/>
                  </a:cubicBezTo>
                  <a:cubicBezTo>
                    <a:pt x="204667" y="54285"/>
                    <a:pt x="202127" y="51745"/>
                    <a:pt x="200222" y="49840"/>
                  </a:cubicBezTo>
                  <a:cubicBezTo>
                    <a:pt x="197047" y="46665"/>
                    <a:pt x="193237" y="42855"/>
                    <a:pt x="190062" y="39045"/>
                  </a:cubicBezTo>
                  <a:lnTo>
                    <a:pt x="189427" y="37775"/>
                  </a:lnTo>
                  <a:cubicBezTo>
                    <a:pt x="185617" y="33330"/>
                    <a:pt x="179902" y="26980"/>
                    <a:pt x="180537" y="18725"/>
                  </a:cubicBezTo>
                  <a:cubicBezTo>
                    <a:pt x="180537" y="16820"/>
                    <a:pt x="181172" y="14915"/>
                    <a:pt x="181807" y="13645"/>
                  </a:cubicBezTo>
                  <a:cubicBezTo>
                    <a:pt x="158947" y="4755"/>
                    <a:pt x="133547" y="-325"/>
                    <a:pt x="108147" y="-325"/>
                  </a:cubicBezTo>
                  <a:cubicBezTo>
                    <a:pt x="84017" y="-325"/>
                    <a:pt x="59887" y="4120"/>
                    <a:pt x="38297" y="11740"/>
                  </a:cubicBezTo>
                  <a:cubicBezTo>
                    <a:pt x="39567" y="13645"/>
                    <a:pt x="40202" y="16185"/>
                    <a:pt x="40202" y="18725"/>
                  </a:cubicBezTo>
                  <a:cubicBezTo>
                    <a:pt x="40837" y="26980"/>
                    <a:pt x="35122" y="33330"/>
                    <a:pt x="31312" y="37775"/>
                  </a:cubicBezTo>
                  <a:lnTo>
                    <a:pt x="29407" y="38410"/>
                  </a:lnTo>
                  <a:lnTo>
                    <a:pt x="29407" y="38410"/>
                  </a:lnTo>
                  <a:close/>
                </a:path>
              </a:pathLst>
            </a:custGeom>
            <a:solidFill>
              <a:srgbClr val="FFFFFF"/>
            </a:solidFill>
            <a:ln w="6350" cap="flat">
              <a:noFill/>
              <a:prstDash val="solid"/>
              <a:miter/>
            </a:ln>
          </p:spPr>
          <p:txBody>
            <a:bodyPr rtlCol="0" anchor="ctr"/>
            <a:lstStyle/>
            <a:p>
              <a:endParaRPr lang="en-GB"/>
            </a:p>
          </p:txBody>
        </p:sp>
        <p:sp>
          <p:nvSpPr>
            <p:cNvPr id="135" name="Freeform 134"/>
            <p:cNvSpPr/>
            <p:nvPr/>
          </p:nvSpPr>
          <p:spPr>
            <a:xfrm>
              <a:off x="4341495" y="3368675"/>
              <a:ext cx="106045" cy="90170"/>
            </a:xfrm>
            <a:custGeom>
              <a:avLst/>
              <a:gdLst>
                <a:gd name="connsiteX0" fmla="*/ 105795 w 106045"/>
                <a:gd name="connsiteY0" fmla="*/ 59365 h 90170"/>
                <a:gd name="connsiteX1" fmla="*/ 41025 w 106045"/>
                <a:gd name="connsiteY1" fmla="*/ 4755 h 90170"/>
                <a:gd name="connsiteX2" fmla="*/ 30865 w 106045"/>
                <a:gd name="connsiteY2" fmla="*/ 7295 h 90170"/>
                <a:gd name="connsiteX3" fmla="*/ 26420 w 106045"/>
                <a:gd name="connsiteY3" fmla="*/ 6660 h 90170"/>
                <a:gd name="connsiteX4" fmla="*/ 20070 w 106045"/>
                <a:gd name="connsiteY4" fmla="*/ 3485 h 90170"/>
                <a:gd name="connsiteX5" fmla="*/ 16895 w 106045"/>
                <a:gd name="connsiteY5" fmla="*/ -325 h 90170"/>
                <a:gd name="connsiteX6" fmla="*/ 1655 w 106045"/>
                <a:gd name="connsiteY6" fmla="*/ 4120 h 90170"/>
                <a:gd name="connsiteX7" fmla="*/ -250 w 106045"/>
                <a:gd name="connsiteY7" fmla="*/ 4755 h 90170"/>
                <a:gd name="connsiteX8" fmla="*/ 46105 w 106045"/>
                <a:gd name="connsiteY8" fmla="*/ 66350 h 90170"/>
                <a:gd name="connsiteX9" fmla="*/ 87380 w 106045"/>
                <a:gd name="connsiteY9" fmla="*/ 89845 h 90170"/>
                <a:gd name="connsiteX10" fmla="*/ 104525 w 106045"/>
                <a:gd name="connsiteY10" fmla="*/ 61905 h 90170"/>
                <a:gd name="connsiteX11" fmla="*/ 105795 w 106045"/>
                <a:gd name="connsiteY11" fmla="*/ 59365 h 9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045" h="90170">
                  <a:moveTo>
                    <a:pt x="105795" y="59365"/>
                  </a:moveTo>
                  <a:cubicBezTo>
                    <a:pt x="76585" y="47935"/>
                    <a:pt x="53725" y="28250"/>
                    <a:pt x="41025" y="4755"/>
                  </a:cubicBezTo>
                  <a:cubicBezTo>
                    <a:pt x="37850" y="6660"/>
                    <a:pt x="34040" y="7295"/>
                    <a:pt x="30865" y="7295"/>
                  </a:cubicBezTo>
                  <a:cubicBezTo>
                    <a:pt x="29595" y="7295"/>
                    <a:pt x="27690" y="7295"/>
                    <a:pt x="26420" y="6660"/>
                  </a:cubicBezTo>
                  <a:cubicBezTo>
                    <a:pt x="23880" y="6025"/>
                    <a:pt x="21975" y="4755"/>
                    <a:pt x="20070" y="3485"/>
                  </a:cubicBezTo>
                  <a:cubicBezTo>
                    <a:pt x="20070" y="3485"/>
                    <a:pt x="18165" y="1580"/>
                    <a:pt x="16895" y="-325"/>
                  </a:cubicBezTo>
                  <a:cubicBezTo>
                    <a:pt x="9910" y="2215"/>
                    <a:pt x="6100" y="2850"/>
                    <a:pt x="1655" y="4120"/>
                  </a:cubicBezTo>
                  <a:cubicBezTo>
                    <a:pt x="1020" y="4120"/>
                    <a:pt x="385" y="4120"/>
                    <a:pt x="-250" y="4755"/>
                  </a:cubicBezTo>
                  <a:cubicBezTo>
                    <a:pt x="8640" y="28250"/>
                    <a:pt x="23880" y="49205"/>
                    <a:pt x="46105" y="66350"/>
                  </a:cubicBezTo>
                  <a:cubicBezTo>
                    <a:pt x="58805" y="75875"/>
                    <a:pt x="72140" y="84130"/>
                    <a:pt x="87380" y="89845"/>
                  </a:cubicBezTo>
                  <a:cubicBezTo>
                    <a:pt x="91825" y="82225"/>
                    <a:pt x="99445" y="70160"/>
                    <a:pt x="104525" y="61905"/>
                  </a:cubicBezTo>
                  <a:cubicBezTo>
                    <a:pt x="104525" y="62540"/>
                    <a:pt x="105795" y="61270"/>
                    <a:pt x="105795" y="59365"/>
                  </a:cubicBezTo>
                </a:path>
              </a:pathLst>
            </a:custGeom>
            <a:solidFill>
              <a:srgbClr val="FFFFFF"/>
            </a:solidFill>
            <a:ln w="6350" cap="flat">
              <a:noFill/>
              <a:prstDash val="solid"/>
              <a:miter/>
            </a:ln>
          </p:spPr>
          <p:txBody>
            <a:bodyPr rtlCol="0" anchor="ctr"/>
            <a:lstStyle/>
            <a:p>
              <a:endParaRPr lang="en-GB"/>
            </a:p>
          </p:txBody>
        </p:sp>
        <p:sp>
          <p:nvSpPr>
            <p:cNvPr id="136" name="Freeform 135"/>
            <p:cNvSpPr/>
            <p:nvPr/>
          </p:nvSpPr>
          <p:spPr>
            <a:xfrm>
              <a:off x="4520565" y="3438525"/>
              <a:ext cx="18042" cy="50800"/>
            </a:xfrm>
            <a:custGeom>
              <a:avLst/>
              <a:gdLst>
                <a:gd name="connsiteX0" fmla="*/ 10545 w 18042"/>
                <a:gd name="connsiteY0" fmla="*/ 945 h 50800"/>
                <a:gd name="connsiteX1" fmla="*/ 9910 w 18042"/>
                <a:gd name="connsiteY1" fmla="*/ -325 h 50800"/>
                <a:gd name="connsiteX2" fmla="*/ 385 w 18042"/>
                <a:gd name="connsiteY2" fmla="*/ 945 h 50800"/>
                <a:gd name="connsiteX3" fmla="*/ -250 w 18042"/>
                <a:gd name="connsiteY3" fmla="*/ 2850 h 50800"/>
                <a:gd name="connsiteX4" fmla="*/ 1655 w 18042"/>
                <a:gd name="connsiteY4" fmla="*/ 35870 h 50800"/>
                <a:gd name="connsiteX5" fmla="*/ 2925 w 18042"/>
                <a:gd name="connsiteY5" fmla="*/ 44760 h 50800"/>
                <a:gd name="connsiteX6" fmla="*/ 11180 w 18042"/>
                <a:gd name="connsiteY6" fmla="*/ 50475 h 50800"/>
                <a:gd name="connsiteX7" fmla="*/ 17530 w 18042"/>
                <a:gd name="connsiteY7" fmla="*/ 44125 h 50800"/>
                <a:gd name="connsiteX8" fmla="*/ 16895 w 18042"/>
                <a:gd name="connsiteY8" fmla="*/ 33965 h 50800"/>
                <a:gd name="connsiteX9" fmla="*/ 10545 w 18042"/>
                <a:gd name="connsiteY9" fmla="*/ 945 h 5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2" h="50800">
                  <a:moveTo>
                    <a:pt x="10545" y="945"/>
                  </a:moveTo>
                  <a:cubicBezTo>
                    <a:pt x="10545" y="310"/>
                    <a:pt x="9910" y="310"/>
                    <a:pt x="9910" y="-325"/>
                  </a:cubicBezTo>
                  <a:cubicBezTo>
                    <a:pt x="6735" y="310"/>
                    <a:pt x="3560" y="310"/>
                    <a:pt x="385" y="945"/>
                  </a:cubicBezTo>
                  <a:cubicBezTo>
                    <a:pt x="385" y="1580"/>
                    <a:pt x="-250" y="2215"/>
                    <a:pt x="-250" y="2850"/>
                  </a:cubicBezTo>
                  <a:cubicBezTo>
                    <a:pt x="-250" y="5390"/>
                    <a:pt x="1020" y="26980"/>
                    <a:pt x="1655" y="35870"/>
                  </a:cubicBezTo>
                  <a:cubicBezTo>
                    <a:pt x="1655" y="39045"/>
                    <a:pt x="1655" y="42220"/>
                    <a:pt x="2925" y="44760"/>
                  </a:cubicBezTo>
                  <a:cubicBezTo>
                    <a:pt x="3560" y="46665"/>
                    <a:pt x="8640" y="50475"/>
                    <a:pt x="11180" y="50475"/>
                  </a:cubicBezTo>
                  <a:cubicBezTo>
                    <a:pt x="14355" y="49840"/>
                    <a:pt x="16895" y="46665"/>
                    <a:pt x="17530" y="44125"/>
                  </a:cubicBezTo>
                  <a:cubicBezTo>
                    <a:pt x="18165" y="40950"/>
                    <a:pt x="17530" y="37140"/>
                    <a:pt x="16895" y="33965"/>
                  </a:cubicBezTo>
                  <a:cubicBezTo>
                    <a:pt x="15625" y="25075"/>
                    <a:pt x="11815" y="3485"/>
                    <a:pt x="10545" y="945"/>
                  </a:cubicBezTo>
                </a:path>
              </a:pathLst>
            </a:custGeom>
            <a:solidFill>
              <a:srgbClr val="FFFFFF"/>
            </a:solidFill>
            <a:ln w="6350" cap="flat">
              <a:noFill/>
              <a:prstDash val="solid"/>
              <a:miter/>
            </a:ln>
          </p:spPr>
          <p:txBody>
            <a:bodyPr rtlCol="0" anchor="ctr"/>
            <a:lstStyle/>
            <a:p>
              <a:endParaRPr lang="en-GB"/>
            </a:p>
          </p:txBody>
        </p:sp>
        <p:sp>
          <p:nvSpPr>
            <p:cNvPr id="137" name="Freeform 136"/>
            <p:cNvSpPr/>
            <p:nvPr/>
          </p:nvSpPr>
          <p:spPr>
            <a:xfrm>
              <a:off x="4537709" y="3435350"/>
              <a:ext cx="24765" cy="49186"/>
            </a:xfrm>
            <a:custGeom>
              <a:avLst/>
              <a:gdLst>
                <a:gd name="connsiteX0" fmla="*/ 9910 w 24765"/>
                <a:gd name="connsiteY0" fmla="*/ -325 h 49186"/>
                <a:gd name="connsiteX1" fmla="*/ 9910 w 24765"/>
                <a:gd name="connsiteY1" fmla="*/ -325 h 49186"/>
                <a:gd name="connsiteX2" fmla="*/ -250 w 24765"/>
                <a:gd name="connsiteY2" fmla="*/ 1580 h 49186"/>
                <a:gd name="connsiteX3" fmla="*/ -250 w 24765"/>
                <a:gd name="connsiteY3" fmla="*/ 2850 h 49186"/>
                <a:gd name="connsiteX4" fmla="*/ 7370 w 24765"/>
                <a:gd name="connsiteY4" fmla="*/ 35870 h 49186"/>
                <a:gd name="connsiteX5" fmla="*/ 9910 w 24765"/>
                <a:gd name="connsiteY5" fmla="*/ 44760 h 49186"/>
                <a:gd name="connsiteX6" fmla="*/ 19435 w 24765"/>
                <a:gd name="connsiteY6" fmla="*/ 48570 h 49186"/>
                <a:gd name="connsiteX7" fmla="*/ 24515 w 24765"/>
                <a:gd name="connsiteY7" fmla="*/ 40950 h 49186"/>
                <a:gd name="connsiteX8" fmla="*/ 21975 w 24765"/>
                <a:gd name="connsiteY8" fmla="*/ 30790 h 49186"/>
                <a:gd name="connsiteX9" fmla="*/ 9910 w 24765"/>
                <a:gd name="connsiteY9" fmla="*/ -325 h 4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49186">
                  <a:moveTo>
                    <a:pt x="9910" y="-325"/>
                  </a:moveTo>
                  <a:cubicBezTo>
                    <a:pt x="9910" y="-325"/>
                    <a:pt x="9910" y="-325"/>
                    <a:pt x="9910" y="-325"/>
                  </a:cubicBezTo>
                  <a:cubicBezTo>
                    <a:pt x="6735" y="310"/>
                    <a:pt x="2925" y="945"/>
                    <a:pt x="-250" y="1580"/>
                  </a:cubicBezTo>
                  <a:cubicBezTo>
                    <a:pt x="-250" y="2215"/>
                    <a:pt x="-250" y="2850"/>
                    <a:pt x="-250" y="2850"/>
                  </a:cubicBezTo>
                  <a:cubicBezTo>
                    <a:pt x="385" y="5390"/>
                    <a:pt x="5465" y="26980"/>
                    <a:pt x="7370" y="35870"/>
                  </a:cubicBezTo>
                  <a:cubicBezTo>
                    <a:pt x="8005" y="39045"/>
                    <a:pt x="8640" y="42220"/>
                    <a:pt x="9910" y="44760"/>
                  </a:cubicBezTo>
                  <a:cubicBezTo>
                    <a:pt x="11180" y="46665"/>
                    <a:pt x="16895" y="49840"/>
                    <a:pt x="19435" y="48570"/>
                  </a:cubicBezTo>
                  <a:cubicBezTo>
                    <a:pt x="22610" y="47300"/>
                    <a:pt x="24515" y="43490"/>
                    <a:pt x="24515" y="40950"/>
                  </a:cubicBezTo>
                  <a:cubicBezTo>
                    <a:pt x="24515" y="37775"/>
                    <a:pt x="22610" y="33965"/>
                    <a:pt x="21975" y="30790"/>
                  </a:cubicBezTo>
                  <a:cubicBezTo>
                    <a:pt x="19435" y="23170"/>
                    <a:pt x="11815" y="1580"/>
                    <a:pt x="9910" y="-325"/>
                  </a:cubicBezTo>
                </a:path>
              </a:pathLst>
            </a:custGeom>
            <a:solidFill>
              <a:srgbClr val="FFFFFF"/>
            </a:solidFill>
            <a:ln w="6350" cap="flat">
              <a:noFill/>
              <a:prstDash val="solid"/>
              <a:miter/>
            </a:ln>
          </p:spPr>
          <p:txBody>
            <a:bodyPr rtlCol="0" anchor="ctr"/>
            <a:lstStyle/>
            <a:p>
              <a:endParaRPr lang="en-GB"/>
            </a:p>
          </p:txBody>
        </p:sp>
        <p:sp>
          <p:nvSpPr>
            <p:cNvPr id="138" name="Freeform 137"/>
            <p:cNvSpPr/>
            <p:nvPr/>
          </p:nvSpPr>
          <p:spPr>
            <a:xfrm>
              <a:off x="4500597" y="3439795"/>
              <a:ext cx="15363" cy="50164"/>
            </a:xfrm>
            <a:custGeom>
              <a:avLst/>
              <a:gdLst>
                <a:gd name="connsiteX0" fmla="*/ 12732 w 15363"/>
                <a:gd name="connsiteY0" fmla="*/ 945 h 50164"/>
                <a:gd name="connsiteX1" fmla="*/ 12097 w 15363"/>
                <a:gd name="connsiteY1" fmla="*/ -325 h 50164"/>
                <a:gd name="connsiteX2" fmla="*/ 7652 w 15363"/>
                <a:gd name="connsiteY2" fmla="*/ -325 h 50164"/>
                <a:gd name="connsiteX3" fmla="*/ 2572 w 15363"/>
                <a:gd name="connsiteY3" fmla="*/ -325 h 50164"/>
                <a:gd name="connsiteX4" fmla="*/ 1937 w 15363"/>
                <a:gd name="connsiteY4" fmla="*/ 1580 h 50164"/>
                <a:gd name="connsiteX5" fmla="*/ 32 w 15363"/>
                <a:gd name="connsiteY5" fmla="*/ 34600 h 50164"/>
                <a:gd name="connsiteX6" fmla="*/ 32 w 15363"/>
                <a:gd name="connsiteY6" fmla="*/ 43490 h 50164"/>
                <a:gd name="connsiteX7" fmla="*/ 7652 w 15363"/>
                <a:gd name="connsiteY7" fmla="*/ 49840 h 50164"/>
                <a:gd name="connsiteX8" fmla="*/ 14637 w 15363"/>
                <a:gd name="connsiteY8" fmla="*/ 44125 h 50164"/>
                <a:gd name="connsiteX9" fmla="*/ 14637 w 15363"/>
                <a:gd name="connsiteY9" fmla="*/ 33965 h 50164"/>
                <a:gd name="connsiteX10" fmla="*/ 12732 w 15363"/>
                <a:gd name="connsiteY10" fmla="*/ 945 h 5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63" h="50164">
                  <a:moveTo>
                    <a:pt x="12732" y="945"/>
                  </a:moveTo>
                  <a:cubicBezTo>
                    <a:pt x="12732" y="310"/>
                    <a:pt x="12097" y="310"/>
                    <a:pt x="12097" y="-325"/>
                  </a:cubicBezTo>
                  <a:cubicBezTo>
                    <a:pt x="10827" y="-325"/>
                    <a:pt x="8922" y="-325"/>
                    <a:pt x="7652" y="-325"/>
                  </a:cubicBezTo>
                  <a:cubicBezTo>
                    <a:pt x="5747" y="-325"/>
                    <a:pt x="4477" y="-325"/>
                    <a:pt x="2572" y="-325"/>
                  </a:cubicBezTo>
                  <a:cubicBezTo>
                    <a:pt x="2572" y="310"/>
                    <a:pt x="1937" y="945"/>
                    <a:pt x="1937" y="1580"/>
                  </a:cubicBezTo>
                  <a:cubicBezTo>
                    <a:pt x="1937" y="4120"/>
                    <a:pt x="32" y="25710"/>
                    <a:pt x="32" y="34600"/>
                  </a:cubicBezTo>
                  <a:cubicBezTo>
                    <a:pt x="32" y="37775"/>
                    <a:pt x="-603" y="40950"/>
                    <a:pt x="32" y="43490"/>
                  </a:cubicBezTo>
                  <a:cubicBezTo>
                    <a:pt x="667" y="45395"/>
                    <a:pt x="5112" y="49840"/>
                    <a:pt x="7652" y="49840"/>
                  </a:cubicBezTo>
                  <a:cubicBezTo>
                    <a:pt x="10827" y="49840"/>
                    <a:pt x="14002" y="46665"/>
                    <a:pt x="14637" y="44125"/>
                  </a:cubicBezTo>
                  <a:cubicBezTo>
                    <a:pt x="15272" y="41585"/>
                    <a:pt x="15272" y="37140"/>
                    <a:pt x="14637" y="33965"/>
                  </a:cubicBezTo>
                  <a:cubicBezTo>
                    <a:pt x="14637" y="25710"/>
                    <a:pt x="13367" y="3485"/>
                    <a:pt x="12732" y="945"/>
                  </a:cubicBezTo>
                </a:path>
              </a:pathLst>
            </a:custGeom>
            <a:solidFill>
              <a:srgbClr val="FFFFFF"/>
            </a:solidFill>
            <a:ln w="6350" cap="flat">
              <a:noFill/>
              <a:prstDash val="solid"/>
              <a:miter/>
            </a:ln>
          </p:spPr>
          <p:txBody>
            <a:bodyPr rtlCol="0" anchor="ctr"/>
            <a:lstStyle/>
            <a:p>
              <a:endParaRPr lang="en-GB"/>
            </a:p>
          </p:txBody>
        </p:sp>
        <p:sp>
          <p:nvSpPr>
            <p:cNvPr id="139" name="Freeform 138"/>
            <p:cNvSpPr/>
            <p:nvPr/>
          </p:nvSpPr>
          <p:spPr>
            <a:xfrm>
              <a:off x="4477211" y="3437890"/>
              <a:ext cx="19858" cy="50263"/>
            </a:xfrm>
            <a:custGeom>
              <a:avLst/>
              <a:gdLst>
                <a:gd name="connsiteX0" fmla="*/ 18338 w 19858"/>
                <a:gd name="connsiteY0" fmla="*/ 945 h 50263"/>
                <a:gd name="connsiteX1" fmla="*/ 8813 w 19858"/>
                <a:gd name="connsiteY1" fmla="*/ -325 h 50263"/>
                <a:gd name="connsiteX2" fmla="*/ 8178 w 19858"/>
                <a:gd name="connsiteY2" fmla="*/ 945 h 50263"/>
                <a:gd name="connsiteX3" fmla="*/ 1193 w 19858"/>
                <a:gd name="connsiteY3" fmla="*/ 33330 h 50263"/>
                <a:gd name="connsiteX4" fmla="*/ -77 w 19858"/>
                <a:gd name="connsiteY4" fmla="*/ 42220 h 50263"/>
                <a:gd name="connsiteX5" fmla="*/ 6908 w 19858"/>
                <a:gd name="connsiteY5" fmla="*/ 49840 h 50263"/>
                <a:gd name="connsiteX6" fmla="*/ 15163 w 19858"/>
                <a:gd name="connsiteY6" fmla="*/ 45395 h 50263"/>
                <a:gd name="connsiteX7" fmla="*/ 17068 w 19858"/>
                <a:gd name="connsiteY7" fmla="*/ 35235 h 50263"/>
                <a:gd name="connsiteX8" fmla="*/ 19608 w 19858"/>
                <a:gd name="connsiteY8" fmla="*/ 2215 h 50263"/>
                <a:gd name="connsiteX9" fmla="*/ 18338 w 19858"/>
                <a:gd name="connsiteY9" fmla="*/ 945 h 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8" h="50263">
                  <a:moveTo>
                    <a:pt x="18338" y="945"/>
                  </a:moveTo>
                  <a:cubicBezTo>
                    <a:pt x="15163" y="945"/>
                    <a:pt x="11988" y="310"/>
                    <a:pt x="8813" y="-325"/>
                  </a:cubicBezTo>
                  <a:cubicBezTo>
                    <a:pt x="8813" y="310"/>
                    <a:pt x="8178" y="310"/>
                    <a:pt x="8178" y="945"/>
                  </a:cubicBezTo>
                  <a:cubicBezTo>
                    <a:pt x="7543" y="3485"/>
                    <a:pt x="3098" y="24440"/>
                    <a:pt x="1193" y="33330"/>
                  </a:cubicBezTo>
                  <a:cubicBezTo>
                    <a:pt x="558" y="36505"/>
                    <a:pt x="-712" y="39045"/>
                    <a:pt x="-77" y="42220"/>
                  </a:cubicBezTo>
                  <a:cubicBezTo>
                    <a:pt x="-77" y="44125"/>
                    <a:pt x="4368" y="49205"/>
                    <a:pt x="6908" y="49840"/>
                  </a:cubicBezTo>
                  <a:cubicBezTo>
                    <a:pt x="10083" y="50475"/>
                    <a:pt x="13893" y="47935"/>
                    <a:pt x="15163" y="45395"/>
                  </a:cubicBezTo>
                  <a:cubicBezTo>
                    <a:pt x="16433" y="42855"/>
                    <a:pt x="17068" y="38410"/>
                    <a:pt x="17068" y="35235"/>
                  </a:cubicBezTo>
                  <a:cubicBezTo>
                    <a:pt x="17703" y="26345"/>
                    <a:pt x="19608" y="4755"/>
                    <a:pt x="19608" y="2215"/>
                  </a:cubicBezTo>
                  <a:cubicBezTo>
                    <a:pt x="18973" y="2215"/>
                    <a:pt x="18973" y="1580"/>
                    <a:pt x="18338" y="945"/>
                  </a:cubicBezTo>
                </a:path>
              </a:pathLst>
            </a:custGeom>
            <a:solidFill>
              <a:srgbClr val="FFFFFF"/>
            </a:solidFill>
            <a:ln w="6350" cap="flat">
              <a:noFill/>
              <a:prstDash val="solid"/>
              <a:miter/>
            </a:ln>
          </p:spPr>
          <p:txBody>
            <a:bodyPr rtlCol="0" anchor="ctr"/>
            <a:lstStyle/>
            <a:p>
              <a:endParaRPr lang="en-GB"/>
            </a:p>
          </p:txBody>
        </p:sp>
        <p:sp>
          <p:nvSpPr>
            <p:cNvPr id="140" name="Freeform 139"/>
            <p:cNvSpPr/>
            <p:nvPr/>
          </p:nvSpPr>
          <p:spPr>
            <a:xfrm>
              <a:off x="4453890" y="3435350"/>
              <a:ext cx="26034" cy="49236"/>
            </a:xfrm>
            <a:custGeom>
              <a:avLst/>
              <a:gdLst>
                <a:gd name="connsiteX0" fmla="*/ 25150 w 26034"/>
                <a:gd name="connsiteY0" fmla="*/ 1580 h 49236"/>
                <a:gd name="connsiteX1" fmla="*/ 15625 w 26034"/>
                <a:gd name="connsiteY1" fmla="*/ -325 h 49236"/>
                <a:gd name="connsiteX2" fmla="*/ 14990 w 26034"/>
                <a:gd name="connsiteY2" fmla="*/ 945 h 49236"/>
                <a:gd name="connsiteX3" fmla="*/ 2290 w 26034"/>
                <a:gd name="connsiteY3" fmla="*/ 31425 h 49236"/>
                <a:gd name="connsiteX4" fmla="*/ -250 w 26034"/>
                <a:gd name="connsiteY4" fmla="*/ 39680 h 49236"/>
                <a:gd name="connsiteX5" fmla="*/ 4830 w 26034"/>
                <a:gd name="connsiteY5" fmla="*/ 48570 h 49236"/>
                <a:gd name="connsiteX6" fmla="*/ 13720 w 26034"/>
                <a:gd name="connsiteY6" fmla="*/ 45395 h 49236"/>
                <a:gd name="connsiteX7" fmla="*/ 17530 w 26034"/>
                <a:gd name="connsiteY7" fmla="*/ 35870 h 49236"/>
                <a:gd name="connsiteX8" fmla="*/ 25785 w 26034"/>
                <a:gd name="connsiteY8" fmla="*/ 4120 h 49236"/>
                <a:gd name="connsiteX9" fmla="*/ 25150 w 26034"/>
                <a:gd name="connsiteY9" fmla="*/ 1580 h 4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34" h="49236">
                  <a:moveTo>
                    <a:pt x="25150" y="1580"/>
                  </a:moveTo>
                  <a:cubicBezTo>
                    <a:pt x="21975" y="945"/>
                    <a:pt x="18800" y="310"/>
                    <a:pt x="15625" y="-325"/>
                  </a:cubicBezTo>
                  <a:cubicBezTo>
                    <a:pt x="15625" y="310"/>
                    <a:pt x="14990" y="310"/>
                    <a:pt x="14990" y="945"/>
                  </a:cubicBezTo>
                  <a:cubicBezTo>
                    <a:pt x="13720" y="2850"/>
                    <a:pt x="5465" y="23170"/>
                    <a:pt x="2290" y="31425"/>
                  </a:cubicBezTo>
                  <a:cubicBezTo>
                    <a:pt x="1020" y="33965"/>
                    <a:pt x="-250" y="37140"/>
                    <a:pt x="-250" y="39680"/>
                  </a:cubicBezTo>
                  <a:cubicBezTo>
                    <a:pt x="-250" y="41585"/>
                    <a:pt x="2290" y="47300"/>
                    <a:pt x="4830" y="48570"/>
                  </a:cubicBezTo>
                  <a:cubicBezTo>
                    <a:pt x="8005" y="49840"/>
                    <a:pt x="11815" y="47300"/>
                    <a:pt x="13720" y="45395"/>
                  </a:cubicBezTo>
                  <a:cubicBezTo>
                    <a:pt x="15625" y="42855"/>
                    <a:pt x="16895" y="39045"/>
                    <a:pt x="17530" y="35870"/>
                  </a:cubicBezTo>
                  <a:cubicBezTo>
                    <a:pt x="19435" y="27615"/>
                    <a:pt x="25785" y="6660"/>
                    <a:pt x="25785" y="4120"/>
                  </a:cubicBezTo>
                  <a:cubicBezTo>
                    <a:pt x="25785" y="3485"/>
                    <a:pt x="25785" y="2850"/>
                    <a:pt x="25150" y="1580"/>
                  </a:cubicBezTo>
                </a:path>
              </a:pathLst>
            </a:custGeom>
            <a:solidFill>
              <a:srgbClr val="FFFFFF"/>
            </a:solidFill>
            <a:ln w="6350" cap="flat">
              <a:noFill/>
              <a:prstDash val="solid"/>
              <a:miter/>
            </a:ln>
          </p:spPr>
          <p:txBody>
            <a:bodyPr rtlCol="0" anchor="ctr"/>
            <a:lstStyle/>
            <a:p>
              <a:endParaRPr lang="en-GB"/>
            </a:p>
          </p:txBody>
        </p:sp>
        <p:sp>
          <p:nvSpPr>
            <p:cNvPr id="141" name="Freeform 140"/>
            <p:cNvSpPr/>
            <p:nvPr/>
          </p:nvSpPr>
          <p:spPr>
            <a:xfrm>
              <a:off x="4432176" y="3430270"/>
              <a:ext cx="30602" cy="46866"/>
            </a:xfrm>
            <a:custGeom>
              <a:avLst/>
              <a:gdLst>
                <a:gd name="connsiteX0" fmla="*/ 30353 w 30602"/>
                <a:gd name="connsiteY0" fmla="*/ 2850 h 46866"/>
                <a:gd name="connsiteX1" fmla="*/ 21463 w 30602"/>
                <a:gd name="connsiteY1" fmla="*/ -325 h 46866"/>
                <a:gd name="connsiteX2" fmla="*/ 20828 w 30602"/>
                <a:gd name="connsiteY2" fmla="*/ 310 h 46866"/>
                <a:gd name="connsiteX3" fmla="*/ 3683 w 30602"/>
                <a:gd name="connsiteY3" fmla="*/ 28885 h 46866"/>
                <a:gd name="connsiteX4" fmla="*/ -127 w 30602"/>
                <a:gd name="connsiteY4" fmla="*/ 36505 h 46866"/>
                <a:gd name="connsiteX5" fmla="*/ 3683 w 30602"/>
                <a:gd name="connsiteY5" fmla="*/ 46030 h 46866"/>
                <a:gd name="connsiteX6" fmla="*/ 12573 w 30602"/>
                <a:gd name="connsiteY6" fmla="*/ 44125 h 46866"/>
                <a:gd name="connsiteX7" fmla="*/ 17653 w 30602"/>
                <a:gd name="connsiteY7" fmla="*/ 35235 h 46866"/>
                <a:gd name="connsiteX8" fmla="*/ 30353 w 30602"/>
                <a:gd name="connsiteY8" fmla="*/ 4755 h 46866"/>
                <a:gd name="connsiteX9" fmla="*/ 30353 w 30602"/>
                <a:gd name="connsiteY9" fmla="*/ 2850 h 4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2" h="46866">
                  <a:moveTo>
                    <a:pt x="30353" y="2850"/>
                  </a:moveTo>
                  <a:cubicBezTo>
                    <a:pt x="27178" y="2215"/>
                    <a:pt x="24003" y="945"/>
                    <a:pt x="21463" y="-325"/>
                  </a:cubicBezTo>
                  <a:cubicBezTo>
                    <a:pt x="21463" y="-325"/>
                    <a:pt x="20828" y="310"/>
                    <a:pt x="20828" y="310"/>
                  </a:cubicBezTo>
                  <a:cubicBezTo>
                    <a:pt x="19558" y="2215"/>
                    <a:pt x="8128" y="20630"/>
                    <a:pt x="3683" y="28885"/>
                  </a:cubicBezTo>
                  <a:cubicBezTo>
                    <a:pt x="2413" y="31425"/>
                    <a:pt x="508" y="33965"/>
                    <a:pt x="-127" y="36505"/>
                  </a:cubicBezTo>
                  <a:cubicBezTo>
                    <a:pt x="-762" y="38410"/>
                    <a:pt x="1143" y="44760"/>
                    <a:pt x="3683" y="46030"/>
                  </a:cubicBezTo>
                  <a:cubicBezTo>
                    <a:pt x="6223" y="47300"/>
                    <a:pt x="10668" y="46030"/>
                    <a:pt x="12573" y="44125"/>
                  </a:cubicBezTo>
                  <a:cubicBezTo>
                    <a:pt x="14478" y="42220"/>
                    <a:pt x="16383" y="37775"/>
                    <a:pt x="17653" y="35235"/>
                  </a:cubicBezTo>
                  <a:cubicBezTo>
                    <a:pt x="20828" y="26980"/>
                    <a:pt x="30353" y="7295"/>
                    <a:pt x="30353" y="4755"/>
                  </a:cubicBezTo>
                  <a:cubicBezTo>
                    <a:pt x="30353" y="4755"/>
                    <a:pt x="30353" y="4120"/>
                    <a:pt x="30353" y="2850"/>
                  </a:cubicBezTo>
                </a:path>
              </a:pathLst>
            </a:custGeom>
            <a:solidFill>
              <a:srgbClr val="FFFFFF"/>
            </a:solidFill>
            <a:ln w="6350" cap="flat">
              <a:noFill/>
              <a:prstDash val="solid"/>
              <a:miter/>
            </a:ln>
          </p:spPr>
          <p:txBody>
            <a:bodyPr rtlCol="0" anchor="ctr"/>
            <a:lstStyle/>
            <a:p>
              <a:endParaRPr lang="en-GB"/>
            </a:p>
          </p:txBody>
        </p:sp>
        <p:sp>
          <p:nvSpPr>
            <p:cNvPr id="142" name="Freeform 141"/>
            <p:cNvSpPr/>
            <p:nvPr/>
          </p:nvSpPr>
          <p:spPr>
            <a:xfrm>
              <a:off x="4554220" y="3430270"/>
              <a:ext cx="30479" cy="48036"/>
            </a:xfrm>
            <a:custGeom>
              <a:avLst/>
              <a:gdLst>
                <a:gd name="connsiteX0" fmla="*/ 26420 w 30479"/>
                <a:gd name="connsiteY0" fmla="*/ 30155 h 48036"/>
                <a:gd name="connsiteX1" fmla="*/ 9910 w 30479"/>
                <a:gd name="connsiteY1" fmla="*/ 310 h 48036"/>
                <a:gd name="connsiteX2" fmla="*/ 9275 w 30479"/>
                <a:gd name="connsiteY2" fmla="*/ -325 h 48036"/>
                <a:gd name="connsiteX3" fmla="*/ -250 w 30479"/>
                <a:gd name="connsiteY3" fmla="*/ 2850 h 48036"/>
                <a:gd name="connsiteX4" fmla="*/ -250 w 30479"/>
                <a:gd name="connsiteY4" fmla="*/ 4755 h 48036"/>
                <a:gd name="connsiteX5" fmla="*/ 11815 w 30479"/>
                <a:gd name="connsiteY5" fmla="*/ 36505 h 48036"/>
                <a:gd name="connsiteX6" fmla="*/ 15625 w 30479"/>
                <a:gd name="connsiteY6" fmla="*/ 44760 h 48036"/>
                <a:gd name="connsiteX7" fmla="*/ 25785 w 30479"/>
                <a:gd name="connsiteY7" fmla="*/ 47300 h 48036"/>
                <a:gd name="connsiteX8" fmla="*/ 30230 w 30479"/>
                <a:gd name="connsiteY8" fmla="*/ 39045 h 48036"/>
                <a:gd name="connsiteX9" fmla="*/ 26420 w 30479"/>
                <a:gd name="connsiteY9" fmla="*/ 30155 h 4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79" h="48036">
                  <a:moveTo>
                    <a:pt x="26420" y="30155"/>
                  </a:moveTo>
                  <a:cubicBezTo>
                    <a:pt x="21975" y="22535"/>
                    <a:pt x="11815" y="2215"/>
                    <a:pt x="9910" y="310"/>
                  </a:cubicBezTo>
                  <a:cubicBezTo>
                    <a:pt x="9910" y="310"/>
                    <a:pt x="9275" y="-325"/>
                    <a:pt x="9275" y="-325"/>
                  </a:cubicBezTo>
                  <a:cubicBezTo>
                    <a:pt x="6100" y="945"/>
                    <a:pt x="2925" y="1580"/>
                    <a:pt x="-250" y="2850"/>
                  </a:cubicBezTo>
                  <a:cubicBezTo>
                    <a:pt x="-250" y="3485"/>
                    <a:pt x="-250" y="4120"/>
                    <a:pt x="-250" y="4755"/>
                  </a:cubicBezTo>
                  <a:cubicBezTo>
                    <a:pt x="385" y="7295"/>
                    <a:pt x="8005" y="28250"/>
                    <a:pt x="11815" y="36505"/>
                  </a:cubicBezTo>
                  <a:cubicBezTo>
                    <a:pt x="13085" y="39680"/>
                    <a:pt x="13720" y="42220"/>
                    <a:pt x="15625" y="44760"/>
                  </a:cubicBezTo>
                  <a:cubicBezTo>
                    <a:pt x="16895" y="46665"/>
                    <a:pt x="23245" y="48570"/>
                    <a:pt x="25785" y="47300"/>
                  </a:cubicBezTo>
                  <a:cubicBezTo>
                    <a:pt x="28960" y="46030"/>
                    <a:pt x="30230" y="41585"/>
                    <a:pt x="30230" y="39045"/>
                  </a:cubicBezTo>
                  <a:cubicBezTo>
                    <a:pt x="29595" y="36505"/>
                    <a:pt x="27690" y="32695"/>
                    <a:pt x="26420" y="30155"/>
                  </a:cubicBezTo>
                </a:path>
              </a:pathLst>
            </a:custGeom>
            <a:solidFill>
              <a:srgbClr val="FFFFFF"/>
            </a:solidFill>
            <a:ln w="6350" cap="flat">
              <a:noFill/>
              <a:prstDash val="solid"/>
              <a:miter/>
            </a:ln>
          </p:spPr>
          <p:txBody>
            <a:bodyPr rtlCol="0" anchor="ctr"/>
            <a:lstStyle/>
            <a:p>
              <a:endParaRPr lang="en-GB"/>
            </a:p>
          </p:txBody>
        </p:sp>
        <p:sp>
          <p:nvSpPr>
            <p:cNvPr id="143" name="Freeform 142"/>
            <p:cNvSpPr/>
            <p:nvPr/>
          </p:nvSpPr>
          <p:spPr>
            <a:xfrm>
              <a:off x="4704932" y="3227543"/>
              <a:ext cx="37247" cy="16198"/>
            </a:xfrm>
            <a:custGeom>
              <a:avLst/>
              <a:gdLst>
                <a:gd name="connsiteX0" fmla="*/ 167 w 37247"/>
                <a:gd name="connsiteY0" fmla="*/ 3012 h 16198"/>
                <a:gd name="connsiteX1" fmla="*/ 802 w 37247"/>
                <a:gd name="connsiteY1" fmla="*/ 8727 h 16198"/>
                <a:gd name="connsiteX2" fmla="*/ 17312 w 37247"/>
                <a:gd name="connsiteY2" fmla="*/ 13807 h 16198"/>
                <a:gd name="connsiteX3" fmla="*/ 28742 w 37247"/>
                <a:gd name="connsiteY3" fmla="*/ 15712 h 16198"/>
                <a:gd name="connsiteX4" fmla="*/ 36362 w 37247"/>
                <a:gd name="connsiteY4" fmla="*/ 12537 h 16198"/>
                <a:gd name="connsiteX5" fmla="*/ 34457 w 37247"/>
                <a:gd name="connsiteY5" fmla="*/ 5552 h 16198"/>
                <a:gd name="connsiteX6" fmla="*/ 21122 w 37247"/>
                <a:gd name="connsiteY6" fmla="*/ 2377 h 16198"/>
                <a:gd name="connsiteX7" fmla="*/ 4612 w 37247"/>
                <a:gd name="connsiteY7" fmla="*/ -163 h 16198"/>
                <a:gd name="connsiteX8" fmla="*/ 167 w 37247"/>
                <a:gd name="connsiteY8" fmla="*/ 3012 h 1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47" h="16198">
                  <a:moveTo>
                    <a:pt x="167" y="3012"/>
                  </a:moveTo>
                  <a:cubicBezTo>
                    <a:pt x="-468" y="4917"/>
                    <a:pt x="-468" y="7457"/>
                    <a:pt x="802" y="8727"/>
                  </a:cubicBezTo>
                  <a:cubicBezTo>
                    <a:pt x="2707" y="9997"/>
                    <a:pt x="14137" y="12537"/>
                    <a:pt x="17312" y="13807"/>
                  </a:cubicBezTo>
                  <a:cubicBezTo>
                    <a:pt x="21122" y="15077"/>
                    <a:pt x="24297" y="15077"/>
                    <a:pt x="28742" y="15712"/>
                  </a:cubicBezTo>
                  <a:cubicBezTo>
                    <a:pt x="31917" y="16347"/>
                    <a:pt x="35092" y="15077"/>
                    <a:pt x="36362" y="12537"/>
                  </a:cubicBezTo>
                  <a:cubicBezTo>
                    <a:pt x="37632" y="9362"/>
                    <a:pt x="36997" y="6822"/>
                    <a:pt x="34457" y="5552"/>
                  </a:cubicBezTo>
                  <a:cubicBezTo>
                    <a:pt x="33187" y="4917"/>
                    <a:pt x="28107" y="3647"/>
                    <a:pt x="21122" y="2377"/>
                  </a:cubicBezTo>
                  <a:cubicBezTo>
                    <a:pt x="14137" y="1107"/>
                    <a:pt x="7152" y="-163"/>
                    <a:pt x="4612" y="-163"/>
                  </a:cubicBezTo>
                  <a:cubicBezTo>
                    <a:pt x="2707" y="-798"/>
                    <a:pt x="802" y="472"/>
                    <a:pt x="167" y="3012"/>
                  </a:cubicBezTo>
                </a:path>
              </a:pathLst>
            </a:custGeom>
            <a:solidFill>
              <a:srgbClr val="FFFFFF"/>
            </a:solidFill>
            <a:ln w="6350" cap="flat">
              <a:noFill/>
              <a:prstDash val="solid"/>
              <a:miter/>
            </a:ln>
          </p:spPr>
          <p:txBody>
            <a:bodyPr rtlCol="0" anchor="ctr"/>
            <a:lstStyle/>
            <a:p>
              <a:endParaRPr lang="en-GB"/>
            </a:p>
          </p:txBody>
        </p:sp>
        <p:sp>
          <p:nvSpPr>
            <p:cNvPr id="144" name="Freeform 143"/>
            <p:cNvSpPr/>
            <p:nvPr/>
          </p:nvSpPr>
          <p:spPr>
            <a:xfrm>
              <a:off x="4267834" y="3227070"/>
              <a:ext cx="38436" cy="15975"/>
            </a:xfrm>
            <a:custGeom>
              <a:avLst/>
              <a:gdLst>
                <a:gd name="connsiteX0" fmla="*/ 12450 w 38436"/>
                <a:gd name="connsiteY0" fmla="*/ 15550 h 15975"/>
                <a:gd name="connsiteX1" fmla="*/ 37215 w 38436"/>
                <a:gd name="connsiteY1" fmla="*/ 7295 h 15975"/>
                <a:gd name="connsiteX2" fmla="*/ 36580 w 38436"/>
                <a:gd name="connsiteY2" fmla="*/ 1580 h 15975"/>
                <a:gd name="connsiteX3" fmla="*/ 30865 w 38436"/>
                <a:gd name="connsiteY3" fmla="*/ -325 h 15975"/>
                <a:gd name="connsiteX4" fmla="*/ 5465 w 38436"/>
                <a:gd name="connsiteY4" fmla="*/ 4755 h 15975"/>
                <a:gd name="connsiteX5" fmla="*/ -250 w 38436"/>
                <a:gd name="connsiteY5" fmla="*/ 9200 h 15975"/>
                <a:gd name="connsiteX6" fmla="*/ 385 w 38436"/>
                <a:gd name="connsiteY6" fmla="*/ 12375 h 15975"/>
                <a:gd name="connsiteX7" fmla="*/ 12450 w 38436"/>
                <a:gd name="connsiteY7" fmla="*/ 15550 h 1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5975">
                  <a:moveTo>
                    <a:pt x="12450" y="15550"/>
                  </a:moveTo>
                  <a:cubicBezTo>
                    <a:pt x="18800" y="13645"/>
                    <a:pt x="35945" y="8565"/>
                    <a:pt x="37215" y="7295"/>
                  </a:cubicBezTo>
                  <a:cubicBezTo>
                    <a:pt x="39120" y="5390"/>
                    <a:pt x="37850" y="3485"/>
                    <a:pt x="36580" y="1580"/>
                  </a:cubicBezTo>
                  <a:cubicBezTo>
                    <a:pt x="35310" y="-325"/>
                    <a:pt x="33405" y="-325"/>
                    <a:pt x="30865" y="-325"/>
                  </a:cubicBezTo>
                  <a:cubicBezTo>
                    <a:pt x="28960" y="-325"/>
                    <a:pt x="7370" y="4120"/>
                    <a:pt x="5465" y="4755"/>
                  </a:cubicBezTo>
                  <a:cubicBezTo>
                    <a:pt x="2925" y="5390"/>
                    <a:pt x="385" y="6660"/>
                    <a:pt x="-250" y="9200"/>
                  </a:cubicBezTo>
                  <a:cubicBezTo>
                    <a:pt x="-250" y="10470"/>
                    <a:pt x="-250" y="11740"/>
                    <a:pt x="385" y="12375"/>
                  </a:cubicBezTo>
                  <a:cubicBezTo>
                    <a:pt x="1655" y="13645"/>
                    <a:pt x="8005" y="16185"/>
                    <a:pt x="12450" y="15550"/>
                  </a:cubicBezTo>
                </a:path>
              </a:pathLst>
            </a:custGeom>
            <a:solidFill>
              <a:srgbClr val="FFFFFF"/>
            </a:solidFill>
            <a:ln w="6350" cap="flat">
              <a:noFill/>
              <a:prstDash val="solid"/>
              <a:miter/>
            </a:ln>
          </p:spPr>
          <p:txBody>
            <a:bodyPr rtlCol="0" anchor="ctr"/>
            <a:lstStyle/>
            <a:p>
              <a:endParaRPr lang="en-GB"/>
            </a:p>
          </p:txBody>
        </p:sp>
        <p:sp>
          <p:nvSpPr>
            <p:cNvPr id="145" name="Freeform 144"/>
            <p:cNvSpPr/>
            <p:nvPr/>
          </p:nvSpPr>
          <p:spPr>
            <a:xfrm>
              <a:off x="4749313" y="3237229"/>
              <a:ext cx="211306" cy="29210"/>
            </a:xfrm>
            <a:custGeom>
              <a:avLst/>
              <a:gdLst>
                <a:gd name="connsiteX0" fmla="*/ 207247 w 211306"/>
                <a:gd name="connsiteY0" fmla="*/ 11105 h 29210"/>
                <a:gd name="connsiteX1" fmla="*/ 186927 w 211306"/>
                <a:gd name="connsiteY1" fmla="*/ 11740 h 29210"/>
                <a:gd name="connsiteX2" fmla="*/ 158987 w 211306"/>
                <a:gd name="connsiteY2" fmla="*/ 10470 h 29210"/>
                <a:gd name="connsiteX3" fmla="*/ 3412 w 211306"/>
                <a:gd name="connsiteY3" fmla="*/ -325 h 29210"/>
                <a:gd name="connsiteX4" fmla="*/ 237 w 211306"/>
                <a:gd name="connsiteY4" fmla="*/ 5390 h 29210"/>
                <a:gd name="connsiteX5" fmla="*/ 2142 w 211306"/>
                <a:gd name="connsiteY5" fmla="*/ 6660 h 29210"/>
                <a:gd name="connsiteX6" fmla="*/ 132317 w 211306"/>
                <a:gd name="connsiteY6" fmla="*/ 25075 h 29210"/>
                <a:gd name="connsiteX7" fmla="*/ 182481 w 211306"/>
                <a:gd name="connsiteY7" fmla="*/ 28885 h 29210"/>
                <a:gd name="connsiteX8" fmla="*/ 182481 w 211306"/>
                <a:gd name="connsiteY8" fmla="*/ 28885 h 29210"/>
                <a:gd name="connsiteX9" fmla="*/ 207881 w 211306"/>
                <a:gd name="connsiteY9" fmla="*/ 21265 h 29210"/>
                <a:gd name="connsiteX10" fmla="*/ 211056 w 211306"/>
                <a:gd name="connsiteY10" fmla="*/ 14915 h 29210"/>
                <a:gd name="connsiteX11" fmla="*/ 207247 w 211306"/>
                <a:gd name="connsiteY11" fmla="*/ 11105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1306" h="29210">
                  <a:moveTo>
                    <a:pt x="207247" y="11105"/>
                  </a:moveTo>
                  <a:cubicBezTo>
                    <a:pt x="205977" y="11105"/>
                    <a:pt x="193277" y="11740"/>
                    <a:pt x="186927" y="11740"/>
                  </a:cubicBezTo>
                  <a:cubicBezTo>
                    <a:pt x="177402" y="11105"/>
                    <a:pt x="167877" y="11105"/>
                    <a:pt x="158987" y="10470"/>
                  </a:cubicBezTo>
                  <a:cubicBezTo>
                    <a:pt x="124062" y="8565"/>
                    <a:pt x="8492" y="-325"/>
                    <a:pt x="3412" y="-325"/>
                  </a:cubicBezTo>
                  <a:cubicBezTo>
                    <a:pt x="237" y="-325"/>
                    <a:pt x="-1033" y="2850"/>
                    <a:pt x="237" y="5390"/>
                  </a:cubicBezTo>
                  <a:cubicBezTo>
                    <a:pt x="872" y="6025"/>
                    <a:pt x="1507" y="6660"/>
                    <a:pt x="2142" y="6660"/>
                  </a:cubicBezTo>
                  <a:cubicBezTo>
                    <a:pt x="5952" y="7295"/>
                    <a:pt x="121522" y="23805"/>
                    <a:pt x="132317" y="25075"/>
                  </a:cubicBezTo>
                  <a:cubicBezTo>
                    <a:pt x="148827" y="26345"/>
                    <a:pt x="164702" y="28885"/>
                    <a:pt x="182481" y="28885"/>
                  </a:cubicBezTo>
                  <a:cubicBezTo>
                    <a:pt x="182481" y="28885"/>
                    <a:pt x="178672" y="28885"/>
                    <a:pt x="182481" y="28885"/>
                  </a:cubicBezTo>
                  <a:cubicBezTo>
                    <a:pt x="185656" y="28885"/>
                    <a:pt x="200262" y="25075"/>
                    <a:pt x="207881" y="21265"/>
                  </a:cubicBezTo>
                  <a:cubicBezTo>
                    <a:pt x="210422" y="19995"/>
                    <a:pt x="211056" y="18090"/>
                    <a:pt x="211056" y="14915"/>
                  </a:cubicBezTo>
                  <a:cubicBezTo>
                    <a:pt x="210422" y="13010"/>
                    <a:pt x="211056" y="11105"/>
                    <a:pt x="207247" y="11105"/>
                  </a:cubicBezTo>
                </a:path>
              </a:pathLst>
            </a:custGeom>
            <a:solidFill>
              <a:srgbClr val="FFFFFF"/>
            </a:solidFill>
            <a:ln w="6350" cap="flat">
              <a:noFill/>
              <a:prstDash val="solid"/>
              <a:miter/>
            </a:ln>
          </p:spPr>
          <p:txBody>
            <a:bodyPr rtlCol="0" anchor="ctr"/>
            <a:lstStyle/>
            <a:p>
              <a:endParaRPr lang="en-GB"/>
            </a:p>
          </p:txBody>
        </p:sp>
        <p:sp>
          <p:nvSpPr>
            <p:cNvPr id="146" name="Freeform 145"/>
            <p:cNvSpPr/>
            <p:nvPr/>
          </p:nvSpPr>
          <p:spPr>
            <a:xfrm>
              <a:off x="4280654" y="3242900"/>
              <a:ext cx="35450" cy="21281"/>
            </a:xfrm>
            <a:custGeom>
              <a:avLst/>
              <a:gdLst>
                <a:gd name="connsiteX0" fmla="*/ 2805 w 35450"/>
                <a:gd name="connsiteY0" fmla="*/ 18769 h 21281"/>
                <a:gd name="connsiteX1" fmla="*/ 7250 w 35450"/>
                <a:gd name="connsiteY1" fmla="*/ 20674 h 21281"/>
                <a:gd name="connsiteX2" fmla="*/ 11695 w 35450"/>
                <a:gd name="connsiteY2" fmla="*/ 20674 h 21281"/>
                <a:gd name="connsiteX3" fmla="*/ 33920 w 35450"/>
                <a:gd name="connsiteY3" fmla="*/ 9879 h 21281"/>
                <a:gd name="connsiteX4" fmla="*/ 26300 w 35450"/>
                <a:gd name="connsiteY4" fmla="*/ -281 h 21281"/>
                <a:gd name="connsiteX5" fmla="*/ 900 w 35450"/>
                <a:gd name="connsiteY5" fmla="*/ 9244 h 21281"/>
                <a:gd name="connsiteX6" fmla="*/ 1535 w 35450"/>
                <a:gd name="connsiteY6" fmla="*/ 17499 h 21281"/>
                <a:gd name="connsiteX7" fmla="*/ 2805 w 35450"/>
                <a:gd name="connsiteY7" fmla="*/ 18769 h 2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0" h="21281">
                  <a:moveTo>
                    <a:pt x="2805" y="18769"/>
                  </a:moveTo>
                  <a:cubicBezTo>
                    <a:pt x="4075" y="19404"/>
                    <a:pt x="5980" y="20674"/>
                    <a:pt x="7250" y="20674"/>
                  </a:cubicBezTo>
                  <a:cubicBezTo>
                    <a:pt x="8520" y="20674"/>
                    <a:pt x="9790" y="21309"/>
                    <a:pt x="11695" y="20674"/>
                  </a:cubicBezTo>
                  <a:cubicBezTo>
                    <a:pt x="12965" y="20674"/>
                    <a:pt x="32650" y="11149"/>
                    <a:pt x="33920" y="9879"/>
                  </a:cubicBezTo>
                  <a:cubicBezTo>
                    <a:pt x="38365" y="5434"/>
                    <a:pt x="30110" y="-916"/>
                    <a:pt x="26300" y="-281"/>
                  </a:cubicBezTo>
                  <a:cubicBezTo>
                    <a:pt x="19950" y="989"/>
                    <a:pt x="2805" y="7339"/>
                    <a:pt x="900" y="9244"/>
                  </a:cubicBezTo>
                  <a:cubicBezTo>
                    <a:pt x="-1005" y="11149"/>
                    <a:pt x="-370" y="14959"/>
                    <a:pt x="1535" y="17499"/>
                  </a:cubicBezTo>
                  <a:cubicBezTo>
                    <a:pt x="1535" y="17499"/>
                    <a:pt x="2170" y="18134"/>
                    <a:pt x="2805" y="18769"/>
                  </a:cubicBezTo>
                </a:path>
              </a:pathLst>
            </a:custGeom>
            <a:solidFill>
              <a:srgbClr val="FFFFFF"/>
            </a:solidFill>
            <a:ln w="6350" cap="flat">
              <a:noFill/>
              <a:prstDash val="solid"/>
              <a:miter/>
            </a:ln>
          </p:spPr>
          <p:txBody>
            <a:bodyPr rtlCol="0" anchor="ctr"/>
            <a:lstStyle/>
            <a:p>
              <a:endParaRPr lang="en-GB"/>
            </a:p>
          </p:txBody>
        </p:sp>
        <p:sp>
          <p:nvSpPr>
            <p:cNvPr id="147" name="Freeform 146"/>
            <p:cNvSpPr/>
            <p:nvPr/>
          </p:nvSpPr>
          <p:spPr>
            <a:xfrm>
              <a:off x="4695150" y="3245105"/>
              <a:ext cx="36775" cy="18409"/>
            </a:xfrm>
            <a:custGeom>
              <a:avLst/>
              <a:gdLst>
                <a:gd name="connsiteX0" fmla="*/ 33445 w 36775"/>
                <a:gd name="connsiteY0" fmla="*/ 16565 h 18409"/>
                <a:gd name="connsiteX1" fmla="*/ 35985 w 36775"/>
                <a:gd name="connsiteY1" fmla="*/ 13390 h 18409"/>
                <a:gd name="connsiteX2" fmla="*/ 27095 w 36775"/>
                <a:gd name="connsiteY2" fmla="*/ 5135 h 18409"/>
                <a:gd name="connsiteX3" fmla="*/ 10585 w 36775"/>
                <a:gd name="connsiteY3" fmla="*/ 55 h 18409"/>
                <a:gd name="connsiteX4" fmla="*/ 2965 w 36775"/>
                <a:gd name="connsiteY4" fmla="*/ 1325 h 18409"/>
                <a:gd name="connsiteX5" fmla="*/ 425 w 36775"/>
                <a:gd name="connsiteY5" fmla="*/ 7040 h 18409"/>
                <a:gd name="connsiteX6" fmla="*/ 21380 w 36775"/>
                <a:gd name="connsiteY6" fmla="*/ 17200 h 18409"/>
                <a:gd name="connsiteX7" fmla="*/ 33445 w 36775"/>
                <a:gd name="connsiteY7" fmla="*/ 16565 h 1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75" h="18409">
                  <a:moveTo>
                    <a:pt x="33445" y="16565"/>
                  </a:moveTo>
                  <a:cubicBezTo>
                    <a:pt x="34715" y="15930"/>
                    <a:pt x="35350" y="14660"/>
                    <a:pt x="35985" y="13390"/>
                  </a:cubicBezTo>
                  <a:cubicBezTo>
                    <a:pt x="38525" y="8945"/>
                    <a:pt x="31540" y="6405"/>
                    <a:pt x="27095" y="5135"/>
                  </a:cubicBezTo>
                  <a:cubicBezTo>
                    <a:pt x="21380" y="3230"/>
                    <a:pt x="18840" y="2595"/>
                    <a:pt x="10585" y="55"/>
                  </a:cubicBezTo>
                  <a:cubicBezTo>
                    <a:pt x="8045" y="-580"/>
                    <a:pt x="5505" y="-580"/>
                    <a:pt x="2965" y="1325"/>
                  </a:cubicBezTo>
                  <a:cubicBezTo>
                    <a:pt x="1060" y="2595"/>
                    <a:pt x="-1480" y="4500"/>
                    <a:pt x="425" y="7040"/>
                  </a:cubicBezTo>
                  <a:cubicBezTo>
                    <a:pt x="1695" y="8945"/>
                    <a:pt x="16935" y="15295"/>
                    <a:pt x="21380" y="17200"/>
                  </a:cubicBezTo>
                  <a:cubicBezTo>
                    <a:pt x="24555" y="17835"/>
                    <a:pt x="29635" y="19105"/>
                    <a:pt x="33445" y="16565"/>
                  </a:cubicBezTo>
                </a:path>
              </a:pathLst>
            </a:custGeom>
            <a:solidFill>
              <a:srgbClr val="FFFFFF"/>
            </a:solidFill>
            <a:ln w="6350" cap="flat">
              <a:noFill/>
              <a:prstDash val="solid"/>
              <a:miter/>
            </a:ln>
          </p:spPr>
          <p:txBody>
            <a:bodyPr rtlCol="0" anchor="ctr"/>
            <a:lstStyle/>
            <a:p>
              <a:endParaRPr lang="en-GB"/>
            </a:p>
          </p:txBody>
        </p:sp>
        <p:sp>
          <p:nvSpPr>
            <p:cNvPr id="148" name="Freeform 147"/>
            <p:cNvSpPr/>
            <p:nvPr/>
          </p:nvSpPr>
          <p:spPr>
            <a:xfrm>
              <a:off x="4296384" y="3258791"/>
              <a:ext cx="35232" cy="24355"/>
            </a:xfrm>
            <a:custGeom>
              <a:avLst/>
              <a:gdLst>
                <a:gd name="connsiteX0" fmla="*/ 2951 w 35232"/>
                <a:gd name="connsiteY0" fmla="*/ 22564 h 24355"/>
                <a:gd name="connsiteX1" fmla="*/ 14381 w 35232"/>
                <a:gd name="connsiteY1" fmla="*/ 22564 h 24355"/>
                <a:gd name="connsiteX2" fmla="*/ 21366 w 35232"/>
                <a:gd name="connsiteY2" fmla="*/ 17484 h 24355"/>
                <a:gd name="connsiteX3" fmla="*/ 34066 w 35232"/>
                <a:gd name="connsiteY3" fmla="*/ 7959 h 24355"/>
                <a:gd name="connsiteX4" fmla="*/ 32161 w 35232"/>
                <a:gd name="connsiteY4" fmla="*/ 1609 h 24355"/>
                <a:gd name="connsiteX5" fmla="*/ 20096 w 35232"/>
                <a:gd name="connsiteY5" fmla="*/ 1609 h 24355"/>
                <a:gd name="connsiteX6" fmla="*/ 14381 w 35232"/>
                <a:gd name="connsiteY6" fmla="*/ 4784 h 24355"/>
                <a:gd name="connsiteX7" fmla="*/ 8031 w 35232"/>
                <a:gd name="connsiteY7" fmla="*/ 8594 h 24355"/>
                <a:gd name="connsiteX8" fmla="*/ 3586 w 35232"/>
                <a:gd name="connsiteY8" fmla="*/ 11769 h 24355"/>
                <a:gd name="connsiteX9" fmla="*/ 411 w 35232"/>
                <a:gd name="connsiteY9" fmla="*/ 14944 h 24355"/>
                <a:gd name="connsiteX10" fmla="*/ 1681 w 35232"/>
                <a:gd name="connsiteY10" fmla="*/ 21929 h 24355"/>
                <a:gd name="connsiteX11" fmla="*/ 2951 w 35232"/>
                <a:gd name="connsiteY11" fmla="*/ 22564 h 24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32" h="24355">
                  <a:moveTo>
                    <a:pt x="2951" y="22564"/>
                  </a:moveTo>
                  <a:cubicBezTo>
                    <a:pt x="4856" y="23834"/>
                    <a:pt x="10571" y="25104"/>
                    <a:pt x="14381" y="22564"/>
                  </a:cubicBezTo>
                  <a:cubicBezTo>
                    <a:pt x="15016" y="21929"/>
                    <a:pt x="18191" y="20024"/>
                    <a:pt x="21366" y="17484"/>
                  </a:cubicBezTo>
                  <a:cubicBezTo>
                    <a:pt x="26446" y="13674"/>
                    <a:pt x="33431" y="8594"/>
                    <a:pt x="34066" y="7959"/>
                  </a:cubicBezTo>
                  <a:cubicBezTo>
                    <a:pt x="35971" y="6054"/>
                    <a:pt x="34701" y="3514"/>
                    <a:pt x="32161" y="1609"/>
                  </a:cubicBezTo>
                  <a:cubicBezTo>
                    <a:pt x="29621" y="-296"/>
                    <a:pt x="24541" y="-1566"/>
                    <a:pt x="20096" y="1609"/>
                  </a:cubicBezTo>
                  <a:cubicBezTo>
                    <a:pt x="18191" y="2879"/>
                    <a:pt x="16286" y="3514"/>
                    <a:pt x="14381" y="4784"/>
                  </a:cubicBezTo>
                  <a:cubicBezTo>
                    <a:pt x="12476" y="6054"/>
                    <a:pt x="9936" y="7324"/>
                    <a:pt x="8031" y="8594"/>
                  </a:cubicBezTo>
                  <a:cubicBezTo>
                    <a:pt x="6761" y="9864"/>
                    <a:pt x="4856" y="10499"/>
                    <a:pt x="3586" y="11769"/>
                  </a:cubicBezTo>
                  <a:cubicBezTo>
                    <a:pt x="2316" y="12404"/>
                    <a:pt x="1046" y="13039"/>
                    <a:pt x="411" y="14944"/>
                  </a:cubicBezTo>
                  <a:cubicBezTo>
                    <a:pt x="-859" y="17484"/>
                    <a:pt x="-224" y="20024"/>
                    <a:pt x="1681" y="21929"/>
                  </a:cubicBezTo>
                  <a:cubicBezTo>
                    <a:pt x="2316" y="21929"/>
                    <a:pt x="2951" y="21929"/>
                    <a:pt x="2951" y="22564"/>
                  </a:cubicBezTo>
                </a:path>
              </a:pathLst>
            </a:custGeom>
            <a:solidFill>
              <a:srgbClr val="FFFFFF"/>
            </a:solidFill>
            <a:ln w="6350" cap="flat">
              <a:noFill/>
              <a:prstDash val="solid"/>
              <a:miter/>
            </a:ln>
          </p:spPr>
          <p:txBody>
            <a:bodyPr rtlCol="0" anchor="ctr"/>
            <a:lstStyle/>
            <a:p>
              <a:endParaRPr lang="en-GB"/>
            </a:p>
          </p:txBody>
        </p:sp>
        <p:sp>
          <p:nvSpPr>
            <p:cNvPr id="149" name="Freeform 148"/>
            <p:cNvSpPr/>
            <p:nvPr/>
          </p:nvSpPr>
          <p:spPr>
            <a:xfrm>
              <a:off x="4679315" y="3258820"/>
              <a:ext cx="36869" cy="22250"/>
            </a:xfrm>
            <a:custGeom>
              <a:avLst/>
              <a:gdLst>
                <a:gd name="connsiteX0" fmla="*/ 33405 w 36869"/>
                <a:gd name="connsiteY0" fmla="*/ 19995 h 22250"/>
                <a:gd name="connsiteX1" fmla="*/ 35945 w 36869"/>
                <a:gd name="connsiteY1" fmla="*/ 13010 h 22250"/>
                <a:gd name="connsiteX2" fmla="*/ 9275 w 36869"/>
                <a:gd name="connsiteY2" fmla="*/ -325 h 22250"/>
                <a:gd name="connsiteX3" fmla="*/ 1020 w 36869"/>
                <a:gd name="connsiteY3" fmla="*/ 3485 h 22250"/>
                <a:gd name="connsiteX4" fmla="*/ -250 w 36869"/>
                <a:gd name="connsiteY4" fmla="*/ 6025 h 22250"/>
                <a:gd name="connsiteX5" fmla="*/ 385 w 36869"/>
                <a:gd name="connsiteY5" fmla="*/ 8565 h 22250"/>
                <a:gd name="connsiteX6" fmla="*/ 385 w 36869"/>
                <a:gd name="connsiteY6" fmla="*/ 8565 h 22250"/>
                <a:gd name="connsiteX7" fmla="*/ 25150 w 36869"/>
                <a:gd name="connsiteY7" fmla="*/ 21265 h 22250"/>
                <a:gd name="connsiteX8" fmla="*/ 33405 w 36869"/>
                <a:gd name="connsiteY8" fmla="*/ 19995 h 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69" h="22250">
                  <a:moveTo>
                    <a:pt x="33405" y="19995"/>
                  </a:moveTo>
                  <a:cubicBezTo>
                    <a:pt x="35310" y="18725"/>
                    <a:pt x="37850" y="15550"/>
                    <a:pt x="35945" y="13010"/>
                  </a:cubicBezTo>
                  <a:cubicBezTo>
                    <a:pt x="34040" y="10470"/>
                    <a:pt x="11815" y="-325"/>
                    <a:pt x="9275" y="-325"/>
                  </a:cubicBezTo>
                  <a:cubicBezTo>
                    <a:pt x="6735" y="-325"/>
                    <a:pt x="2925" y="945"/>
                    <a:pt x="1020" y="3485"/>
                  </a:cubicBezTo>
                  <a:cubicBezTo>
                    <a:pt x="385" y="4120"/>
                    <a:pt x="-250" y="5390"/>
                    <a:pt x="-250" y="6025"/>
                  </a:cubicBezTo>
                  <a:cubicBezTo>
                    <a:pt x="-250" y="7295"/>
                    <a:pt x="-250" y="7930"/>
                    <a:pt x="385" y="8565"/>
                  </a:cubicBezTo>
                  <a:cubicBezTo>
                    <a:pt x="385" y="8565"/>
                    <a:pt x="385" y="8565"/>
                    <a:pt x="385" y="8565"/>
                  </a:cubicBezTo>
                  <a:cubicBezTo>
                    <a:pt x="2925" y="10470"/>
                    <a:pt x="21340" y="21265"/>
                    <a:pt x="25150" y="21265"/>
                  </a:cubicBezTo>
                  <a:cubicBezTo>
                    <a:pt x="28325" y="22535"/>
                    <a:pt x="30865" y="21900"/>
                    <a:pt x="33405" y="19995"/>
                  </a:cubicBezTo>
                </a:path>
              </a:pathLst>
            </a:custGeom>
            <a:solidFill>
              <a:srgbClr val="FFFFFF"/>
            </a:solidFill>
            <a:ln w="6350" cap="flat">
              <a:noFill/>
              <a:prstDash val="solid"/>
              <a:miter/>
            </a:ln>
          </p:spPr>
          <p:txBody>
            <a:bodyPr rtlCol="0" anchor="ctr"/>
            <a:lstStyle/>
            <a:p>
              <a:endParaRPr lang="en-GB"/>
            </a:p>
          </p:txBody>
        </p:sp>
        <p:sp>
          <p:nvSpPr>
            <p:cNvPr id="150" name="Freeform 149"/>
            <p:cNvSpPr/>
            <p:nvPr/>
          </p:nvSpPr>
          <p:spPr>
            <a:xfrm>
              <a:off x="4319393" y="3273328"/>
              <a:ext cx="31369" cy="25278"/>
            </a:xfrm>
            <a:custGeom>
              <a:avLst/>
              <a:gdLst>
                <a:gd name="connsiteX0" fmla="*/ 2166 w 31369"/>
                <a:gd name="connsiteY0" fmla="*/ 23267 h 25278"/>
                <a:gd name="connsiteX1" fmla="*/ 2801 w 31369"/>
                <a:gd name="connsiteY1" fmla="*/ 23902 h 25278"/>
                <a:gd name="connsiteX2" fmla="*/ 9786 w 31369"/>
                <a:gd name="connsiteY2" fmla="*/ 24537 h 25278"/>
                <a:gd name="connsiteX3" fmla="*/ 14231 w 31369"/>
                <a:gd name="connsiteY3" fmla="*/ 22631 h 25278"/>
                <a:gd name="connsiteX4" fmla="*/ 30106 w 31369"/>
                <a:gd name="connsiteY4" fmla="*/ 8027 h 25278"/>
                <a:gd name="connsiteX5" fmla="*/ 19946 w 31369"/>
                <a:gd name="connsiteY5" fmla="*/ 406 h 25278"/>
                <a:gd name="connsiteX6" fmla="*/ 5976 w 31369"/>
                <a:gd name="connsiteY6" fmla="*/ 11202 h 25278"/>
                <a:gd name="connsiteX7" fmla="*/ 261 w 31369"/>
                <a:gd name="connsiteY7" fmla="*/ 17552 h 25278"/>
                <a:gd name="connsiteX8" fmla="*/ 2166 w 31369"/>
                <a:gd name="connsiteY8" fmla="*/ 23267 h 2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69" h="25278">
                  <a:moveTo>
                    <a:pt x="2166" y="23267"/>
                  </a:moveTo>
                  <a:cubicBezTo>
                    <a:pt x="2166" y="23267"/>
                    <a:pt x="2801" y="23902"/>
                    <a:pt x="2801" y="23902"/>
                  </a:cubicBezTo>
                  <a:cubicBezTo>
                    <a:pt x="4706" y="25172"/>
                    <a:pt x="7246" y="25172"/>
                    <a:pt x="9786" y="24537"/>
                  </a:cubicBezTo>
                  <a:cubicBezTo>
                    <a:pt x="11056" y="23902"/>
                    <a:pt x="12961" y="23267"/>
                    <a:pt x="14231" y="22631"/>
                  </a:cubicBezTo>
                  <a:cubicBezTo>
                    <a:pt x="16136" y="21362"/>
                    <a:pt x="29471" y="9297"/>
                    <a:pt x="30106" y="8027"/>
                  </a:cubicBezTo>
                  <a:cubicBezTo>
                    <a:pt x="34551" y="2312"/>
                    <a:pt x="23121" y="-2133"/>
                    <a:pt x="19946" y="406"/>
                  </a:cubicBezTo>
                  <a:cubicBezTo>
                    <a:pt x="17406" y="2312"/>
                    <a:pt x="8516" y="8662"/>
                    <a:pt x="5976" y="11202"/>
                  </a:cubicBezTo>
                  <a:cubicBezTo>
                    <a:pt x="4706" y="12472"/>
                    <a:pt x="896" y="15647"/>
                    <a:pt x="261" y="17552"/>
                  </a:cubicBezTo>
                  <a:cubicBezTo>
                    <a:pt x="-1009" y="18822"/>
                    <a:pt x="261" y="21997"/>
                    <a:pt x="2166" y="23267"/>
                  </a:cubicBezTo>
                </a:path>
              </a:pathLst>
            </a:custGeom>
            <a:solidFill>
              <a:srgbClr val="FFFFFF"/>
            </a:solidFill>
            <a:ln w="6350" cap="flat">
              <a:noFill/>
              <a:prstDash val="solid"/>
              <a:miter/>
            </a:ln>
          </p:spPr>
          <p:txBody>
            <a:bodyPr rtlCol="0" anchor="ctr"/>
            <a:lstStyle/>
            <a:p>
              <a:endParaRPr lang="en-GB"/>
            </a:p>
          </p:txBody>
        </p:sp>
        <p:sp>
          <p:nvSpPr>
            <p:cNvPr id="151" name="Freeform 150"/>
            <p:cNvSpPr/>
            <p:nvPr/>
          </p:nvSpPr>
          <p:spPr>
            <a:xfrm>
              <a:off x="4662105" y="3273049"/>
              <a:ext cx="33744" cy="23235"/>
            </a:xfrm>
            <a:custGeom>
              <a:avLst/>
              <a:gdLst>
                <a:gd name="connsiteX0" fmla="*/ 23944 w 33744"/>
                <a:gd name="connsiteY0" fmla="*/ 22910 h 23235"/>
                <a:gd name="connsiteX1" fmla="*/ 29659 w 33744"/>
                <a:gd name="connsiteY1" fmla="*/ 22275 h 23235"/>
                <a:gd name="connsiteX2" fmla="*/ 30929 w 33744"/>
                <a:gd name="connsiteY2" fmla="*/ 21640 h 23235"/>
                <a:gd name="connsiteX3" fmla="*/ 31564 w 33744"/>
                <a:gd name="connsiteY3" fmla="*/ 21005 h 23235"/>
                <a:gd name="connsiteX4" fmla="*/ 32834 w 33744"/>
                <a:gd name="connsiteY4" fmla="*/ 14020 h 23235"/>
                <a:gd name="connsiteX5" fmla="*/ 26484 w 33744"/>
                <a:gd name="connsiteY5" fmla="*/ 8940 h 23235"/>
                <a:gd name="connsiteX6" fmla="*/ 25214 w 33744"/>
                <a:gd name="connsiteY6" fmla="*/ 8305 h 23235"/>
                <a:gd name="connsiteX7" fmla="*/ 10609 w 33744"/>
                <a:gd name="connsiteY7" fmla="*/ 50 h 23235"/>
                <a:gd name="connsiteX8" fmla="*/ 1084 w 33744"/>
                <a:gd name="connsiteY8" fmla="*/ 8940 h 23235"/>
                <a:gd name="connsiteX9" fmla="*/ 18864 w 33744"/>
                <a:gd name="connsiteY9" fmla="*/ 21640 h 23235"/>
                <a:gd name="connsiteX10" fmla="*/ 23944 w 33744"/>
                <a:gd name="connsiteY10" fmla="*/ 22910 h 2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3235">
                  <a:moveTo>
                    <a:pt x="23944" y="22910"/>
                  </a:moveTo>
                  <a:cubicBezTo>
                    <a:pt x="25849" y="22910"/>
                    <a:pt x="27754" y="22910"/>
                    <a:pt x="29659" y="22275"/>
                  </a:cubicBezTo>
                  <a:cubicBezTo>
                    <a:pt x="30294" y="22275"/>
                    <a:pt x="30294" y="21640"/>
                    <a:pt x="30929" y="21640"/>
                  </a:cubicBezTo>
                  <a:cubicBezTo>
                    <a:pt x="30929" y="21640"/>
                    <a:pt x="31564" y="21005"/>
                    <a:pt x="31564" y="21005"/>
                  </a:cubicBezTo>
                  <a:cubicBezTo>
                    <a:pt x="33469" y="19100"/>
                    <a:pt x="34104" y="16560"/>
                    <a:pt x="32834" y="14020"/>
                  </a:cubicBezTo>
                  <a:cubicBezTo>
                    <a:pt x="32199" y="12115"/>
                    <a:pt x="27754" y="9575"/>
                    <a:pt x="26484" y="8940"/>
                  </a:cubicBezTo>
                  <a:cubicBezTo>
                    <a:pt x="25849" y="8940"/>
                    <a:pt x="25849" y="8305"/>
                    <a:pt x="25214" y="8305"/>
                  </a:cubicBezTo>
                  <a:cubicBezTo>
                    <a:pt x="21404" y="5765"/>
                    <a:pt x="13149" y="1320"/>
                    <a:pt x="10609" y="50"/>
                  </a:cubicBezTo>
                  <a:cubicBezTo>
                    <a:pt x="6799" y="-1855"/>
                    <a:pt x="-3996" y="3860"/>
                    <a:pt x="1084" y="8940"/>
                  </a:cubicBezTo>
                  <a:cubicBezTo>
                    <a:pt x="2354" y="10210"/>
                    <a:pt x="16959" y="20370"/>
                    <a:pt x="18864" y="21640"/>
                  </a:cubicBezTo>
                  <a:cubicBezTo>
                    <a:pt x="20769" y="22275"/>
                    <a:pt x="22674" y="22910"/>
                    <a:pt x="23944" y="22910"/>
                  </a:cubicBezTo>
                </a:path>
              </a:pathLst>
            </a:custGeom>
            <a:solidFill>
              <a:srgbClr val="FFFFFF"/>
            </a:solidFill>
            <a:ln w="6350" cap="flat">
              <a:noFill/>
              <a:prstDash val="solid"/>
              <a:miter/>
            </a:ln>
          </p:spPr>
          <p:txBody>
            <a:bodyPr rtlCol="0" anchor="ctr"/>
            <a:lstStyle/>
            <a:p>
              <a:endParaRPr lang="en-GB"/>
            </a:p>
          </p:txBody>
        </p:sp>
        <p:sp>
          <p:nvSpPr>
            <p:cNvPr id="152" name="Freeform 151"/>
            <p:cNvSpPr/>
            <p:nvPr/>
          </p:nvSpPr>
          <p:spPr>
            <a:xfrm>
              <a:off x="4134702" y="3271731"/>
              <a:ext cx="155101" cy="49537"/>
            </a:xfrm>
            <a:custGeom>
              <a:avLst/>
              <a:gdLst>
                <a:gd name="connsiteX0" fmla="*/ 154472 w 155101"/>
                <a:gd name="connsiteY0" fmla="*/ 3909 h 49537"/>
                <a:gd name="connsiteX1" fmla="*/ 144947 w 155101"/>
                <a:gd name="connsiteY1" fmla="*/ 98 h 49537"/>
                <a:gd name="connsiteX2" fmla="*/ 802 w 155101"/>
                <a:gd name="connsiteY2" fmla="*/ 35659 h 49537"/>
                <a:gd name="connsiteX3" fmla="*/ 167 w 155101"/>
                <a:gd name="connsiteY3" fmla="*/ 38198 h 49537"/>
                <a:gd name="connsiteX4" fmla="*/ 4612 w 155101"/>
                <a:gd name="connsiteY4" fmla="*/ 45818 h 49537"/>
                <a:gd name="connsiteX5" fmla="*/ 47157 w 155101"/>
                <a:gd name="connsiteY5" fmla="*/ 48359 h 49537"/>
                <a:gd name="connsiteX6" fmla="*/ 153202 w 155101"/>
                <a:gd name="connsiteY6" fmla="*/ 11528 h 49537"/>
                <a:gd name="connsiteX7" fmla="*/ 154472 w 155101"/>
                <a:gd name="connsiteY7" fmla="*/ 3909 h 4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101" h="49537">
                  <a:moveTo>
                    <a:pt x="154472" y="3909"/>
                  </a:moveTo>
                  <a:cubicBezTo>
                    <a:pt x="153837" y="-1172"/>
                    <a:pt x="148122" y="-537"/>
                    <a:pt x="144947" y="98"/>
                  </a:cubicBezTo>
                  <a:cubicBezTo>
                    <a:pt x="141772" y="1368"/>
                    <a:pt x="2072" y="35659"/>
                    <a:pt x="802" y="35659"/>
                  </a:cubicBezTo>
                  <a:cubicBezTo>
                    <a:pt x="-468" y="36293"/>
                    <a:pt x="-468" y="36928"/>
                    <a:pt x="167" y="38198"/>
                  </a:cubicBezTo>
                  <a:cubicBezTo>
                    <a:pt x="802" y="39468"/>
                    <a:pt x="2707" y="44548"/>
                    <a:pt x="4612" y="45818"/>
                  </a:cubicBezTo>
                  <a:cubicBezTo>
                    <a:pt x="8422" y="47088"/>
                    <a:pt x="37632" y="50898"/>
                    <a:pt x="47157" y="48359"/>
                  </a:cubicBezTo>
                  <a:cubicBezTo>
                    <a:pt x="56682" y="45818"/>
                    <a:pt x="151297" y="14068"/>
                    <a:pt x="153202" y="11528"/>
                  </a:cubicBezTo>
                  <a:cubicBezTo>
                    <a:pt x="155107" y="10259"/>
                    <a:pt x="155107" y="6448"/>
                    <a:pt x="154472" y="3909"/>
                  </a:cubicBezTo>
                </a:path>
              </a:pathLst>
            </a:custGeom>
            <a:solidFill>
              <a:srgbClr val="FFFFFF"/>
            </a:solidFill>
            <a:ln w="6350" cap="flat">
              <a:noFill/>
              <a:prstDash val="solid"/>
              <a:miter/>
            </a:ln>
          </p:spPr>
          <p:txBody>
            <a:bodyPr rtlCol="0" anchor="ctr"/>
            <a:lstStyle/>
            <a:p>
              <a:endParaRPr lang="en-GB"/>
            </a:p>
          </p:txBody>
        </p:sp>
        <p:sp>
          <p:nvSpPr>
            <p:cNvPr id="153" name="Freeform 152"/>
            <p:cNvSpPr/>
            <p:nvPr/>
          </p:nvSpPr>
          <p:spPr>
            <a:xfrm>
              <a:off x="4341641" y="3284436"/>
              <a:ext cx="27820" cy="23779"/>
            </a:xfrm>
            <a:custGeom>
              <a:avLst/>
              <a:gdLst>
                <a:gd name="connsiteX0" fmla="*/ 1509 w 27820"/>
                <a:gd name="connsiteY0" fmla="*/ 21684 h 23779"/>
                <a:gd name="connsiteX1" fmla="*/ 14209 w 27820"/>
                <a:gd name="connsiteY1" fmla="*/ 20414 h 23779"/>
                <a:gd name="connsiteX2" fmla="*/ 27544 w 27820"/>
                <a:gd name="connsiteY2" fmla="*/ 1999 h 23779"/>
                <a:gd name="connsiteX3" fmla="*/ 15479 w 27820"/>
                <a:gd name="connsiteY3" fmla="*/ 94 h 23779"/>
                <a:gd name="connsiteX4" fmla="*/ 4684 w 27820"/>
                <a:gd name="connsiteY4" fmla="*/ 10889 h 23779"/>
                <a:gd name="connsiteX5" fmla="*/ 1509 w 27820"/>
                <a:gd name="connsiteY5" fmla="*/ 21684 h 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20" h="23779">
                  <a:moveTo>
                    <a:pt x="1509" y="21684"/>
                  </a:moveTo>
                  <a:cubicBezTo>
                    <a:pt x="5319" y="24224"/>
                    <a:pt x="11034" y="24224"/>
                    <a:pt x="14209" y="20414"/>
                  </a:cubicBezTo>
                  <a:cubicBezTo>
                    <a:pt x="15479" y="19144"/>
                    <a:pt x="25639" y="5809"/>
                    <a:pt x="27544" y="1999"/>
                  </a:cubicBezTo>
                  <a:cubicBezTo>
                    <a:pt x="28179" y="729"/>
                    <a:pt x="17384" y="-1176"/>
                    <a:pt x="15479" y="94"/>
                  </a:cubicBezTo>
                  <a:cubicBezTo>
                    <a:pt x="13574" y="1364"/>
                    <a:pt x="7859" y="7714"/>
                    <a:pt x="4684" y="10889"/>
                  </a:cubicBezTo>
                  <a:cubicBezTo>
                    <a:pt x="2144" y="14064"/>
                    <a:pt x="-2936" y="19144"/>
                    <a:pt x="1509" y="21684"/>
                  </a:cubicBezTo>
                </a:path>
              </a:pathLst>
            </a:custGeom>
            <a:solidFill>
              <a:srgbClr val="FFFFFF"/>
            </a:solidFill>
            <a:ln w="6350" cap="flat">
              <a:noFill/>
              <a:prstDash val="solid"/>
              <a:miter/>
            </a:ln>
          </p:spPr>
          <p:txBody>
            <a:bodyPr rtlCol="0" anchor="ctr"/>
            <a:lstStyle/>
            <a:p>
              <a:endParaRPr lang="en-GB"/>
            </a:p>
          </p:txBody>
        </p:sp>
        <p:sp>
          <p:nvSpPr>
            <p:cNvPr id="154" name="Freeform 153"/>
            <p:cNvSpPr/>
            <p:nvPr/>
          </p:nvSpPr>
          <p:spPr>
            <a:xfrm>
              <a:off x="4709795" y="3284200"/>
              <a:ext cx="138767" cy="50355"/>
            </a:xfrm>
            <a:custGeom>
              <a:avLst/>
              <a:gdLst>
                <a:gd name="connsiteX0" fmla="*/ 105160 w 138767"/>
                <a:gd name="connsiteY0" fmla="*/ 31445 h 50355"/>
                <a:gd name="connsiteX1" fmla="*/ 10545 w 138767"/>
                <a:gd name="connsiteY1" fmla="*/ -305 h 50355"/>
                <a:gd name="connsiteX2" fmla="*/ -250 w 138767"/>
                <a:gd name="connsiteY2" fmla="*/ 5410 h 50355"/>
                <a:gd name="connsiteX3" fmla="*/ 41025 w 138767"/>
                <a:gd name="connsiteY3" fmla="*/ 27635 h 50355"/>
                <a:gd name="connsiteX4" fmla="*/ 65790 w 138767"/>
                <a:gd name="connsiteY4" fmla="*/ 39700 h 50355"/>
                <a:gd name="connsiteX5" fmla="*/ 91825 w 138767"/>
                <a:gd name="connsiteY5" fmla="*/ 47955 h 50355"/>
                <a:gd name="connsiteX6" fmla="*/ 134370 w 138767"/>
                <a:gd name="connsiteY6" fmla="*/ 49225 h 50355"/>
                <a:gd name="connsiteX7" fmla="*/ 138180 w 138767"/>
                <a:gd name="connsiteY7" fmla="*/ 39700 h 50355"/>
                <a:gd name="connsiteX8" fmla="*/ 105160 w 138767"/>
                <a:gd name="connsiteY8" fmla="*/ 31445 h 5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67" h="50355">
                  <a:moveTo>
                    <a:pt x="105160" y="31445"/>
                  </a:moveTo>
                  <a:cubicBezTo>
                    <a:pt x="44200" y="13665"/>
                    <a:pt x="14355" y="-940"/>
                    <a:pt x="10545" y="-305"/>
                  </a:cubicBezTo>
                  <a:cubicBezTo>
                    <a:pt x="6735" y="330"/>
                    <a:pt x="-250" y="3505"/>
                    <a:pt x="-250" y="5410"/>
                  </a:cubicBezTo>
                  <a:cubicBezTo>
                    <a:pt x="-250" y="7950"/>
                    <a:pt x="35310" y="25095"/>
                    <a:pt x="41025" y="27635"/>
                  </a:cubicBezTo>
                  <a:cubicBezTo>
                    <a:pt x="49280" y="32080"/>
                    <a:pt x="57535" y="35890"/>
                    <a:pt x="65790" y="39700"/>
                  </a:cubicBezTo>
                  <a:cubicBezTo>
                    <a:pt x="74680" y="43510"/>
                    <a:pt x="82300" y="46685"/>
                    <a:pt x="91825" y="47955"/>
                  </a:cubicBezTo>
                  <a:cubicBezTo>
                    <a:pt x="100080" y="49225"/>
                    <a:pt x="128655" y="51130"/>
                    <a:pt x="134370" y="49225"/>
                  </a:cubicBezTo>
                  <a:cubicBezTo>
                    <a:pt x="136910" y="48590"/>
                    <a:pt x="139450" y="42240"/>
                    <a:pt x="138180" y="39700"/>
                  </a:cubicBezTo>
                  <a:cubicBezTo>
                    <a:pt x="136910" y="37160"/>
                    <a:pt x="121670" y="36525"/>
                    <a:pt x="105160" y="31445"/>
                  </a:cubicBezTo>
                </a:path>
              </a:pathLst>
            </a:custGeom>
            <a:solidFill>
              <a:srgbClr val="FFFFFF"/>
            </a:solidFill>
            <a:ln w="6350" cap="flat">
              <a:noFill/>
              <a:prstDash val="solid"/>
              <a:miter/>
            </a:ln>
          </p:spPr>
          <p:txBody>
            <a:bodyPr rtlCol="0" anchor="ctr"/>
            <a:lstStyle/>
            <a:p>
              <a:endParaRPr lang="en-GB"/>
            </a:p>
          </p:txBody>
        </p:sp>
        <p:sp>
          <p:nvSpPr>
            <p:cNvPr id="155" name="Freeform 154"/>
            <p:cNvSpPr/>
            <p:nvPr/>
          </p:nvSpPr>
          <p:spPr>
            <a:xfrm>
              <a:off x="4190047" y="3291204"/>
              <a:ext cx="121602" cy="51205"/>
            </a:xfrm>
            <a:custGeom>
              <a:avLst/>
              <a:gdLst>
                <a:gd name="connsiteX0" fmla="*/ 121353 w 121602"/>
                <a:gd name="connsiteY0" fmla="*/ 5390 h 51205"/>
                <a:gd name="connsiteX1" fmla="*/ 106748 w 121602"/>
                <a:gd name="connsiteY1" fmla="*/ -325 h 51205"/>
                <a:gd name="connsiteX2" fmla="*/ 703 w 121602"/>
                <a:gd name="connsiteY2" fmla="*/ 39680 h 51205"/>
                <a:gd name="connsiteX3" fmla="*/ 703 w 121602"/>
                <a:gd name="connsiteY3" fmla="*/ 45395 h 51205"/>
                <a:gd name="connsiteX4" fmla="*/ 4512 w 121602"/>
                <a:gd name="connsiteY4" fmla="*/ 49840 h 51205"/>
                <a:gd name="connsiteX5" fmla="*/ 40707 w 121602"/>
                <a:gd name="connsiteY5" fmla="*/ 48570 h 51205"/>
                <a:gd name="connsiteX6" fmla="*/ 97223 w 121602"/>
                <a:gd name="connsiteY6" fmla="*/ 20630 h 51205"/>
                <a:gd name="connsiteX7" fmla="*/ 121353 w 121602"/>
                <a:gd name="connsiteY7" fmla="*/ 5390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602" h="51205">
                  <a:moveTo>
                    <a:pt x="121353" y="5390"/>
                  </a:moveTo>
                  <a:cubicBezTo>
                    <a:pt x="120718" y="-325"/>
                    <a:pt x="111828" y="-325"/>
                    <a:pt x="106748" y="-325"/>
                  </a:cubicBezTo>
                  <a:cubicBezTo>
                    <a:pt x="102303" y="-325"/>
                    <a:pt x="3243" y="39045"/>
                    <a:pt x="703" y="39680"/>
                  </a:cubicBezTo>
                  <a:cubicBezTo>
                    <a:pt x="-568" y="40315"/>
                    <a:pt x="-568" y="42855"/>
                    <a:pt x="703" y="45395"/>
                  </a:cubicBezTo>
                  <a:cubicBezTo>
                    <a:pt x="1337" y="47300"/>
                    <a:pt x="2607" y="49205"/>
                    <a:pt x="4512" y="49840"/>
                  </a:cubicBezTo>
                  <a:cubicBezTo>
                    <a:pt x="11498" y="51110"/>
                    <a:pt x="31818" y="51745"/>
                    <a:pt x="40707" y="48570"/>
                  </a:cubicBezTo>
                  <a:cubicBezTo>
                    <a:pt x="50232" y="45395"/>
                    <a:pt x="87698" y="25710"/>
                    <a:pt x="97223" y="20630"/>
                  </a:cubicBezTo>
                  <a:cubicBezTo>
                    <a:pt x="101668" y="18090"/>
                    <a:pt x="121353" y="9200"/>
                    <a:pt x="121353" y="5390"/>
                  </a:cubicBezTo>
                </a:path>
              </a:pathLst>
            </a:custGeom>
            <a:solidFill>
              <a:srgbClr val="FFFFFF"/>
            </a:solidFill>
            <a:ln w="6350" cap="flat">
              <a:noFill/>
              <a:prstDash val="solid"/>
              <a:miter/>
            </a:ln>
          </p:spPr>
          <p:txBody>
            <a:bodyPr rtlCol="0" anchor="ctr"/>
            <a:lstStyle/>
            <a:p>
              <a:endParaRPr lang="en-GB"/>
            </a:p>
          </p:txBody>
        </p:sp>
        <p:sp>
          <p:nvSpPr>
            <p:cNvPr id="156" name="Freeform 155"/>
            <p:cNvSpPr/>
            <p:nvPr/>
          </p:nvSpPr>
          <p:spPr>
            <a:xfrm>
              <a:off x="4694947" y="3297381"/>
              <a:ext cx="107795" cy="56809"/>
            </a:xfrm>
            <a:custGeom>
              <a:avLst/>
              <a:gdLst>
                <a:gd name="connsiteX0" fmla="*/ 106037 w 107795"/>
                <a:gd name="connsiteY0" fmla="*/ 45568 h 56809"/>
                <a:gd name="connsiteX1" fmla="*/ 88258 w 107795"/>
                <a:gd name="connsiteY1" fmla="*/ 39218 h 56809"/>
                <a:gd name="connsiteX2" fmla="*/ 43808 w 107795"/>
                <a:gd name="connsiteY2" fmla="*/ 18263 h 56809"/>
                <a:gd name="connsiteX3" fmla="*/ 26662 w 107795"/>
                <a:gd name="connsiteY3" fmla="*/ 8738 h 56809"/>
                <a:gd name="connsiteX4" fmla="*/ 9518 w 107795"/>
                <a:gd name="connsiteY4" fmla="*/ -152 h 56809"/>
                <a:gd name="connsiteX5" fmla="*/ 3168 w 107795"/>
                <a:gd name="connsiteY5" fmla="*/ 1118 h 56809"/>
                <a:gd name="connsiteX6" fmla="*/ 2533 w 107795"/>
                <a:gd name="connsiteY6" fmla="*/ 8103 h 56809"/>
                <a:gd name="connsiteX7" fmla="*/ 48253 w 107795"/>
                <a:gd name="connsiteY7" fmla="*/ 39853 h 56809"/>
                <a:gd name="connsiteX8" fmla="*/ 69843 w 107795"/>
                <a:gd name="connsiteY8" fmla="*/ 51918 h 56809"/>
                <a:gd name="connsiteX9" fmla="*/ 100958 w 107795"/>
                <a:gd name="connsiteY9" fmla="*/ 56363 h 56809"/>
                <a:gd name="connsiteX10" fmla="*/ 106037 w 107795"/>
                <a:gd name="connsiteY10" fmla="*/ 45568 h 5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795" h="56809">
                  <a:moveTo>
                    <a:pt x="106037" y="45568"/>
                  </a:moveTo>
                  <a:cubicBezTo>
                    <a:pt x="100323" y="43663"/>
                    <a:pt x="93973" y="41758"/>
                    <a:pt x="88258" y="39218"/>
                  </a:cubicBezTo>
                  <a:cubicBezTo>
                    <a:pt x="73018" y="33503"/>
                    <a:pt x="58412" y="25883"/>
                    <a:pt x="43808" y="18263"/>
                  </a:cubicBezTo>
                  <a:cubicBezTo>
                    <a:pt x="38093" y="15088"/>
                    <a:pt x="32378" y="11913"/>
                    <a:pt x="26662" y="8738"/>
                  </a:cubicBezTo>
                  <a:cubicBezTo>
                    <a:pt x="23487" y="6833"/>
                    <a:pt x="13328" y="483"/>
                    <a:pt x="9518" y="-152"/>
                  </a:cubicBezTo>
                  <a:cubicBezTo>
                    <a:pt x="6978" y="-787"/>
                    <a:pt x="5073" y="483"/>
                    <a:pt x="3168" y="1118"/>
                  </a:cubicBezTo>
                  <a:cubicBezTo>
                    <a:pt x="-1277" y="2388"/>
                    <a:pt x="-1277" y="4928"/>
                    <a:pt x="2533" y="8103"/>
                  </a:cubicBezTo>
                  <a:cubicBezTo>
                    <a:pt x="3803" y="9373"/>
                    <a:pt x="41268" y="35408"/>
                    <a:pt x="48253" y="39853"/>
                  </a:cubicBezTo>
                  <a:cubicBezTo>
                    <a:pt x="55237" y="44298"/>
                    <a:pt x="62223" y="49378"/>
                    <a:pt x="69843" y="51918"/>
                  </a:cubicBezTo>
                  <a:cubicBezTo>
                    <a:pt x="77462" y="55093"/>
                    <a:pt x="95243" y="56998"/>
                    <a:pt x="100958" y="56363"/>
                  </a:cubicBezTo>
                  <a:cubicBezTo>
                    <a:pt x="107308" y="56363"/>
                    <a:pt x="109212" y="46838"/>
                    <a:pt x="106037" y="45568"/>
                  </a:cubicBezTo>
                </a:path>
              </a:pathLst>
            </a:custGeom>
            <a:solidFill>
              <a:srgbClr val="FFFFFF"/>
            </a:solidFill>
            <a:ln w="6350" cap="flat">
              <a:noFill/>
              <a:prstDash val="solid"/>
              <a:miter/>
            </a:ln>
          </p:spPr>
          <p:txBody>
            <a:bodyPr rtlCol="0" anchor="ctr"/>
            <a:lstStyle/>
            <a:p>
              <a:endParaRPr lang="en-GB"/>
            </a:p>
          </p:txBody>
        </p:sp>
        <p:sp>
          <p:nvSpPr>
            <p:cNvPr id="157" name="Freeform 156"/>
            <p:cNvSpPr/>
            <p:nvPr/>
          </p:nvSpPr>
          <p:spPr>
            <a:xfrm>
              <a:off x="4239262" y="3306103"/>
              <a:ext cx="94148" cy="52505"/>
            </a:xfrm>
            <a:custGeom>
              <a:avLst/>
              <a:gdLst>
                <a:gd name="connsiteX0" fmla="*/ 93728 w 94148"/>
                <a:gd name="connsiteY0" fmla="*/ 3192 h 52505"/>
                <a:gd name="connsiteX1" fmla="*/ 77853 w 94148"/>
                <a:gd name="connsiteY1" fmla="*/ 17 h 52505"/>
                <a:gd name="connsiteX2" fmla="*/ 68962 w 94148"/>
                <a:gd name="connsiteY2" fmla="*/ 4462 h 52505"/>
                <a:gd name="connsiteX3" fmla="*/ 6097 w 94148"/>
                <a:gd name="connsiteY3" fmla="*/ 40022 h 52505"/>
                <a:gd name="connsiteX4" fmla="*/ 382 w 94148"/>
                <a:gd name="connsiteY4" fmla="*/ 47642 h 52505"/>
                <a:gd name="connsiteX5" fmla="*/ 6097 w 94148"/>
                <a:gd name="connsiteY5" fmla="*/ 52087 h 52505"/>
                <a:gd name="connsiteX6" fmla="*/ 42292 w 94148"/>
                <a:gd name="connsiteY6" fmla="*/ 43197 h 52505"/>
                <a:gd name="connsiteX7" fmla="*/ 68328 w 94148"/>
                <a:gd name="connsiteY7" fmla="*/ 23512 h 52505"/>
                <a:gd name="connsiteX8" fmla="*/ 93728 w 94148"/>
                <a:gd name="connsiteY8" fmla="*/ 3192 h 5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148" h="52505">
                  <a:moveTo>
                    <a:pt x="93728" y="3192"/>
                  </a:moveTo>
                  <a:cubicBezTo>
                    <a:pt x="95632" y="1287"/>
                    <a:pt x="81028" y="-1253"/>
                    <a:pt x="77853" y="17"/>
                  </a:cubicBezTo>
                  <a:cubicBezTo>
                    <a:pt x="76582" y="17"/>
                    <a:pt x="73407" y="1922"/>
                    <a:pt x="68962" y="4462"/>
                  </a:cubicBezTo>
                  <a:cubicBezTo>
                    <a:pt x="49278" y="15257"/>
                    <a:pt x="6732" y="40022"/>
                    <a:pt x="6097" y="40022"/>
                  </a:cubicBezTo>
                  <a:cubicBezTo>
                    <a:pt x="1017" y="42562"/>
                    <a:pt x="-1522" y="43832"/>
                    <a:pt x="382" y="47642"/>
                  </a:cubicBezTo>
                  <a:cubicBezTo>
                    <a:pt x="1017" y="48912"/>
                    <a:pt x="2922" y="52087"/>
                    <a:pt x="6097" y="52087"/>
                  </a:cubicBezTo>
                  <a:cubicBezTo>
                    <a:pt x="8637" y="52722"/>
                    <a:pt x="30862" y="50182"/>
                    <a:pt x="42292" y="43197"/>
                  </a:cubicBezTo>
                  <a:cubicBezTo>
                    <a:pt x="47372" y="40657"/>
                    <a:pt x="58167" y="31767"/>
                    <a:pt x="68328" y="23512"/>
                  </a:cubicBezTo>
                  <a:cubicBezTo>
                    <a:pt x="81028" y="13987"/>
                    <a:pt x="93092" y="3827"/>
                    <a:pt x="93728" y="3192"/>
                  </a:cubicBezTo>
                </a:path>
              </a:pathLst>
            </a:custGeom>
            <a:solidFill>
              <a:srgbClr val="FFFFFF"/>
            </a:solidFill>
            <a:ln w="6350" cap="flat">
              <a:noFill/>
              <a:prstDash val="solid"/>
              <a:miter/>
            </a:ln>
          </p:spPr>
          <p:txBody>
            <a:bodyPr rtlCol="0" anchor="ctr"/>
            <a:lstStyle/>
            <a:p>
              <a:endParaRPr lang="en-GB"/>
            </a:p>
          </p:txBody>
        </p:sp>
        <p:sp>
          <p:nvSpPr>
            <p:cNvPr id="158" name="Freeform 157"/>
            <p:cNvSpPr/>
            <p:nvPr/>
          </p:nvSpPr>
          <p:spPr>
            <a:xfrm>
              <a:off x="4285756" y="3315334"/>
              <a:ext cx="72248" cy="51858"/>
            </a:xfrm>
            <a:custGeom>
              <a:avLst/>
              <a:gdLst>
                <a:gd name="connsiteX0" fmla="*/ 69459 w 72248"/>
                <a:gd name="connsiteY0" fmla="*/ 6660 h 51858"/>
                <a:gd name="connsiteX1" fmla="*/ 71999 w 72248"/>
                <a:gd name="connsiteY1" fmla="*/ 2850 h 51858"/>
                <a:gd name="connsiteX2" fmla="*/ 71364 w 72248"/>
                <a:gd name="connsiteY2" fmla="*/ 1580 h 51858"/>
                <a:gd name="connsiteX3" fmla="*/ 64379 w 72248"/>
                <a:gd name="connsiteY3" fmla="*/ 945 h 51858"/>
                <a:gd name="connsiteX4" fmla="*/ 52949 w 72248"/>
                <a:gd name="connsiteY4" fmla="*/ -325 h 51858"/>
                <a:gd name="connsiteX5" fmla="*/ 23739 w 72248"/>
                <a:gd name="connsiteY5" fmla="*/ 23170 h 51858"/>
                <a:gd name="connsiteX6" fmla="*/ 3419 w 72248"/>
                <a:gd name="connsiteY6" fmla="*/ 40315 h 51858"/>
                <a:gd name="connsiteX7" fmla="*/ 1514 w 72248"/>
                <a:gd name="connsiteY7" fmla="*/ 49205 h 51858"/>
                <a:gd name="connsiteX8" fmla="*/ 23739 w 72248"/>
                <a:gd name="connsiteY8" fmla="*/ 47300 h 51858"/>
                <a:gd name="connsiteX9" fmla="*/ 33264 w 72248"/>
                <a:gd name="connsiteY9" fmla="*/ 41585 h 51858"/>
                <a:gd name="connsiteX10" fmla="*/ 35169 w 72248"/>
                <a:gd name="connsiteY10" fmla="*/ 40315 h 51858"/>
                <a:gd name="connsiteX11" fmla="*/ 69459 w 72248"/>
                <a:gd name="connsiteY11" fmla="*/ 6660 h 5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248" h="51858">
                  <a:moveTo>
                    <a:pt x="69459" y="6660"/>
                  </a:moveTo>
                  <a:cubicBezTo>
                    <a:pt x="70094" y="6025"/>
                    <a:pt x="71999" y="4120"/>
                    <a:pt x="71999" y="2850"/>
                  </a:cubicBezTo>
                  <a:cubicBezTo>
                    <a:pt x="71999" y="2215"/>
                    <a:pt x="71999" y="2215"/>
                    <a:pt x="71364" y="1580"/>
                  </a:cubicBezTo>
                  <a:cubicBezTo>
                    <a:pt x="70094" y="310"/>
                    <a:pt x="66284" y="945"/>
                    <a:pt x="64379" y="945"/>
                  </a:cubicBezTo>
                  <a:cubicBezTo>
                    <a:pt x="60569" y="945"/>
                    <a:pt x="56759" y="310"/>
                    <a:pt x="52949" y="-325"/>
                  </a:cubicBezTo>
                  <a:cubicBezTo>
                    <a:pt x="51679" y="-325"/>
                    <a:pt x="37074" y="11740"/>
                    <a:pt x="23739" y="23170"/>
                  </a:cubicBezTo>
                  <a:cubicBezTo>
                    <a:pt x="14849" y="30790"/>
                    <a:pt x="7229" y="37775"/>
                    <a:pt x="3419" y="40315"/>
                  </a:cubicBezTo>
                  <a:cubicBezTo>
                    <a:pt x="879" y="42855"/>
                    <a:pt x="-2296" y="45395"/>
                    <a:pt x="1514" y="49205"/>
                  </a:cubicBezTo>
                  <a:cubicBezTo>
                    <a:pt x="6594" y="54285"/>
                    <a:pt x="18024" y="49840"/>
                    <a:pt x="23739" y="47300"/>
                  </a:cubicBezTo>
                  <a:cubicBezTo>
                    <a:pt x="27549" y="45395"/>
                    <a:pt x="30724" y="44125"/>
                    <a:pt x="33264" y="41585"/>
                  </a:cubicBezTo>
                  <a:cubicBezTo>
                    <a:pt x="33899" y="40950"/>
                    <a:pt x="34534" y="40315"/>
                    <a:pt x="35169" y="40315"/>
                  </a:cubicBezTo>
                  <a:cubicBezTo>
                    <a:pt x="38344" y="37775"/>
                    <a:pt x="66919" y="8565"/>
                    <a:pt x="69459" y="6660"/>
                  </a:cubicBezTo>
                </a:path>
              </a:pathLst>
            </a:custGeom>
            <a:solidFill>
              <a:srgbClr val="FFFFFF"/>
            </a:solidFill>
            <a:ln w="6350" cap="flat">
              <a:noFill/>
              <a:prstDash val="solid"/>
              <a:miter/>
            </a:ln>
          </p:spPr>
          <p:txBody>
            <a:bodyPr rtlCol="0" anchor="ctr"/>
            <a:lstStyle/>
            <a:p>
              <a:endParaRPr lang="en-GB"/>
            </a:p>
          </p:txBody>
        </p:sp>
        <p:sp>
          <p:nvSpPr>
            <p:cNvPr id="159" name="Freeform 158"/>
            <p:cNvSpPr/>
            <p:nvPr/>
          </p:nvSpPr>
          <p:spPr>
            <a:xfrm>
              <a:off x="4263954" y="3213734"/>
              <a:ext cx="35630" cy="10356"/>
            </a:xfrm>
            <a:custGeom>
              <a:avLst/>
              <a:gdLst>
                <a:gd name="connsiteX0" fmla="*/ 18236 w 35630"/>
                <a:gd name="connsiteY0" fmla="*/ 8565 h 10356"/>
                <a:gd name="connsiteX1" fmla="*/ 35381 w 35630"/>
                <a:gd name="connsiteY1" fmla="*/ 4120 h 10356"/>
                <a:gd name="connsiteX2" fmla="*/ 17601 w 35630"/>
                <a:gd name="connsiteY2" fmla="*/ 310 h 10356"/>
                <a:gd name="connsiteX3" fmla="*/ 1726 w 35630"/>
                <a:gd name="connsiteY3" fmla="*/ -325 h 10356"/>
                <a:gd name="connsiteX4" fmla="*/ 2361 w 35630"/>
                <a:gd name="connsiteY4" fmla="*/ 8565 h 10356"/>
                <a:gd name="connsiteX5" fmla="*/ 18236 w 35630"/>
                <a:gd name="connsiteY5" fmla="*/ 8565 h 1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356">
                  <a:moveTo>
                    <a:pt x="18236" y="8565"/>
                  </a:moveTo>
                  <a:cubicBezTo>
                    <a:pt x="30301" y="6660"/>
                    <a:pt x="35381" y="6660"/>
                    <a:pt x="35381" y="4120"/>
                  </a:cubicBezTo>
                  <a:cubicBezTo>
                    <a:pt x="34746" y="-960"/>
                    <a:pt x="29031" y="310"/>
                    <a:pt x="17601" y="310"/>
                  </a:cubicBezTo>
                  <a:cubicBezTo>
                    <a:pt x="11251" y="310"/>
                    <a:pt x="8076" y="-325"/>
                    <a:pt x="1726" y="-325"/>
                  </a:cubicBezTo>
                  <a:cubicBezTo>
                    <a:pt x="-2084" y="-325"/>
                    <a:pt x="456" y="6660"/>
                    <a:pt x="2361" y="8565"/>
                  </a:cubicBezTo>
                  <a:cubicBezTo>
                    <a:pt x="4266" y="11105"/>
                    <a:pt x="10616" y="9835"/>
                    <a:pt x="18236" y="8565"/>
                  </a:cubicBezTo>
                </a:path>
              </a:pathLst>
            </a:custGeom>
            <a:solidFill>
              <a:srgbClr val="FFFFFF"/>
            </a:solidFill>
            <a:ln w="6350" cap="flat">
              <a:noFill/>
              <a:prstDash val="solid"/>
              <a:miter/>
            </a:ln>
          </p:spPr>
          <p:txBody>
            <a:bodyPr rtlCol="0" anchor="ctr"/>
            <a:lstStyle/>
            <a:p>
              <a:endParaRPr lang="en-GB"/>
            </a:p>
          </p:txBody>
        </p:sp>
        <p:sp>
          <p:nvSpPr>
            <p:cNvPr id="160" name="Freeform 159"/>
            <p:cNvSpPr/>
            <p:nvPr/>
          </p:nvSpPr>
          <p:spPr>
            <a:xfrm>
              <a:off x="4713604" y="3213664"/>
              <a:ext cx="35630" cy="10082"/>
            </a:xfrm>
            <a:custGeom>
              <a:avLst/>
              <a:gdLst>
                <a:gd name="connsiteX0" fmla="*/ 32770 w 35630"/>
                <a:gd name="connsiteY0" fmla="*/ 8636 h 10082"/>
                <a:gd name="connsiteX1" fmla="*/ 33405 w 35630"/>
                <a:gd name="connsiteY1" fmla="*/ -254 h 10082"/>
                <a:gd name="connsiteX2" fmla="*/ 2925 w 35630"/>
                <a:gd name="connsiteY2" fmla="*/ 1651 h 10082"/>
                <a:gd name="connsiteX3" fmla="*/ -250 w 35630"/>
                <a:gd name="connsiteY3" fmla="*/ 4191 h 10082"/>
                <a:gd name="connsiteX4" fmla="*/ 1655 w 35630"/>
                <a:gd name="connsiteY4" fmla="*/ 6096 h 10082"/>
                <a:gd name="connsiteX5" fmla="*/ 32770 w 35630"/>
                <a:gd name="connsiteY5" fmla="*/ 8636 h 1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082">
                  <a:moveTo>
                    <a:pt x="32770" y="8636"/>
                  </a:moveTo>
                  <a:cubicBezTo>
                    <a:pt x="34675" y="6096"/>
                    <a:pt x="37215" y="-254"/>
                    <a:pt x="33405" y="-254"/>
                  </a:cubicBezTo>
                  <a:cubicBezTo>
                    <a:pt x="28960" y="-254"/>
                    <a:pt x="10545" y="-889"/>
                    <a:pt x="2925" y="1651"/>
                  </a:cubicBezTo>
                  <a:cubicBezTo>
                    <a:pt x="1020" y="2286"/>
                    <a:pt x="-250" y="2921"/>
                    <a:pt x="-250" y="4191"/>
                  </a:cubicBezTo>
                  <a:cubicBezTo>
                    <a:pt x="-250" y="4826"/>
                    <a:pt x="385" y="5461"/>
                    <a:pt x="1655" y="6096"/>
                  </a:cubicBezTo>
                  <a:cubicBezTo>
                    <a:pt x="6100" y="7366"/>
                    <a:pt x="30230" y="11811"/>
                    <a:pt x="32770" y="8636"/>
                  </a:cubicBezTo>
                </a:path>
              </a:pathLst>
            </a:custGeom>
            <a:solidFill>
              <a:srgbClr val="FFFFFF"/>
            </a:solidFill>
            <a:ln w="6350" cap="flat">
              <a:noFill/>
              <a:prstDash val="solid"/>
              <a:miter/>
            </a:ln>
          </p:spPr>
          <p:txBody>
            <a:bodyPr rtlCol="0" anchor="ctr"/>
            <a:lstStyle/>
            <a:p>
              <a:endParaRPr lang="en-GB"/>
            </a:p>
          </p:txBody>
        </p:sp>
        <p:sp>
          <p:nvSpPr>
            <p:cNvPr id="161" name="Freeform 160"/>
            <p:cNvSpPr/>
            <p:nvPr/>
          </p:nvSpPr>
          <p:spPr>
            <a:xfrm>
              <a:off x="4632325" y="3291204"/>
              <a:ext cx="20320" cy="29210"/>
            </a:xfrm>
            <a:custGeom>
              <a:avLst/>
              <a:gdLst>
                <a:gd name="connsiteX0" fmla="*/ 15625 w 20320"/>
                <a:gd name="connsiteY0" fmla="*/ 25710 h 29210"/>
                <a:gd name="connsiteX1" fmla="*/ 20070 w 20320"/>
                <a:gd name="connsiteY1" fmla="*/ 21265 h 29210"/>
                <a:gd name="connsiteX2" fmla="*/ 20070 w 20320"/>
                <a:gd name="connsiteY2" fmla="*/ 20630 h 29210"/>
                <a:gd name="connsiteX3" fmla="*/ 19435 w 20320"/>
                <a:gd name="connsiteY3" fmla="*/ 18090 h 29210"/>
                <a:gd name="connsiteX4" fmla="*/ 11815 w 20320"/>
                <a:gd name="connsiteY4" fmla="*/ 6025 h 29210"/>
                <a:gd name="connsiteX5" fmla="*/ 1655 w 20320"/>
                <a:gd name="connsiteY5" fmla="*/ -325 h 29210"/>
                <a:gd name="connsiteX6" fmla="*/ -250 w 20320"/>
                <a:gd name="connsiteY6" fmla="*/ 310 h 29210"/>
                <a:gd name="connsiteX7" fmla="*/ -250 w 20320"/>
                <a:gd name="connsiteY7" fmla="*/ 945 h 29210"/>
                <a:gd name="connsiteX8" fmla="*/ 9275 w 20320"/>
                <a:gd name="connsiteY8" fmla="*/ 28885 h 29210"/>
                <a:gd name="connsiteX9" fmla="*/ 15625 w 20320"/>
                <a:gd name="connsiteY9" fmla="*/ 25710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 h="29210">
                  <a:moveTo>
                    <a:pt x="15625" y="25710"/>
                  </a:moveTo>
                  <a:cubicBezTo>
                    <a:pt x="17530" y="24440"/>
                    <a:pt x="19435" y="23170"/>
                    <a:pt x="20070" y="21265"/>
                  </a:cubicBezTo>
                  <a:cubicBezTo>
                    <a:pt x="20070" y="21265"/>
                    <a:pt x="20070" y="20630"/>
                    <a:pt x="20070" y="20630"/>
                  </a:cubicBezTo>
                  <a:cubicBezTo>
                    <a:pt x="20070" y="19995"/>
                    <a:pt x="20070" y="18725"/>
                    <a:pt x="19435" y="18090"/>
                  </a:cubicBezTo>
                  <a:cubicBezTo>
                    <a:pt x="18165" y="14915"/>
                    <a:pt x="12450" y="6660"/>
                    <a:pt x="11815" y="6025"/>
                  </a:cubicBezTo>
                  <a:cubicBezTo>
                    <a:pt x="9275" y="2215"/>
                    <a:pt x="6100" y="-325"/>
                    <a:pt x="1655" y="-325"/>
                  </a:cubicBezTo>
                  <a:cubicBezTo>
                    <a:pt x="1655" y="-325"/>
                    <a:pt x="385" y="-325"/>
                    <a:pt x="-250" y="310"/>
                  </a:cubicBezTo>
                  <a:lnTo>
                    <a:pt x="-250" y="945"/>
                  </a:lnTo>
                  <a:cubicBezTo>
                    <a:pt x="4195" y="9835"/>
                    <a:pt x="8005" y="18725"/>
                    <a:pt x="9275" y="28885"/>
                  </a:cubicBezTo>
                  <a:cubicBezTo>
                    <a:pt x="9910" y="27615"/>
                    <a:pt x="14990" y="25710"/>
                    <a:pt x="15625" y="25710"/>
                  </a:cubicBezTo>
                </a:path>
              </a:pathLst>
            </a:custGeom>
            <a:solidFill>
              <a:srgbClr val="FFFFFF"/>
            </a:solidFill>
            <a:ln w="6350" cap="flat">
              <a:noFill/>
              <a:prstDash val="solid"/>
              <a:miter/>
            </a:ln>
          </p:spPr>
          <p:txBody>
            <a:bodyPr rtlCol="0" anchor="ctr"/>
            <a:lstStyle/>
            <a:p>
              <a:endParaRPr lang="en-GB"/>
            </a:p>
          </p:txBody>
        </p:sp>
        <p:sp>
          <p:nvSpPr>
            <p:cNvPr id="162" name="Freeform 161"/>
            <p:cNvSpPr/>
            <p:nvPr/>
          </p:nvSpPr>
          <p:spPr>
            <a:xfrm>
              <a:off x="4326890" y="3322224"/>
              <a:ext cx="46354" cy="44509"/>
            </a:xfrm>
            <a:custGeom>
              <a:avLst/>
              <a:gdLst>
                <a:gd name="connsiteX0" fmla="*/ 46105 w 46354"/>
                <a:gd name="connsiteY0" fmla="*/ 406 h 44509"/>
                <a:gd name="connsiteX1" fmla="*/ 44835 w 46354"/>
                <a:gd name="connsiteY1" fmla="*/ -229 h 44509"/>
                <a:gd name="connsiteX2" fmla="*/ 28960 w 46354"/>
                <a:gd name="connsiteY2" fmla="*/ 6756 h 44509"/>
                <a:gd name="connsiteX3" fmla="*/ -250 w 46354"/>
                <a:gd name="connsiteY3" fmla="*/ 40411 h 44509"/>
                <a:gd name="connsiteX4" fmla="*/ 1655 w 46354"/>
                <a:gd name="connsiteY4" fmla="*/ 42951 h 44509"/>
                <a:gd name="connsiteX5" fmla="*/ 28960 w 46354"/>
                <a:gd name="connsiteY5" fmla="*/ 41046 h 44509"/>
                <a:gd name="connsiteX6" fmla="*/ 40390 w 46354"/>
                <a:gd name="connsiteY6" fmla="*/ 21361 h 44509"/>
                <a:gd name="connsiteX7" fmla="*/ 45470 w 46354"/>
                <a:gd name="connsiteY7" fmla="*/ 11836 h 44509"/>
                <a:gd name="connsiteX8" fmla="*/ 45470 w 46354"/>
                <a:gd name="connsiteY8" fmla="*/ 9931 h 44509"/>
                <a:gd name="connsiteX9" fmla="*/ 46105 w 46354"/>
                <a:gd name="connsiteY9" fmla="*/ 1676 h 44509"/>
                <a:gd name="connsiteX10" fmla="*/ 46105 w 46354"/>
                <a:gd name="connsiteY10" fmla="*/ 406 h 4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354" h="44509">
                  <a:moveTo>
                    <a:pt x="46105" y="406"/>
                  </a:moveTo>
                  <a:cubicBezTo>
                    <a:pt x="45470" y="406"/>
                    <a:pt x="45470" y="-229"/>
                    <a:pt x="44835" y="-229"/>
                  </a:cubicBezTo>
                  <a:cubicBezTo>
                    <a:pt x="40390" y="-864"/>
                    <a:pt x="34040" y="1676"/>
                    <a:pt x="28960" y="6756"/>
                  </a:cubicBezTo>
                  <a:cubicBezTo>
                    <a:pt x="24515" y="11836"/>
                    <a:pt x="-250" y="36601"/>
                    <a:pt x="-250" y="40411"/>
                  </a:cubicBezTo>
                  <a:cubicBezTo>
                    <a:pt x="-250" y="41681"/>
                    <a:pt x="385" y="42316"/>
                    <a:pt x="1655" y="42951"/>
                  </a:cubicBezTo>
                  <a:cubicBezTo>
                    <a:pt x="7370" y="46126"/>
                    <a:pt x="25785" y="42316"/>
                    <a:pt x="28960" y="41046"/>
                  </a:cubicBezTo>
                  <a:cubicBezTo>
                    <a:pt x="29595" y="40411"/>
                    <a:pt x="35945" y="29616"/>
                    <a:pt x="40390" y="21361"/>
                  </a:cubicBezTo>
                  <a:cubicBezTo>
                    <a:pt x="42930" y="16281"/>
                    <a:pt x="45470" y="12471"/>
                    <a:pt x="45470" y="11836"/>
                  </a:cubicBezTo>
                  <a:cubicBezTo>
                    <a:pt x="45470" y="11201"/>
                    <a:pt x="45470" y="10566"/>
                    <a:pt x="45470" y="9931"/>
                  </a:cubicBezTo>
                  <a:cubicBezTo>
                    <a:pt x="45470" y="7391"/>
                    <a:pt x="45470" y="4216"/>
                    <a:pt x="46105" y="1676"/>
                  </a:cubicBezTo>
                  <a:cubicBezTo>
                    <a:pt x="46105" y="1676"/>
                    <a:pt x="46105" y="1041"/>
                    <a:pt x="46105" y="406"/>
                  </a:cubicBezTo>
                </a:path>
              </a:pathLst>
            </a:custGeom>
            <a:solidFill>
              <a:srgbClr val="FFFFFF"/>
            </a:solidFill>
            <a:ln w="6350" cap="flat">
              <a:noFill/>
              <a:prstDash val="solid"/>
              <a:miter/>
            </a:ln>
          </p:spPr>
          <p:txBody>
            <a:bodyPr rtlCol="0" anchor="ctr"/>
            <a:lstStyle/>
            <a:p>
              <a:endParaRPr lang="en-GB"/>
            </a:p>
          </p:txBody>
        </p:sp>
        <p:sp>
          <p:nvSpPr>
            <p:cNvPr id="163" name="Freeform 162"/>
            <p:cNvSpPr/>
            <p:nvPr/>
          </p:nvSpPr>
          <p:spPr>
            <a:xfrm>
              <a:off x="4361770" y="3289367"/>
              <a:ext cx="22269" cy="26884"/>
            </a:xfrm>
            <a:custGeom>
              <a:avLst/>
              <a:gdLst>
                <a:gd name="connsiteX0" fmla="*/ 22019 w 22269"/>
                <a:gd name="connsiteY0" fmla="*/ 877 h 26884"/>
                <a:gd name="connsiteX1" fmla="*/ 14399 w 22269"/>
                <a:gd name="connsiteY1" fmla="*/ 877 h 26884"/>
                <a:gd name="connsiteX2" fmla="*/ -206 w 22269"/>
                <a:gd name="connsiteY2" fmla="*/ 21197 h 26884"/>
                <a:gd name="connsiteX3" fmla="*/ 8049 w 22269"/>
                <a:gd name="connsiteY3" fmla="*/ 26277 h 26884"/>
                <a:gd name="connsiteX4" fmla="*/ 12494 w 22269"/>
                <a:gd name="connsiteY4" fmla="*/ 26277 h 26884"/>
                <a:gd name="connsiteX5" fmla="*/ 18209 w 22269"/>
                <a:gd name="connsiteY5" fmla="*/ 7862 h 26884"/>
                <a:gd name="connsiteX6" fmla="*/ 22019 w 22269"/>
                <a:gd name="connsiteY6" fmla="*/ 877 h 2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69" h="26884">
                  <a:moveTo>
                    <a:pt x="22019" y="877"/>
                  </a:moveTo>
                  <a:cubicBezTo>
                    <a:pt x="21384" y="-1028"/>
                    <a:pt x="17574" y="-393"/>
                    <a:pt x="14399" y="877"/>
                  </a:cubicBezTo>
                  <a:cubicBezTo>
                    <a:pt x="12494" y="3417"/>
                    <a:pt x="429" y="18657"/>
                    <a:pt x="-206" y="21197"/>
                  </a:cubicBezTo>
                  <a:cubicBezTo>
                    <a:pt x="-841" y="25007"/>
                    <a:pt x="5509" y="26277"/>
                    <a:pt x="8049" y="26277"/>
                  </a:cubicBezTo>
                  <a:cubicBezTo>
                    <a:pt x="8684" y="26277"/>
                    <a:pt x="12494" y="26912"/>
                    <a:pt x="12494" y="26277"/>
                  </a:cubicBezTo>
                  <a:cubicBezTo>
                    <a:pt x="13764" y="19927"/>
                    <a:pt x="15669" y="13577"/>
                    <a:pt x="18209" y="7862"/>
                  </a:cubicBezTo>
                  <a:cubicBezTo>
                    <a:pt x="19479" y="5957"/>
                    <a:pt x="20749" y="3417"/>
                    <a:pt x="22019" y="877"/>
                  </a:cubicBezTo>
                </a:path>
              </a:pathLst>
            </a:custGeom>
            <a:solidFill>
              <a:srgbClr val="FFFFFF"/>
            </a:solidFill>
            <a:ln w="6350" cap="flat">
              <a:noFill/>
              <a:prstDash val="solid"/>
              <a:miter/>
            </a:ln>
          </p:spPr>
          <p:txBody>
            <a:bodyPr rtlCol="0" anchor="ctr"/>
            <a:lstStyle/>
            <a:p>
              <a:endParaRPr lang="en-GB"/>
            </a:p>
          </p:txBody>
        </p:sp>
        <p:sp>
          <p:nvSpPr>
            <p:cNvPr id="164" name="Freeform 163"/>
            <p:cNvSpPr/>
            <p:nvPr/>
          </p:nvSpPr>
          <p:spPr>
            <a:xfrm>
              <a:off x="4364625" y="3347084"/>
              <a:ext cx="15604" cy="23120"/>
            </a:xfrm>
            <a:custGeom>
              <a:avLst/>
              <a:gdLst>
                <a:gd name="connsiteX0" fmla="*/ 12815 w 15604"/>
                <a:gd name="connsiteY0" fmla="*/ 22535 h 23120"/>
                <a:gd name="connsiteX1" fmla="*/ 15354 w 15604"/>
                <a:gd name="connsiteY1" fmla="*/ 21265 h 23120"/>
                <a:gd name="connsiteX2" fmla="*/ 9004 w 15604"/>
                <a:gd name="connsiteY2" fmla="*/ -325 h 23120"/>
                <a:gd name="connsiteX3" fmla="*/ 7099 w 15604"/>
                <a:gd name="connsiteY3" fmla="*/ 2850 h 23120"/>
                <a:gd name="connsiteX4" fmla="*/ 115 w 15604"/>
                <a:gd name="connsiteY4" fmla="*/ 16185 h 23120"/>
                <a:gd name="connsiteX5" fmla="*/ 12815 w 15604"/>
                <a:gd name="connsiteY5" fmla="*/ 22535 h 2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04" h="23120">
                  <a:moveTo>
                    <a:pt x="12815" y="22535"/>
                  </a:moveTo>
                  <a:cubicBezTo>
                    <a:pt x="13449" y="22535"/>
                    <a:pt x="14720" y="21900"/>
                    <a:pt x="15354" y="21265"/>
                  </a:cubicBezTo>
                  <a:cubicBezTo>
                    <a:pt x="12179" y="14280"/>
                    <a:pt x="10274" y="7295"/>
                    <a:pt x="9004" y="-325"/>
                  </a:cubicBezTo>
                  <a:cubicBezTo>
                    <a:pt x="8370" y="945"/>
                    <a:pt x="7734" y="1580"/>
                    <a:pt x="7099" y="2850"/>
                  </a:cubicBezTo>
                  <a:cubicBezTo>
                    <a:pt x="4559" y="7295"/>
                    <a:pt x="2020" y="11740"/>
                    <a:pt x="115" y="16185"/>
                  </a:cubicBezTo>
                  <a:cubicBezTo>
                    <a:pt x="-2426" y="23170"/>
                    <a:pt x="9004" y="23170"/>
                    <a:pt x="12815" y="22535"/>
                  </a:cubicBezTo>
                </a:path>
              </a:pathLst>
            </a:custGeom>
            <a:solidFill>
              <a:srgbClr val="FFFFFF"/>
            </a:solidFill>
            <a:ln w="6350" cap="flat">
              <a:noFill/>
              <a:prstDash val="solid"/>
              <a:miter/>
            </a:ln>
          </p:spPr>
          <p:txBody>
            <a:bodyPr rtlCol="0" anchor="ctr"/>
            <a:lstStyle/>
            <a:p>
              <a:endParaRPr lang="en-GB"/>
            </a:p>
          </p:txBody>
        </p:sp>
        <p:sp>
          <p:nvSpPr>
            <p:cNvPr id="165" name="Freeform 164"/>
            <p:cNvSpPr/>
            <p:nvPr/>
          </p:nvSpPr>
          <p:spPr>
            <a:xfrm>
              <a:off x="4633595" y="3349625"/>
              <a:ext cx="17511" cy="24692"/>
            </a:xfrm>
            <a:custGeom>
              <a:avLst/>
              <a:gdLst>
                <a:gd name="connsiteX0" fmla="*/ 7370 w 17511"/>
                <a:gd name="connsiteY0" fmla="*/ 1580 h 24692"/>
                <a:gd name="connsiteX1" fmla="*/ -250 w 17511"/>
                <a:gd name="connsiteY1" fmla="*/ 22535 h 24692"/>
                <a:gd name="connsiteX2" fmla="*/ 14355 w 17511"/>
                <a:gd name="connsiteY2" fmla="*/ 21900 h 24692"/>
                <a:gd name="connsiteX3" fmla="*/ 11180 w 17511"/>
                <a:gd name="connsiteY3" fmla="*/ 5390 h 24692"/>
                <a:gd name="connsiteX4" fmla="*/ 7370 w 17511"/>
                <a:gd name="connsiteY4" fmla="*/ -325 h 24692"/>
                <a:gd name="connsiteX5" fmla="*/ 7370 w 17511"/>
                <a:gd name="connsiteY5" fmla="*/ 1580 h 2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11" h="24692">
                  <a:moveTo>
                    <a:pt x="7370" y="1580"/>
                  </a:moveTo>
                  <a:cubicBezTo>
                    <a:pt x="5465" y="9200"/>
                    <a:pt x="2925" y="16185"/>
                    <a:pt x="-250" y="22535"/>
                  </a:cubicBezTo>
                  <a:cubicBezTo>
                    <a:pt x="2290" y="24440"/>
                    <a:pt x="9910" y="25710"/>
                    <a:pt x="14355" y="21900"/>
                  </a:cubicBezTo>
                  <a:cubicBezTo>
                    <a:pt x="19435" y="18090"/>
                    <a:pt x="17530" y="14915"/>
                    <a:pt x="11180" y="5390"/>
                  </a:cubicBezTo>
                  <a:cubicBezTo>
                    <a:pt x="9910" y="3485"/>
                    <a:pt x="8640" y="2215"/>
                    <a:pt x="7370" y="-325"/>
                  </a:cubicBezTo>
                  <a:cubicBezTo>
                    <a:pt x="8005" y="945"/>
                    <a:pt x="8005" y="945"/>
                    <a:pt x="7370" y="1580"/>
                  </a:cubicBezTo>
                </a:path>
              </a:pathLst>
            </a:custGeom>
            <a:solidFill>
              <a:srgbClr val="FFFFFF"/>
            </a:solidFill>
            <a:ln w="6350" cap="flat">
              <a:noFill/>
              <a:prstDash val="solid"/>
              <a:miter/>
            </a:ln>
          </p:spPr>
          <p:txBody>
            <a:bodyPr rtlCol="0" anchor="ctr"/>
            <a:lstStyle/>
            <a:p>
              <a:endParaRPr lang="en-GB"/>
            </a:p>
          </p:txBody>
        </p:sp>
        <p:sp>
          <p:nvSpPr>
            <p:cNvPr id="166" name="Freeform 165"/>
            <p:cNvSpPr/>
            <p:nvPr/>
          </p:nvSpPr>
          <p:spPr>
            <a:xfrm>
              <a:off x="4753978" y="3221990"/>
              <a:ext cx="232608" cy="18414"/>
            </a:xfrm>
            <a:custGeom>
              <a:avLst/>
              <a:gdLst>
                <a:gd name="connsiteX0" fmla="*/ 226712 w 232608"/>
                <a:gd name="connsiteY0" fmla="*/ -325 h 18414"/>
                <a:gd name="connsiteX1" fmla="*/ 148606 w 232608"/>
                <a:gd name="connsiteY1" fmla="*/ 2215 h 18414"/>
                <a:gd name="connsiteX2" fmla="*/ 19701 w 232608"/>
                <a:gd name="connsiteY2" fmla="*/ 2215 h 18414"/>
                <a:gd name="connsiteX3" fmla="*/ 8906 w 232608"/>
                <a:gd name="connsiteY3" fmla="*/ 2215 h 18414"/>
                <a:gd name="connsiteX4" fmla="*/ 16 w 232608"/>
                <a:gd name="connsiteY4" fmla="*/ 4120 h 18414"/>
                <a:gd name="connsiteX5" fmla="*/ 8271 w 232608"/>
                <a:gd name="connsiteY5" fmla="*/ 7295 h 18414"/>
                <a:gd name="connsiteX6" fmla="*/ 44466 w 232608"/>
                <a:gd name="connsiteY6" fmla="*/ 9835 h 18414"/>
                <a:gd name="connsiteX7" fmla="*/ 62881 w 232608"/>
                <a:gd name="connsiteY7" fmla="*/ 11105 h 18414"/>
                <a:gd name="connsiteX8" fmla="*/ 200677 w 232608"/>
                <a:gd name="connsiteY8" fmla="*/ 18090 h 18414"/>
                <a:gd name="connsiteX9" fmla="*/ 231156 w 232608"/>
                <a:gd name="connsiteY9" fmla="*/ 10470 h 18414"/>
                <a:gd name="connsiteX10" fmla="*/ 231156 w 232608"/>
                <a:gd name="connsiteY10" fmla="*/ 4755 h 18414"/>
                <a:gd name="connsiteX11" fmla="*/ 226712 w 232608"/>
                <a:gd name="connsiteY11" fmla="*/ -325 h 1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608" h="18414">
                  <a:moveTo>
                    <a:pt x="226712" y="-325"/>
                  </a:moveTo>
                  <a:cubicBezTo>
                    <a:pt x="223537" y="-325"/>
                    <a:pt x="161306" y="2215"/>
                    <a:pt x="148606" y="2215"/>
                  </a:cubicBezTo>
                  <a:cubicBezTo>
                    <a:pt x="147971" y="2215"/>
                    <a:pt x="24781" y="2215"/>
                    <a:pt x="19701" y="2215"/>
                  </a:cubicBezTo>
                  <a:cubicBezTo>
                    <a:pt x="15891" y="2215"/>
                    <a:pt x="12081" y="2215"/>
                    <a:pt x="8906" y="2215"/>
                  </a:cubicBezTo>
                  <a:cubicBezTo>
                    <a:pt x="7001" y="2215"/>
                    <a:pt x="1287" y="2215"/>
                    <a:pt x="16" y="4120"/>
                  </a:cubicBezTo>
                  <a:cubicBezTo>
                    <a:pt x="-1888" y="7295"/>
                    <a:pt x="7001" y="7295"/>
                    <a:pt x="8271" y="7295"/>
                  </a:cubicBezTo>
                  <a:cubicBezTo>
                    <a:pt x="11446" y="7295"/>
                    <a:pt x="35576" y="9200"/>
                    <a:pt x="44466" y="9835"/>
                  </a:cubicBezTo>
                  <a:cubicBezTo>
                    <a:pt x="50816" y="10470"/>
                    <a:pt x="57166" y="11105"/>
                    <a:pt x="62881" y="11105"/>
                  </a:cubicBezTo>
                  <a:cubicBezTo>
                    <a:pt x="108601" y="14280"/>
                    <a:pt x="153687" y="17455"/>
                    <a:pt x="200677" y="18090"/>
                  </a:cubicBezTo>
                  <a:cubicBezTo>
                    <a:pt x="209566" y="18090"/>
                    <a:pt x="229887" y="11105"/>
                    <a:pt x="231156" y="10470"/>
                  </a:cubicBezTo>
                  <a:cubicBezTo>
                    <a:pt x="232427" y="9835"/>
                    <a:pt x="233062" y="8565"/>
                    <a:pt x="231156" y="4755"/>
                  </a:cubicBezTo>
                  <a:cubicBezTo>
                    <a:pt x="229887" y="1580"/>
                    <a:pt x="228616" y="-325"/>
                    <a:pt x="226712" y="-325"/>
                  </a:cubicBezTo>
                </a:path>
              </a:pathLst>
            </a:custGeom>
            <a:solidFill>
              <a:srgbClr val="FFFFFF"/>
            </a:solidFill>
            <a:ln w="6350" cap="flat">
              <a:noFill/>
              <a:prstDash val="solid"/>
              <a:miter/>
            </a:ln>
          </p:spPr>
          <p:txBody>
            <a:bodyPr rtlCol="0" anchor="ctr"/>
            <a:lstStyle/>
            <a:p>
              <a:endParaRPr lang="en-GB"/>
            </a:p>
          </p:txBody>
        </p:sp>
        <p:sp>
          <p:nvSpPr>
            <p:cNvPr id="167" name="Freeform 166"/>
            <p:cNvSpPr/>
            <p:nvPr/>
          </p:nvSpPr>
          <p:spPr>
            <a:xfrm>
              <a:off x="4379595" y="3234054"/>
              <a:ext cx="257809" cy="198120"/>
            </a:xfrm>
            <a:custGeom>
              <a:avLst/>
              <a:gdLst>
                <a:gd name="connsiteX0" fmla="*/ 147070 w 257809"/>
                <a:gd name="connsiteY0" fmla="*/ 196525 h 198120"/>
                <a:gd name="connsiteX1" fmla="*/ 149610 w 257809"/>
                <a:gd name="connsiteY1" fmla="*/ 195890 h 198120"/>
                <a:gd name="connsiteX2" fmla="*/ 152785 w 257809"/>
                <a:gd name="connsiteY2" fmla="*/ 195255 h 198120"/>
                <a:gd name="connsiteX3" fmla="*/ 155960 w 257809"/>
                <a:gd name="connsiteY3" fmla="*/ 194620 h 198120"/>
                <a:gd name="connsiteX4" fmla="*/ 158500 w 257809"/>
                <a:gd name="connsiteY4" fmla="*/ 193985 h 198120"/>
                <a:gd name="connsiteX5" fmla="*/ 161675 w 257809"/>
                <a:gd name="connsiteY5" fmla="*/ 193350 h 198120"/>
                <a:gd name="connsiteX6" fmla="*/ 164215 w 257809"/>
                <a:gd name="connsiteY6" fmla="*/ 192715 h 198120"/>
                <a:gd name="connsiteX7" fmla="*/ 167390 w 257809"/>
                <a:gd name="connsiteY7" fmla="*/ 192080 h 198120"/>
                <a:gd name="connsiteX8" fmla="*/ 169930 w 257809"/>
                <a:gd name="connsiteY8" fmla="*/ 191445 h 198120"/>
                <a:gd name="connsiteX9" fmla="*/ 173105 w 257809"/>
                <a:gd name="connsiteY9" fmla="*/ 190810 h 198120"/>
                <a:gd name="connsiteX10" fmla="*/ 173105 w 257809"/>
                <a:gd name="connsiteY10" fmla="*/ 190810 h 198120"/>
                <a:gd name="connsiteX11" fmla="*/ 178185 w 257809"/>
                <a:gd name="connsiteY11" fmla="*/ 189540 h 198120"/>
                <a:gd name="connsiteX12" fmla="*/ 180725 w 257809"/>
                <a:gd name="connsiteY12" fmla="*/ 188905 h 198120"/>
                <a:gd name="connsiteX13" fmla="*/ 183265 w 257809"/>
                <a:gd name="connsiteY13" fmla="*/ 188270 h 198120"/>
                <a:gd name="connsiteX14" fmla="*/ 185805 w 257809"/>
                <a:gd name="connsiteY14" fmla="*/ 187635 h 198120"/>
                <a:gd name="connsiteX15" fmla="*/ 188345 w 257809"/>
                <a:gd name="connsiteY15" fmla="*/ 186365 h 198120"/>
                <a:gd name="connsiteX16" fmla="*/ 190885 w 257809"/>
                <a:gd name="connsiteY16" fmla="*/ 185095 h 198120"/>
                <a:gd name="connsiteX17" fmla="*/ 194060 w 257809"/>
                <a:gd name="connsiteY17" fmla="*/ 183825 h 198120"/>
                <a:gd name="connsiteX18" fmla="*/ 197235 w 257809"/>
                <a:gd name="connsiteY18" fmla="*/ 182555 h 198120"/>
                <a:gd name="connsiteX19" fmla="*/ 199775 w 257809"/>
                <a:gd name="connsiteY19" fmla="*/ 181285 h 198120"/>
                <a:gd name="connsiteX20" fmla="*/ 202315 w 257809"/>
                <a:gd name="connsiteY20" fmla="*/ 180015 h 198120"/>
                <a:gd name="connsiteX21" fmla="*/ 204855 w 257809"/>
                <a:gd name="connsiteY21" fmla="*/ 178745 h 198120"/>
                <a:gd name="connsiteX22" fmla="*/ 206760 w 257809"/>
                <a:gd name="connsiteY22" fmla="*/ 177475 h 198120"/>
                <a:gd name="connsiteX23" fmla="*/ 209300 w 257809"/>
                <a:gd name="connsiteY23" fmla="*/ 176205 h 198120"/>
                <a:gd name="connsiteX24" fmla="*/ 211205 w 257809"/>
                <a:gd name="connsiteY24" fmla="*/ 174935 h 198120"/>
                <a:gd name="connsiteX25" fmla="*/ 215015 w 257809"/>
                <a:gd name="connsiteY25" fmla="*/ 172395 h 198120"/>
                <a:gd name="connsiteX26" fmla="*/ 216920 w 257809"/>
                <a:gd name="connsiteY26" fmla="*/ 171125 h 198120"/>
                <a:gd name="connsiteX27" fmla="*/ 219460 w 257809"/>
                <a:gd name="connsiteY27" fmla="*/ 169220 h 198120"/>
                <a:gd name="connsiteX28" fmla="*/ 221365 w 257809"/>
                <a:gd name="connsiteY28" fmla="*/ 167950 h 198120"/>
                <a:gd name="connsiteX29" fmla="*/ 223270 w 257809"/>
                <a:gd name="connsiteY29" fmla="*/ 166045 h 198120"/>
                <a:gd name="connsiteX30" fmla="*/ 225175 w 257809"/>
                <a:gd name="connsiteY30" fmla="*/ 164775 h 198120"/>
                <a:gd name="connsiteX31" fmla="*/ 228350 w 257809"/>
                <a:gd name="connsiteY31" fmla="*/ 162235 h 198120"/>
                <a:gd name="connsiteX32" fmla="*/ 229620 w 257809"/>
                <a:gd name="connsiteY32" fmla="*/ 160965 h 198120"/>
                <a:gd name="connsiteX33" fmla="*/ 232160 w 257809"/>
                <a:gd name="connsiteY33" fmla="*/ 158425 h 198120"/>
                <a:gd name="connsiteX34" fmla="*/ 233430 w 257809"/>
                <a:gd name="connsiteY34" fmla="*/ 157155 h 198120"/>
                <a:gd name="connsiteX35" fmla="*/ 235335 w 257809"/>
                <a:gd name="connsiteY35" fmla="*/ 155250 h 198120"/>
                <a:gd name="connsiteX36" fmla="*/ 236605 w 257809"/>
                <a:gd name="connsiteY36" fmla="*/ 153980 h 198120"/>
                <a:gd name="connsiteX37" fmla="*/ 238510 w 257809"/>
                <a:gd name="connsiteY37" fmla="*/ 151440 h 198120"/>
                <a:gd name="connsiteX38" fmla="*/ 239780 w 257809"/>
                <a:gd name="connsiteY38" fmla="*/ 150170 h 198120"/>
                <a:gd name="connsiteX39" fmla="*/ 242320 w 257809"/>
                <a:gd name="connsiteY39" fmla="*/ 146360 h 198120"/>
                <a:gd name="connsiteX40" fmla="*/ 242955 w 257809"/>
                <a:gd name="connsiteY40" fmla="*/ 145090 h 198120"/>
                <a:gd name="connsiteX41" fmla="*/ 244860 w 257809"/>
                <a:gd name="connsiteY41" fmla="*/ 142550 h 198120"/>
                <a:gd name="connsiteX42" fmla="*/ 245495 w 257809"/>
                <a:gd name="connsiteY42" fmla="*/ 141280 h 198120"/>
                <a:gd name="connsiteX43" fmla="*/ 246765 w 257809"/>
                <a:gd name="connsiteY43" fmla="*/ 138740 h 198120"/>
                <a:gd name="connsiteX44" fmla="*/ 247400 w 257809"/>
                <a:gd name="connsiteY44" fmla="*/ 137470 h 198120"/>
                <a:gd name="connsiteX45" fmla="*/ 249305 w 257809"/>
                <a:gd name="connsiteY45" fmla="*/ 133660 h 198120"/>
                <a:gd name="connsiteX46" fmla="*/ 249305 w 257809"/>
                <a:gd name="connsiteY46" fmla="*/ 133025 h 198120"/>
                <a:gd name="connsiteX47" fmla="*/ 251210 w 257809"/>
                <a:gd name="connsiteY47" fmla="*/ 129215 h 198120"/>
                <a:gd name="connsiteX48" fmla="*/ 251845 w 257809"/>
                <a:gd name="connsiteY48" fmla="*/ 128580 h 198120"/>
                <a:gd name="connsiteX49" fmla="*/ 257560 w 257809"/>
                <a:gd name="connsiteY49" fmla="*/ 99370 h 198120"/>
                <a:gd name="connsiteX50" fmla="*/ 251845 w 257809"/>
                <a:gd name="connsiteY50" fmla="*/ 70160 h 198120"/>
                <a:gd name="connsiteX51" fmla="*/ 251845 w 257809"/>
                <a:gd name="connsiteY51" fmla="*/ 69525 h 198120"/>
                <a:gd name="connsiteX52" fmla="*/ 249940 w 257809"/>
                <a:gd name="connsiteY52" fmla="*/ 65715 h 198120"/>
                <a:gd name="connsiteX53" fmla="*/ 249305 w 257809"/>
                <a:gd name="connsiteY53" fmla="*/ 64445 h 198120"/>
                <a:gd name="connsiteX54" fmla="*/ 247400 w 257809"/>
                <a:gd name="connsiteY54" fmla="*/ 60635 h 198120"/>
                <a:gd name="connsiteX55" fmla="*/ 246765 w 257809"/>
                <a:gd name="connsiteY55" fmla="*/ 59365 h 198120"/>
                <a:gd name="connsiteX56" fmla="*/ 244860 w 257809"/>
                <a:gd name="connsiteY56" fmla="*/ 56190 h 198120"/>
                <a:gd name="connsiteX57" fmla="*/ 232160 w 257809"/>
                <a:gd name="connsiteY57" fmla="*/ 39680 h 198120"/>
                <a:gd name="connsiteX58" fmla="*/ 232160 w 257809"/>
                <a:gd name="connsiteY58" fmla="*/ 39680 h 198120"/>
                <a:gd name="connsiteX59" fmla="*/ 232160 w 257809"/>
                <a:gd name="connsiteY59" fmla="*/ 39680 h 198120"/>
                <a:gd name="connsiteX60" fmla="*/ 227715 w 257809"/>
                <a:gd name="connsiteY60" fmla="*/ 35235 h 198120"/>
                <a:gd name="connsiteX61" fmla="*/ 227715 w 257809"/>
                <a:gd name="connsiteY61" fmla="*/ 35235 h 198120"/>
                <a:gd name="connsiteX62" fmla="*/ 223270 w 257809"/>
                <a:gd name="connsiteY62" fmla="*/ 31425 h 198120"/>
                <a:gd name="connsiteX63" fmla="*/ 222000 w 257809"/>
                <a:gd name="connsiteY63" fmla="*/ 30790 h 198120"/>
                <a:gd name="connsiteX64" fmla="*/ 218190 w 257809"/>
                <a:gd name="connsiteY64" fmla="*/ 27615 h 198120"/>
                <a:gd name="connsiteX65" fmla="*/ 216920 w 257809"/>
                <a:gd name="connsiteY65" fmla="*/ 26345 h 198120"/>
                <a:gd name="connsiteX66" fmla="*/ 213110 w 257809"/>
                <a:gd name="connsiteY66" fmla="*/ 23805 h 198120"/>
                <a:gd name="connsiteX67" fmla="*/ 211840 w 257809"/>
                <a:gd name="connsiteY67" fmla="*/ 23170 h 198120"/>
                <a:gd name="connsiteX68" fmla="*/ 206760 w 257809"/>
                <a:gd name="connsiteY68" fmla="*/ 19995 h 198120"/>
                <a:gd name="connsiteX69" fmla="*/ 206125 w 257809"/>
                <a:gd name="connsiteY69" fmla="*/ 19360 h 198120"/>
                <a:gd name="connsiteX70" fmla="*/ 200410 w 257809"/>
                <a:gd name="connsiteY70" fmla="*/ 16185 h 198120"/>
                <a:gd name="connsiteX71" fmla="*/ 200410 w 257809"/>
                <a:gd name="connsiteY71" fmla="*/ 16185 h 198120"/>
                <a:gd name="connsiteX72" fmla="*/ 194695 w 257809"/>
                <a:gd name="connsiteY72" fmla="*/ 13645 h 198120"/>
                <a:gd name="connsiteX73" fmla="*/ 193425 w 257809"/>
                <a:gd name="connsiteY73" fmla="*/ 13010 h 198120"/>
                <a:gd name="connsiteX74" fmla="*/ 188980 w 257809"/>
                <a:gd name="connsiteY74" fmla="*/ 11105 h 198120"/>
                <a:gd name="connsiteX75" fmla="*/ 187075 w 257809"/>
                <a:gd name="connsiteY75" fmla="*/ 10470 h 198120"/>
                <a:gd name="connsiteX76" fmla="*/ 182630 w 257809"/>
                <a:gd name="connsiteY76" fmla="*/ 8565 h 198120"/>
                <a:gd name="connsiteX77" fmla="*/ 180725 w 257809"/>
                <a:gd name="connsiteY77" fmla="*/ 7930 h 198120"/>
                <a:gd name="connsiteX78" fmla="*/ 175645 w 257809"/>
                <a:gd name="connsiteY78" fmla="*/ 6660 h 198120"/>
                <a:gd name="connsiteX79" fmla="*/ 173740 w 257809"/>
                <a:gd name="connsiteY79" fmla="*/ 6025 h 198120"/>
                <a:gd name="connsiteX80" fmla="*/ 166755 w 257809"/>
                <a:gd name="connsiteY80" fmla="*/ 4120 h 198120"/>
                <a:gd name="connsiteX81" fmla="*/ 166120 w 257809"/>
                <a:gd name="connsiteY81" fmla="*/ 4120 h 198120"/>
                <a:gd name="connsiteX82" fmla="*/ 159770 w 257809"/>
                <a:gd name="connsiteY82" fmla="*/ 2850 h 198120"/>
                <a:gd name="connsiteX83" fmla="*/ 157865 w 257809"/>
                <a:gd name="connsiteY83" fmla="*/ 2215 h 198120"/>
                <a:gd name="connsiteX84" fmla="*/ 152785 w 257809"/>
                <a:gd name="connsiteY84" fmla="*/ 1580 h 198120"/>
                <a:gd name="connsiteX85" fmla="*/ 150245 w 257809"/>
                <a:gd name="connsiteY85" fmla="*/ 945 h 198120"/>
                <a:gd name="connsiteX86" fmla="*/ 145800 w 257809"/>
                <a:gd name="connsiteY86" fmla="*/ 310 h 198120"/>
                <a:gd name="connsiteX87" fmla="*/ 143260 w 257809"/>
                <a:gd name="connsiteY87" fmla="*/ 310 h 198120"/>
                <a:gd name="connsiteX88" fmla="*/ 138180 w 257809"/>
                <a:gd name="connsiteY88" fmla="*/ -325 h 198120"/>
                <a:gd name="connsiteX89" fmla="*/ 135640 w 257809"/>
                <a:gd name="connsiteY89" fmla="*/ -325 h 198120"/>
                <a:gd name="connsiteX90" fmla="*/ 128020 w 257809"/>
                <a:gd name="connsiteY90" fmla="*/ -325 h 198120"/>
                <a:gd name="connsiteX91" fmla="*/ 121035 w 257809"/>
                <a:gd name="connsiteY91" fmla="*/ -325 h 198120"/>
                <a:gd name="connsiteX92" fmla="*/ 118495 w 257809"/>
                <a:gd name="connsiteY92" fmla="*/ -325 h 198120"/>
                <a:gd name="connsiteX93" fmla="*/ 113415 w 257809"/>
                <a:gd name="connsiteY93" fmla="*/ 310 h 198120"/>
                <a:gd name="connsiteX94" fmla="*/ 110875 w 257809"/>
                <a:gd name="connsiteY94" fmla="*/ 310 h 198120"/>
                <a:gd name="connsiteX95" fmla="*/ 106430 w 257809"/>
                <a:gd name="connsiteY95" fmla="*/ 945 h 198120"/>
                <a:gd name="connsiteX96" fmla="*/ 103890 w 257809"/>
                <a:gd name="connsiteY96" fmla="*/ 1580 h 198120"/>
                <a:gd name="connsiteX97" fmla="*/ 99445 w 257809"/>
                <a:gd name="connsiteY97" fmla="*/ 2215 h 198120"/>
                <a:gd name="connsiteX98" fmla="*/ 96905 w 257809"/>
                <a:gd name="connsiteY98" fmla="*/ 2850 h 198120"/>
                <a:gd name="connsiteX99" fmla="*/ 91825 w 257809"/>
                <a:gd name="connsiteY99" fmla="*/ 4120 h 198120"/>
                <a:gd name="connsiteX100" fmla="*/ 89920 w 257809"/>
                <a:gd name="connsiteY100" fmla="*/ 4755 h 198120"/>
                <a:gd name="connsiteX101" fmla="*/ 70235 w 257809"/>
                <a:gd name="connsiteY101" fmla="*/ 10470 h 198120"/>
                <a:gd name="connsiteX102" fmla="*/ 69600 w 257809"/>
                <a:gd name="connsiteY102" fmla="*/ 11105 h 198120"/>
                <a:gd name="connsiteX103" fmla="*/ 64520 w 257809"/>
                <a:gd name="connsiteY103" fmla="*/ 13010 h 198120"/>
                <a:gd name="connsiteX104" fmla="*/ 63250 w 257809"/>
                <a:gd name="connsiteY104" fmla="*/ 13645 h 198120"/>
                <a:gd name="connsiteX105" fmla="*/ 58170 w 257809"/>
                <a:gd name="connsiteY105" fmla="*/ 16185 h 198120"/>
                <a:gd name="connsiteX106" fmla="*/ 57535 w 257809"/>
                <a:gd name="connsiteY106" fmla="*/ 16820 h 198120"/>
                <a:gd name="connsiteX107" fmla="*/ 51820 w 257809"/>
                <a:gd name="connsiteY107" fmla="*/ 19995 h 198120"/>
                <a:gd name="connsiteX108" fmla="*/ 51820 w 257809"/>
                <a:gd name="connsiteY108" fmla="*/ 19995 h 198120"/>
                <a:gd name="connsiteX109" fmla="*/ 22610 w 257809"/>
                <a:gd name="connsiteY109" fmla="*/ 42855 h 198120"/>
                <a:gd name="connsiteX110" fmla="*/ 19435 w 257809"/>
                <a:gd name="connsiteY110" fmla="*/ 46665 h 198120"/>
                <a:gd name="connsiteX111" fmla="*/ 19435 w 257809"/>
                <a:gd name="connsiteY111" fmla="*/ 46665 h 198120"/>
                <a:gd name="connsiteX112" fmla="*/ 16260 w 257809"/>
                <a:gd name="connsiteY112" fmla="*/ 50475 h 198120"/>
                <a:gd name="connsiteX113" fmla="*/ 16260 w 257809"/>
                <a:gd name="connsiteY113" fmla="*/ 50475 h 198120"/>
                <a:gd name="connsiteX114" fmla="*/ 13085 w 257809"/>
                <a:gd name="connsiteY114" fmla="*/ 54920 h 198120"/>
                <a:gd name="connsiteX115" fmla="*/ 13085 w 257809"/>
                <a:gd name="connsiteY115" fmla="*/ 54920 h 198120"/>
                <a:gd name="connsiteX116" fmla="*/ 13085 w 257809"/>
                <a:gd name="connsiteY116" fmla="*/ 54920 h 198120"/>
                <a:gd name="connsiteX117" fmla="*/ 7370 w 257809"/>
                <a:gd name="connsiteY117" fmla="*/ 64445 h 198120"/>
                <a:gd name="connsiteX118" fmla="*/ 6100 w 257809"/>
                <a:gd name="connsiteY118" fmla="*/ 67620 h 198120"/>
                <a:gd name="connsiteX119" fmla="*/ 6100 w 257809"/>
                <a:gd name="connsiteY119" fmla="*/ 68255 h 198120"/>
                <a:gd name="connsiteX120" fmla="*/ 6100 w 257809"/>
                <a:gd name="connsiteY120" fmla="*/ 68890 h 198120"/>
                <a:gd name="connsiteX121" fmla="*/ 4830 w 257809"/>
                <a:gd name="connsiteY121" fmla="*/ 72065 h 198120"/>
                <a:gd name="connsiteX122" fmla="*/ 3560 w 257809"/>
                <a:gd name="connsiteY122" fmla="*/ 75240 h 198120"/>
                <a:gd name="connsiteX123" fmla="*/ 3560 w 257809"/>
                <a:gd name="connsiteY123" fmla="*/ 75240 h 198120"/>
                <a:gd name="connsiteX124" fmla="*/ -250 w 257809"/>
                <a:gd name="connsiteY124" fmla="*/ 100005 h 198120"/>
                <a:gd name="connsiteX125" fmla="*/ 2925 w 257809"/>
                <a:gd name="connsiteY125" fmla="*/ 121595 h 198120"/>
                <a:gd name="connsiteX126" fmla="*/ 5465 w 257809"/>
                <a:gd name="connsiteY126" fmla="*/ 129215 h 198120"/>
                <a:gd name="connsiteX127" fmla="*/ 5465 w 257809"/>
                <a:gd name="connsiteY127" fmla="*/ 129850 h 198120"/>
                <a:gd name="connsiteX128" fmla="*/ 7370 w 257809"/>
                <a:gd name="connsiteY128" fmla="*/ 133660 h 198120"/>
                <a:gd name="connsiteX129" fmla="*/ 8005 w 257809"/>
                <a:gd name="connsiteY129" fmla="*/ 134930 h 198120"/>
                <a:gd name="connsiteX130" fmla="*/ 9275 w 257809"/>
                <a:gd name="connsiteY130" fmla="*/ 137470 h 198120"/>
                <a:gd name="connsiteX131" fmla="*/ 9910 w 257809"/>
                <a:gd name="connsiteY131" fmla="*/ 139375 h 198120"/>
                <a:gd name="connsiteX132" fmla="*/ 11180 w 257809"/>
                <a:gd name="connsiteY132" fmla="*/ 141915 h 198120"/>
                <a:gd name="connsiteX133" fmla="*/ 12450 w 257809"/>
                <a:gd name="connsiteY133" fmla="*/ 143820 h 198120"/>
                <a:gd name="connsiteX134" fmla="*/ 14355 w 257809"/>
                <a:gd name="connsiteY134" fmla="*/ 146360 h 198120"/>
                <a:gd name="connsiteX135" fmla="*/ 16260 w 257809"/>
                <a:gd name="connsiteY135" fmla="*/ 148900 h 198120"/>
                <a:gd name="connsiteX136" fmla="*/ 18165 w 257809"/>
                <a:gd name="connsiteY136" fmla="*/ 151440 h 198120"/>
                <a:gd name="connsiteX137" fmla="*/ 19435 w 257809"/>
                <a:gd name="connsiteY137" fmla="*/ 153345 h 198120"/>
                <a:gd name="connsiteX138" fmla="*/ 20705 w 257809"/>
                <a:gd name="connsiteY138" fmla="*/ 155250 h 198120"/>
                <a:gd name="connsiteX139" fmla="*/ 22610 w 257809"/>
                <a:gd name="connsiteY139" fmla="*/ 157155 h 198120"/>
                <a:gd name="connsiteX140" fmla="*/ 23880 w 257809"/>
                <a:gd name="connsiteY140" fmla="*/ 158425 h 198120"/>
                <a:gd name="connsiteX141" fmla="*/ 30865 w 257809"/>
                <a:gd name="connsiteY141" fmla="*/ 165410 h 198120"/>
                <a:gd name="connsiteX142" fmla="*/ 32135 w 257809"/>
                <a:gd name="connsiteY142" fmla="*/ 166680 h 198120"/>
                <a:gd name="connsiteX143" fmla="*/ 34675 w 257809"/>
                <a:gd name="connsiteY143" fmla="*/ 168585 h 198120"/>
                <a:gd name="connsiteX144" fmla="*/ 35945 w 257809"/>
                <a:gd name="connsiteY144" fmla="*/ 169220 h 198120"/>
                <a:gd name="connsiteX145" fmla="*/ 45470 w 257809"/>
                <a:gd name="connsiteY145" fmla="*/ 176205 h 198120"/>
                <a:gd name="connsiteX146" fmla="*/ 45470 w 257809"/>
                <a:gd name="connsiteY146" fmla="*/ 176205 h 198120"/>
                <a:gd name="connsiteX147" fmla="*/ 48645 w 257809"/>
                <a:gd name="connsiteY147" fmla="*/ 178110 h 198120"/>
                <a:gd name="connsiteX148" fmla="*/ 49280 w 257809"/>
                <a:gd name="connsiteY148" fmla="*/ 178745 h 198120"/>
                <a:gd name="connsiteX149" fmla="*/ 64520 w 257809"/>
                <a:gd name="connsiteY149" fmla="*/ 187000 h 198120"/>
                <a:gd name="connsiteX150" fmla="*/ 64520 w 257809"/>
                <a:gd name="connsiteY150" fmla="*/ 187000 h 198120"/>
                <a:gd name="connsiteX151" fmla="*/ 81665 w 257809"/>
                <a:gd name="connsiteY151" fmla="*/ 193350 h 198120"/>
                <a:gd name="connsiteX152" fmla="*/ 81665 w 257809"/>
                <a:gd name="connsiteY152" fmla="*/ 193350 h 198120"/>
                <a:gd name="connsiteX153" fmla="*/ 81665 w 257809"/>
                <a:gd name="connsiteY153" fmla="*/ 193350 h 198120"/>
                <a:gd name="connsiteX154" fmla="*/ 86745 w 257809"/>
                <a:gd name="connsiteY154" fmla="*/ 194620 h 198120"/>
                <a:gd name="connsiteX155" fmla="*/ 87380 w 257809"/>
                <a:gd name="connsiteY155" fmla="*/ 194620 h 198120"/>
                <a:gd name="connsiteX156" fmla="*/ 92460 w 257809"/>
                <a:gd name="connsiteY156" fmla="*/ 195890 h 198120"/>
                <a:gd name="connsiteX157" fmla="*/ 93095 w 257809"/>
                <a:gd name="connsiteY157" fmla="*/ 195890 h 198120"/>
                <a:gd name="connsiteX158" fmla="*/ 97540 w 257809"/>
                <a:gd name="connsiteY158" fmla="*/ 196525 h 198120"/>
                <a:gd name="connsiteX159" fmla="*/ 98810 w 257809"/>
                <a:gd name="connsiteY159" fmla="*/ 196525 h 198120"/>
                <a:gd name="connsiteX160" fmla="*/ 103255 w 257809"/>
                <a:gd name="connsiteY160" fmla="*/ 197160 h 198120"/>
                <a:gd name="connsiteX161" fmla="*/ 105160 w 257809"/>
                <a:gd name="connsiteY161" fmla="*/ 197160 h 198120"/>
                <a:gd name="connsiteX162" fmla="*/ 108970 w 257809"/>
                <a:gd name="connsiteY162" fmla="*/ 197795 h 198120"/>
                <a:gd name="connsiteX163" fmla="*/ 111510 w 257809"/>
                <a:gd name="connsiteY163" fmla="*/ 197795 h 198120"/>
                <a:gd name="connsiteX164" fmla="*/ 114685 w 257809"/>
                <a:gd name="connsiteY164" fmla="*/ 197795 h 198120"/>
                <a:gd name="connsiteX165" fmla="*/ 118495 w 257809"/>
                <a:gd name="connsiteY165" fmla="*/ 197795 h 198120"/>
                <a:gd name="connsiteX166" fmla="*/ 121035 w 257809"/>
                <a:gd name="connsiteY166" fmla="*/ 197795 h 198120"/>
                <a:gd name="connsiteX167" fmla="*/ 127385 w 257809"/>
                <a:gd name="connsiteY167" fmla="*/ 197795 h 198120"/>
                <a:gd name="connsiteX168" fmla="*/ 133735 w 257809"/>
                <a:gd name="connsiteY168" fmla="*/ 197795 h 198120"/>
                <a:gd name="connsiteX169" fmla="*/ 135640 w 257809"/>
                <a:gd name="connsiteY169" fmla="*/ 197795 h 198120"/>
                <a:gd name="connsiteX170" fmla="*/ 139450 w 257809"/>
                <a:gd name="connsiteY170" fmla="*/ 197795 h 198120"/>
                <a:gd name="connsiteX171" fmla="*/ 141990 w 257809"/>
                <a:gd name="connsiteY171" fmla="*/ 197795 h 198120"/>
                <a:gd name="connsiteX172" fmla="*/ 147070 w 257809"/>
                <a:gd name="connsiteY172" fmla="*/ 196525 h 198120"/>
                <a:gd name="connsiteX173" fmla="*/ 128655 w 257809"/>
                <a:gd name="connsiteY173" fmla="*/ 190810 h 198120"/>
                <a:gd name="connsiteX174" fmla="*/ 7370 w 257809"/>
                <a:gd name="connsiteY174" fmla="*/ 98100 h 198120"/>
                <a:gd name="connsiteX175" fmla="*/ 128655 w 257809"/>
                <a:gd name="connsiteY175" fmla="*/ 5390 h 198120"/>
                <a:gd name="connsiteX176" fmla="*/ 246130 w 257809"/>
                <a:gd name="connsiteY176" fmla="*/ 74605 h 198120"/>
                <a:gd name="connsiteX177" fmla="*/ 249940 w 257809"/>
                <a:gd name="connsiteY177" fmla="*/ 95560 h 198120"/>
                <a:gd name="connsiteX178" fmla="*/ 249940 w 257809"/>
                <a:gd name="connsiteY178" fmla="*/ 97465 h 198120"/>
                <a:gd name="connsiteX179" fmla="*/ 248035 w 257809"/>
                <a:gd name="connsiteY179" fmla="*/ 112705 h 198120"/>
                <a:gd name="connsiteX180" fmla="*/ 242955 w 257809"/>
                <a:gd name="connsiteY180" fmla="*/ 128580 h 198120"/>
                <a:gd name="connsiteX181" fmla="*/ 128655 w 257809"/>
                <a:gd name="connsiteY181" fmla="*/ 190810 h 19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57809" h="198120">
                  <a:moveTo>
                    <a:pt x="147070" y="196525"/>
                  </a:moveTo>
                  <a:cubicBezTo>
                    <a:pt x="148340" y="196525"/>
                    <a:pt x="148975" y="196525"/>
                    <a:pt x="149610" y="195890"/>
                  </a:cubicBezTo>
                  <a:cubicBezTo>
                    <a:pt x="150880" y="195890"/>
                    <a:pt x="151515" y="195890"/>
                    <a:pt x="152785" y="195255"/>
                  </a:cubicBezTo>
                  <a:cubicBezTo>
                    <a:pt x="154055" y="195255"/>
                    <a:pt x="154690" y="195255"/>
                    <a:pt x="155960" y="194620"/>
                  </a:cubicBezTo>
                  <a:cubicBezTo>
                    <a:pt x="157230" y="194620"/>
                    <a:pt x="157865" y="193985"/>
                    <a:pt x="158500" y="193985"/>
                  </a:cubicBezTo>
                  <a:cubicBezTo>
                    <a:pt x="159770" y="193985"/>
                    <a:pt x="160405" y="193350"/>
                    <a:pt x="161675" y="193350"/>
                  </a:cubicBezTo>
                  <a:cubicBezTo>
                    <a:pt x="162310" y="193350"/>
                    <a:pt x="163580" y="192715"/>
                    <a:pt x="164215" y="192715"/>
                  </a:cubicBezTo>
                  <a:cubicBezTo>
                    <a:pt x="165485" y="192715"/>
                    <a:pt x="166120" y="192080"/>
                    <a:pt x="167390" y="192080"/>
                  </a:cubicBezTo>
                  <a:cubicBezTo>
                    <a:pt x="168025" y="192080"/>
                    <a:pt x="168660" y="191445"/>
                    <a:pt x="169930" y="191445"/>
                  </a:cubicBezTo>
                  <a:cubicBezTo>
                    <a:pt x="171200" y="191445"/>
                    <a:pt x="172470" y="190810"/>
                    <a:pt x="173105" y="190810"/>
                  </a:cubicBezTo>
                  <a:lnTo>
                    <a:pt x="173105" y="190810"/>
                  </a:lnTo>
                  <a:cubicBezTo>
                    <a:pt x="175010" y="190175"/>
                    <a:pt x="176280" y="190175"/>
                    <a:pt x="178185" y="189540"/>
                  </a:cubicBezTo>
                  <a:cubicBezTo>
                    <a:pt x="178820" y="189540"/>
                    <a:pt x="180090" y="188905"/>
                    <a:pt x="180725" y="188905"/>
                  </a:cubicBezTo>
                  <a:cubicBezTo>
                    <a:pt x="181360" y="188905"/>
                    <a:pt x="182630" y="188270"/>
                    <a:pt x="183265" y="188270"/>
                  </a:cubicBezTo>
                  <a:cubicBezTo>
                    <a:pt x="183900" y="188270"/>
                    <a:pt x="185170" y="187635"/>
                    <a:pt x="185805" y="187635"/>
                  </a:cubicBezTo>
                  <a:cubicBezTo>
                    <a:pt x="186440" y="187000"/>
                    <a:pt x="187710" y="187000"/>
                    <a:pt x="188345" y="186365"/>
                  </a:cubicBezTo>
                  <a:cubicBezTo>
                    <a:pt x="188980" y="185730"/>
                    <a:pt x="190250" y="185730"/>
                    <a:pt x="190885" y="185095"/>
                  </a:cubicBezTo>
                  <a:cubicBezTo>
                    <a:pt x="192155" y="184460"/>
                    <a:pt x="192790" y="184460"/>
                    <a:pt x="194060" y="183825"/>
                  </a:cubicBezTo>
                  <a:cubicBezTo>
                    <a:pt x="195330" y="183190"/>
                    <a:pt x="195965" y="182555"/>
                    <a:pt x="197235" y="182555"/>
                  </a:cubicBezTo>
                  <a:cubicBezTo>
                    <a:pt x="197870" y="181920"/>
                    <a:pt x="199140" y="181920"/>
                    <a:pt x="199775" y="181285"/>
                  </a:cubicBezTo>
                  <a:cubicBezTo>
                    <a:pt x="200410" y="180650"/>
                    <a:pt x="201045" y="180650"/>
                    <a:pt x="202315" y="180015"/>
                  </a:cubicBezTo>
                  <a:cubicBezTo>
                    <a:pt x="202950" y="179380"/>
                    <a:pt x="204220" y="179380"/>
                    <a:pt x="204855" y="178745"/>
                  </a:cubicBezTo>
                  <a:cubicBezTo>
                    <a:pt x="205490" y="178110"/>
                    <a:pt x="206125" y="178110"/>
                    <a:pt x="206760" y="177475"/>
                  </a:cubicBezTo>
                  <a:cubicBezTo>
                    <a:pt x="207395" y="176840"/>
                    <a:pt x="208665" y="176205"/>
                    <a:pt x="209300" y="176205"/>
                  </a:cubicBezTo>
                  <a:cubicBezTo>
                    <a:pt x="209935" y="175570"/>
                    <a:pt x="210570" y="175570"/>
                    <a:pt x="211205" y="174935"/>
                  </a:cubicBezTo>
                  <a:cubicBezTo>
                    <a:pt x="212475" y="174300"/>
                    <a:pt x="213745" y="173030"/>
                    <a:pt x="215015" y="172395"/>
                  </a:cubicBezTo>
                  <a:cubicBezTo>
                    <a:pt x="215650" y="171760"/>
                    <a:pt x="216285" y="171760"/>
                    <a:pt x="216920" y="171125"/>
                  </a:cubicBezTo>
                  <a:cubicBezTo>
                    <a:pt x="217555" y="170490"/>
                    <a:pt x="218190" y="169855"/>
                    <a:pt x="219460" y="169220"/>
                  </a:cubicBezTo>
                  <a:cubicBezTo>
                    <a:pt x="220095" y="168585"/>
                    <a:pt x="220730" y="168585"/>
                    <a:pt x="221365" y="167950"/>
                  </a:cubicBezTo>
                  <a:cubicBezTo>
                    <a:pt x="222000" y="167315"/>
                    <a:pt x="222635" y="166680"/>
                    <a:pt x="223270" y="166045"/>
                  </a:cubicBezTo>
                  <a:cubicBezTo>
                    <a:pt x="223905" y="165410"/>
                    <a:pt x="224540" y="165410"/>
                    <a:pt x="225175" y="164775"/>
                  </a:cubicBezTo>
                  <a:cubicBezTo>
                    <a:pt x="226445" y="164140"/>
                    <a:pt x="227080" y="162870"/>
                    <a:pt x="228350" y="162235"/>
                  </a:cubicBezTo>
                  <a:cubicBezTo>
                    <a:pt x="228985" y="161600"/>
                    <a:pt x="229620" y="161600"/>
                    <a:pt x="229620" y="160965"/>
                  </a:cubicBezTo>
                  <a:cubicBezTo>
                    <a:pt x="230255" y="160330"/>
                    <a:pt x="231525" y="159060"/>
                    <a:pt x="232160" y="158425"/>
                  </a:cubicBezTo>
                  <a:cubicBezTo>
                    <a:pt x="232795" y="157790"/>
                    <a:pt x="232795" y="157790"/>
                    <a:pt x="233430" y="157155"/>
                  </a:cubicBezTo>
                  <a:cubicBezTo>
                    <a:pt x="234065" y="156520"/>
                    <a:pt x="234700" y="155885"/>
                    <a:pt x="235335" y="155250"/>
                  </a:cubicBezTo>
                  <a:cubicBezTo>
                    <a:pt x="235970" y="154615"/>
                    <a:pt x="235970" y="153980"/>
                    <a:pt x="236605" y="153980"/>
                  </a:cubicBezTo>
                  <a:cubicBezTo>
                    <a:pt x="237240" y="153345"/>
                    <a:pt x="237875" y="152075"/>
                    <a:pt x="238510" y="151440"/>
                  </a:cubicBezTo>
                  <a:cubicBezTo>
                    <a:pt x="238510" y="150805"/>
                    <a:pt x="239145" y="150805"/>
                    <a:pt x="239780" y="150170"/>
                  </a:cubicBezTo>
                  <a:cubicBezTo>
                    <a:pt x="240415" y="148900"/>
                    <a:pt x="241685" y="147630"/>
                    <a:pt x="242320" y="146360"/>
                  </a:cubicBezTo>
                  <a:cubicBezTo>
                    <a:pt x="242320" y="145725"/>
                    <a:pt x="242955" y="145725"/>
                    <a:pt x="242955" y="145090"/>
                  </a:cubicBezTo>
                  <a:cubicBezTo>
                    <a:pt x="243590" y="144455"/>
                    <a:pt x="244225" y="143185"/>
                    <a:pt x="244860" y="142550"/>
                  </a:cubicBezTo>
                  <a:cubicBezTo>
                    <a:pt x="244860" y="141915"/>
                    <a:pt x="245495" y="141280"/>
                    <a:pt x="245495" y="141280"/>
                  </a:cubicBezTo>
                  <a:cubicBezTo>
                    <a:pt x="246130" y="140645"/>
                    <a:pt x="246765" y="139375"/>
                    <a:pt x="246765" y="138740"/>
                  </a:cubicBezTo>
                  <a:cubicBezTo>
                    <a:pt x="246765" y="138105"/>
                    <a:pt x="247400" y="138105"/>
                    <a:pt x="247400" y="137470"/>
                  </a:cubicBezTo>
                  <a:cubicBezTo>
                    <a:pt x="248035" y="136200"/>
                    <a:pt x="248670" y="134930"/>
                    <a:pt x="249305" y="133660"/>
                  </a:cubicBezTo>
                  <a:cubicBezTo>
                    <a:pt x="249305" y="133660"/>
                    <a:pt x="249305" y="133660"/>
                    <a:pt x="249305" y="133025"/>
                  </a:cubicBezTo>
                  <a:cubicBezTo>
                    <a:pt x="249940" y="131755"/>
                    <a:pt x="250575" y="130485"/>
                    <a:pt x="251210" y="129215"/>
                  </a:cubicBezTo>
                  <a:cubicBezTo>
                    <a:pt x="251210" y="129215"/>
                    <a:pt x="251210" y="128580"/>
                    <a:pt x="251845" y="128580"/>
                  </a:cubicBezTo>
                  <a:cubicBezTo>
                    <a:pt x="255655" y="119055"/>
                    <a:pt x="257560" y="109530"/>
                    <a:pt x="257560" y="99370"/>
                  </a:cubicBezTo>
                  <a:cubicBezTo>
                    <a:pt x="257560" y="89210"/>
                    <a:pt x="255655" y="79050"/>
                    <a:pt x="251845" y="70160"/>
                  </a:cubicBezTo>
                  <a:cubicBezTo>
                    <a:pt x="251845" y="70160"/>
                    <a:pt x="251845" y="69525"/>
                    <a:pt x="251845" y="69525"/>
                  </a:cubicBezTo>
                  <a:cubicBezTo>
                    <a:pt x="251210" y="68255"/>
                    <a:pt x="250575" y="66985"/>
                    <a:pt x="249940" y="65715"/>
                  </a:cubicBezTo>
                  <a:cubicBezTo>
                    <a:pt x="249940" y="65080"/>
                    <a:pt x="249305" y="65080"/>
                    <a:pt x="249305" y="64445"/>
                  </a:cubicBezTo>
                  <a:cubicBezTo>
                    <a:pt x="248670" y="63175"/>
                    <a:pt x="248035" y="61905"/>
                    <a:pt x="247400" y="60635"/>
                  </a:cubicBezTo>
                  <a:cubicBezTo>
                    <a:pt x="247400" y="60000"/>
                    <a:pt x="246765" y="60000"/>
                    <a:pt x="246765" y="59365"/>
                  </a:cubicBezTo>
                  <a:cubicBezTo>
                    <a:pt x="246130" y="58095"/>
                    <a:pt x="245495" y="57460"/>
                    <a:pt x="244860" y="56190"/>
                  </a:cubicBezTo>
                  <a:cubicBezTo>
                    <a:pt x="241050" y="50475"/>
                    <a:pt x="236605" y="44760"/>
                    <a:pt x="232160" y="39680"/>
                  </a:cubicBezTo>
                  <a:cubicBezTo>
                    <a:pt x="232160" y="39680"/>
                    <a:pt x="232160" y="39680"/>
                    <a:pt x="232160" y="39680"/>
                  </a:cubicBezTo>
                  <a:lnTo>
                    <a:pt x="232160" y="39680"/>
                  </a:lnTo>
                  <a:cubicBezTo>
                    <a:pt x="230890" y="38410"/>
                    <a:pt x="228985" y="36505"/>
                    <a:pt x="227715" y="35235"/>
                  </a:cubicBezTo>
                  <a:cubicBezTo>
                    <a:pt x="227715" y="35235"/>
                    <a:pt x="227715" y="35235"/>
                    <a:pt x="227715" y="35235"/>
                  </a:cubicBezTo>
                  <a:cubicBezTo>
                    <a:pt x="226445" y="33965"/>
                    <a:pt x="224540" y="32695"/>
                    <a:pt x="223270" y="31425"/>
                  </a:cubicBezTo>
                  <a:cubicBezTo>
                    <a:pt x="222635" y="31425"/>
                    <a:pt x="222635" y="30790"/>
                    <a:pt x="222000" y="30790"/>
                  </a:cubicBezTo>
                  <a:cubicBezTo>
                    <a:pt x="220730" y="29520"/>
                    <a:pt x="219460" y="28885"/>
                    <a:pt x="218190" y="27615"/>
                  </a:cubicBezTo>
                  <a:cubicBezTo>
                    <a:pt x="217555" y="27615"/>
                    <a:pt x="217555" y="26980"/>
                    <a:pt x="216920" y="26345"/>
                  </a:cubicBezTo>
                  <a:cubicBezTo>
                    <a:pt x="215650" y="25710"/>
                    <a:pt x="214380" y="24440"/>
                    <a:pt x="213110" y="23805"/>
                  </a:cubicBezTo>
                  <a:cubicBezTo>
                    <a:pt x="212475" y="23805"/>
                    <a:pt x="212475" y="23170"/>
                    <a:pt x="211840" y="23170"/>
                  </a:cubicBezTo>
                  <a:cubicBezTo>
                    <a:pt x="210570" y="21900"/>
                    <a:pt x="208665" y="21265"/>
                    <a:pt x="206760" y="19995"/>
                  </a:cubicBezTo>
                  <a:cubicBezTo>
                    <a:pt x="206760" y="19995"/>
                    <a:pt x="206125" y="19995"/>
                    <a:pt x="206125" y="19360"/>
                  </a:cubicBezTo>
                  <a:cubicBezTo>
                    <a:pt x="204220" y="18090"/>
                    <a:pt x="202315" y="17455"/>
                    <a:pt x="200410" y="16185"/>
                  </a:cubicBezTo>
                  <a:cubicBezTo>
                    <a:pt x="200410" y="16185"/>
                    <a:pt x="200410" y="16185"/>
                    <a:pt x="200410" y="16185"/>
                  </a:cubicBezTo>
                  <a:cubicBezTo>
                    <a:pt x="198505" y="14915"/>
                    <a:pt x="196600" y="14280"/>
                    <a:pt x="194695" y="13645"/>
                  </a:cubicBezTo>
                  <a:cubicBezTo>
                    <a:pt x="194060" y="13645"/>
                    <a:pt x="193425" y="13010"/>
                    <a:pt x="193425" y="13010"/>
                  </a:cubicBezTo>
                  <a:cubicBezTo>
                    <a:pt x="192155" y="12375"/>
                    <a:pt x="190250" y="11740"/>
                    <a:pt x="188980" y="11105"/>
                  </a:cubicBezTo>
                  <a:cubicBezTo>
                    <a:pt x="188345" y="11105"/>
                    <a:pt x="187710" y="10470"/>
                    <a:pt x="187075" y="10470"/>
                  </a:cubicBezTo>
                  <a:cubicBezTo>
                    <a:pt x="185805" y="9835"/>
                    <a:pt x="183900" y="9200"/>
                    <a:pt x="182630" y="8565"/>
                  </a:cubicBezTo>
                  <a:cubicBezTo>
                    <a:pt x="181995" y="8565"/>
                    <a:pt x="181360" y="7930"/>
                    <a:pt x="180725" y="7930"/>
                  </a:cubicBezTo>
                  <a:cubicBezTo>
                    <a:pt x="178820" y="7295"/>
                    <a:pt x="177550" y="6660"/>
                    <a:pt x="175645" y="6660"/>
                  </a:cubicBezTo>
                  <a:cubicBezTo>
                    <a:pt x="175010" y="6660"/>
                    <a:pt x="174375" y="6025"/>
                    <a:pt x="173740" y="6025"/>
                  </a:cubicBezTo>
                  <a:cubicBezTo>
                    <a:pt x="171835" y="5390"/>
                    <a:pt x="169295" y="4755"/>
                    <a:pt x="166755" y="4120"/>
                  </a:cubicBezTo>
                  <a:cubicBezTo>
                    <a:pt x="166755" y="4120"/>
                    <a:pt x="166755" y="4120"/>
                    <a:pt x="166120" y="4120"/>
                  </a:cubicBezTo>
                  <a:cubicBezTo>
                    <a:pt x="164215" y="3485"/>
                    <a:pt x="161675" y="3485"/>
                    <a:pt x="159770" y="2850"/>
                  </a:cubicBezTo>
                  <a:cubicBezTo>
                    <a:pt x="159135" y="2850"/>
                    <a:pt x="158500" y="2850"/>
                    <a:pt x="157865" y="2215"/>
                  </a:cubicBezTo>
                  <a:cubicBezTo>
                    <a:pt x="156595" y="2215"/>
                    <a:pt x="154690" y="1580"/>
                    <a:pt x="152785" y="1580"/>
                  </a:cubicBezTo>
                  <a:cubicBezTo>
                    <a:pt x="152150" y="1580"/>
                    <a:pt x="150880" y="1580"/>
                    <a:pt x="150245" y="945"/>
                  </a:cubicBezTo>
                  <a:cubicBezTo>
                    <a:pt x="148975" y="945"/>
                    <a:pt x="147070" y="310"/>
                    <a:pt x="145800" y="310"/>
                  </a:cubicBezTo>
                  <a:cubicBezTo>
                    <a:pt x="145165" y="310"/>
                    <a:pt x="143895" y="310"/>
                    <a:pt x="143260" y="310"/>
                  </a:cubicBezTo>
                  <a:cubicBezTo>
                    <a:pt x="141355" y="310"/>
                    <a:pt x="140085" y="310"/>
                    <a:pt x="138180" y="-325"/>
                  </a:cubicBezTo>
                  <a:cubicBezTo>
                    <a:pt x="137545" y="-325"/>
                    <a:pt x="136910" y="-325"/>
                    <a:pt x="135640" y="-325"/>
                  </a:cubicBezTo>
                  <a:cubicBezTo>
                    <a:pt x="133100" y="-325"/>
                    <a:pt x="130560" y="-325"/>
                    <a:pt x="128020" y="-325"/>
                  </a:cubicBezTo>
                  <a:cubicBezTo>
                    <a:pt x="125480" y="-325"/>
                    <a:pt x="122940" y="-325"/>
                    <a:pt x="121035" y="-325"/>
                  </a:cubicBezTo>
                  <a:cubicBezTo>
                    <a:pt x="120400" y="-325"/>
                    <a:pt x="119765" y="-325"/>
                    <a:pt x="118495" y="-325"/>
                  </a:cubicBezTo>
                  <a:cubicBezTo>
                    <a:pt x="116590" y="-325"/>
                    <a:pt x="115320" y="-325"/>
                    <a:pt x="113415" y="310"/>
                  </a:cubicBezTo>
                  <a:cubicBezTo>
                    <a:pt x="112780" y="310"/>
                    <a:pt x="111510" y="310"/>
                    <a:pt x="110875" y="310"/>
                  </a:cubicBezTo>
                  <a:cubicBezTo>
                    <a:pt x="109605" y="310"/>
                    <a:pt x="107700" y="310"/>
                    <a:pt x="106430" y="945"/>
                  </a:cubicBezTo>
                  <a:cubicBezTo>
                    <a:pt x="105795" y="945"/>
                    <a:pt x="104525" y="945"/>
                    <a:pt x="103890" y="1580"/>
                  </a:cubicBezTo>
                  <a:cubicBezTo>
                    <a:pt x="102620" y="1580"/>
                    <a:pt x="100715" y="2215"/>
                    <a:pt x="99445" y="2215"/>
                  </a:cubicBezTo>
                  <a:cubicBezTo>
                    <a:pt x="98810" y="2215"/>
                    <a:pt x="98175" y="2215"/>
                    <a:pt x="96905" y="2850"/>
                  </a:cubicBezTo>
                  <a:cubicBezTo>
                    <a:pt x="95000" y="2850"/>
                    <a:pt x="93730" y="3485"/>
                    <a:pt x="91825" y="4120"/>
                  </a:cubicBezTo>
                  <a:cubicBezTo>
                    <a:pt x="91190" y="4120"/>
                    <a:pt x="90555" y="4120"/>
                    <a:pt x="89920" y="4755"/>
                  </a:cubicBezTo>
                  <a:cubicBezTo>
                    <a:pt x="82935" y="6660"/>
                    <a:pt x="76585" y="8565"/>
                    <a:pt x="70235" y="10470"/>
                  </a:cubicBezTo>
                  <a:cubicBezTo>
                    <a:pt x="70235" y="10470"/>
                    <a:pt x="69600" y="10470"/>
                    <a:pt x="69600" y="11105"/>
                  </a:cubicBezTo>
                  <a:cubicBezTo>
                    <a:pt x="67695" y="11740"/>
                    <a:pt x="65790" y="12375"/>
                    <a:pt x="64520" y="13010"/>
                  </a:cubicBezTo>
                  <a:cubicBezTo>
                    <a:pt x="63885" y="13010"/>
                    <a:pt x="63885" y="13010"/>
                    <a:pt x="63250" y="13645"/>
                  </a:cubicBezTo>
                  <a:cubicBezTo>
                    <a:pt x="61345" y="14280"/>
                    <a:pt x="60075" y="14915"/>
                    <a:pt x="58170" y="16185"/>
                  </a:cubicBezTo>
                  <a:cubicBezTo>
                    <a:pt x="58170" y="16185"/>
                    <a:pt x="57535" y="16185"/>
                    <a:pt x="57535" y="16820"/>
                  </a:cubicBezTo>
                  <a:cubicBezTo>
                    <a:pt x="55630" y="17455"/>
                    <a:pt x="53725" y="18725"/>
                    <a:pt x="51820" y="19995"/>
                  </a:cubicBezTo>
                  <a:cubicBezTo>
                    <a:pt x="51820" y="19995"/>
                    <a:pt x="51820" y="19995"/>
                    <a:pt x="51820" y="19995"/>
                  </a:cubicBezTo>
                  <a:cubicBezTo>
                    <a:pt x="40390" y="26345"/>
                    <a:pt x="30865" y="33965"/>
                    <a:pt x="22610" y="42855"/>
                  </a:cubicBezTo>
                  <a:cubicBezTo>
                    <a:pt x="21340" y="44125"/>
                    <a:pt x="20070" y="45395"/>
                    <a:pt x="19435" y="46665"/>
                  </a:cubicBezTo>
                  <a:lnTo>
                    <a:pt x="19435" y="46665"/>
                  </a:lnTo>
                  <a:cubicBezTo>
                    <a:pt x="18165" y="47935"/>
                    <a:pt x="17530" y="49205"/>
                    <a:pt x="16260" y="50475"/>
                  </a:cubicBezTo>
                  <a:lnTo>
                    <a:pt x="16260" y="50475"/>
                  </a:lnTo>
                  <a:cubicBezTo>
                    <a:pt x="14990" y="51745"/>
                    <a:pt x="14355" y="53015"/>
                    <a:pt x="13085" y="54920"/>
                  </a:cubicBezTo>
                  <a:cubicBezTo>
                    <a:pt x="13085" y="54920"/>
                    <a:pt x="13085" y="54920"/>
                    <a:pt x="13085" y="54920"/>
                  </a:cubicBezTo>
                  <a:lnTo>
                    <a:pt x="13085" y="54920"/>
                  </a:lnTo>
                  <a:cubicBezTo>
                    <a:pt x="11180" y="58095"/>
                    <a:pt x="9275" y="61270"/>
                    <a:pt x="7370" y="64445"/>
                  </a:cubicBezTo>
                  <a:cubicBezTo>
                    <a:pt x="6735" y="65715"/>
                    <a:pt x="6100" y="66350"/>
                    <a:pt x="6100" y="67620"/>
                  </a:cubicBezTo>
                  <a:cubicBezTo>
                    <a:pt x="6100" y="67620"/>
                    <a:pt x="6100" y="67620"/>
                    <a:pt x="6100" y="68255"/>
                  </a:cubicBezTo>
                  <a:cubicBezTo>
                    <a:pt x="6100" y="68255"/>
                    <a:pt x="6100" y="68890"/>
                    <a:pt x="6100" y="68890"/>
                  </a:cubicBezTo>
                  <a:cubicBezTo>
                    <a:pt x="5465" y="70160"/>
                    <a:pt x="5465" y="70795"/>
                    <a:pt x="4830" y="72065"/>
                  </a:cubicBezTo>
                  <a:cubicBezTo>
                    <a:pt x="4195" y="73335"/>
                    <a:pt x="4195" y="73970"/>
                    <a:pt x="3560" y="75240"/>
                  </a:cubicBezTo>
                  <a:cubicBezTo>
                    <a:pt x="3560" y="75240"/>
                    <a:pt x="3560" y="75240"/>
                    <a:pt x="3560" y="75240"/>
                  </a:cubicBezTo>
                  <a:cubicBezTo>
                    <a:pt x="1020" y="83495"/>
                    <a:pt x="-250" y="91750"/>
                    <a:pt x="-250" y="100005"/>
                  </a:cubicBezTo>
                  <a:cubicBezTo>
                    <a:pt x="-250" y="107625"/>
                    <a:pt x="1020" y="114610"/>
                    <a:pt x="2925" y="121595"/>
                  </a:cubicBezTo>
                  <a:cubicBezTo>
                    <a:pt x="3560" y="124135"/>
                    <a:pt x="4830" y="126675"/>
                    <a:pt x="5465" y="129215"/>
                  </a:cubicBezTo>
                  <a:cubicBezTo>
                    <a:pt x="5465" y="129215"/>
                    <a:pt x="5465" y="129850"/>
                    <a:pt x="5465" y="129850"/>
                  </a:cubicBezTo>
                  <a:cubicBezTo>
                    <a:pt x="6100" y="131120"/>
                    <a:pt x="6735" y="132390"/>
                    <a:pt x="7370" y="133660"/>
                  </a:cubicBezTo>
                  <a:cubicBezTo>
                    <a:pt x="7370" y="134295"/>
                    <a:pt x="8005" y="134295"/>
                    <a:pt x="8005" y="134930"/>
                  </a:cubicBezTo>
                  <a:cubicBezTo>
                    <a:pt x="8640" y="135565"/>
                    <a:pt x="8640" y="136835"/>
                    <a:pt x="9275" y="137470"/>
                  </a:cubicBezTo>
                  <a:cubicBezTo>
                    <a:pt x="9275" y="138105"/>
                    <a:pt x="9910" y="138740"/>
                    <a:pt x="9910" y="139375"/>
                  </a:cubicBezTo>
                  <a:cubicBezTo>
                    <a:pt x="10545" y="140010"/>
                    <a:pt x="10545" y="140645"/>
                    <a:pt x="11180" y="141915"/>
                  </a:cubicBezTo>
                  <a:cubicBezTo>
                    <a:pt x="11815" y="142550"/>
                    <a:pt x="11815" y="143185"/>
                    <a:pt x="12450" y="143820"/>
                  </a:cubicBezTo>
                  <a:cubicBezTo>
                    <a:pt x="13085" y="144455"/>
                    <a:pt x="13720" y="145725"/>
                    <a:pt x="14355" y="146360"/>
                  </a:cubicBezTo>
                  <a:cubicBezTo>
                    <a:pt x="14990" y="146995"/>
                    <a:pt x="15625" y="148265"/>
                    <a:pt x="16260" y="148900"/>
                  </a:cubicBezTo>
                  <a:cubicBezTo>
                    <a:pt x="16895" y="149535"/>
                    <a:pt x="17530" y="150170"/>
                    <a:pt x="18165" y="151440"/>
                  </a:cubicBezTo>
                  <a:cubicBezTo>
                    <a:pt x="18800" y="152075"/>
                    <a:pt x="19435" y="152710"/>
                    <a:pt x="19435" y="153345"/>
                  </a:cubicBezTo>
                  <a:cubicBezTo>
                    <a:pt x="20070" y="153980"/>
                    <a:pt x="20070" y="154615"/>
                    <a:pt x="20705" y="155250"/>
                  </a:cubicBezTo>
                  <a:cubicBezTo>
                    <a:pt x="21340" y="155885"/>
                    <a:pt x="21975" y="156520"/>
                    <a:pt x="22610" y="157155"/>
                  </a:cubicBezTo>
                  <a:cubicBezTo>
                    <a:pt x="23245" y="157790"/>
                    <a:pt x="23245" y="158425"/>
                    <a:pt x="23880" y="158425"/>
                  </a:cubicBezTo>
                  <a:cubicBezTo>
                    <a:pt x="26420" y="160965"/>
                    <a:pt x="28325" y="162870"/>
                    <a:pt x="30865" y="165410"/>
                  </a:cubicBezTo>
                  <a:cubicBezTo>
                    <a:pt x="31500" y="166045"/>
                    <a:pt x="31500" y="166045"/>
                    <a:pt x="32135" y="166680"/>
                  </a:cubicBezTo>
                  <a:cubicBezTo>
                    <a:pt x="32770" y="167315"/>
                    <a:pt x="34040" y="167950"/>
                    <a:pt x="34675" y="168585"/>
                  </a:cubicBezTo>
                  <a:cubicBezTo>
                    <a:pt x="35310" y="168585"/>
                    <a:pt x="35310" y="169220"/>
                    <a:pt x="35945" y="169220"/>
                  </a:cubicBezTo>
                  <a:cubicBezTo>
                    <a:pt x="39120" y="171760"/>
                    <a:pt x="42295" y="173665"/>
                    <a:pt x="45470" y="176205"/>
                  </a:cubicBezTo>
                  <a:cubicBezTo>
                    <a:pt x="45470" y="176205"/>
                    <a:pt x="45470" y="176205"/>
                    <a:pt x="45470" y="176205"/>
                  </a:cubicBezTo>
                  <a:cubicBezTo>
                    <a:pt x="46740" y="176840"/>
                    <a:pt x="47375" y="177475"/>
                    <a:pt x="48645" y="178110"/>
                  </a:cubicBezTo>
                  <a:cubicBezTo>
                    <a:pt x="48645" y="178110"/>
                    <a:pt x="49280" y="178110"/>
                    <a:pt x="49280" y="178745"/>
                  </a:cubicBezTo>
                  <a:cubicBezTo>
                    <a:pt x="54360" y="181920"/>
                    <a:pt x="59440" y="184460"/>
                    <a:pt x="64520" y="187000"/>
                  </a:cubicBezTo>
                  <a:cubicBezTo>
                    <a:pt x="64520" y="187000"/>
                    <a:pt x="64520" y="187000"/>
                    <a:pt x="64520" y="187000"/>
                  </a:cubicBezTo>
                  <a:cubicBezTo>
                    <a:pt x="70235" y="189540"/>
                    <a:pt x="75950" y="191445"/>
                    <a:pt x="81665" y="193350"/>
                  </a:cubicBezTo>
                  <a:lnTo>
                    <a:pt x="81665" y="193350"/>
                  </a:lnTo>
                  <a:lnTo>
                    <a:pt x="81665" y="193350"/>
                  </a:lnTo>
                  <a:cubicBezTo>
                    <a:pt x="83570" y="193985"/>
                    <a:pt x="84840" y="194620"/>
                    <a:pt x="86745" y="194620"/>
                  </a:cubicBezTo>
                  <a:cubicBezTo>
                    <a:pt x="86745" y="194620"/>
                    <a:pt x="86745" y="194620"/>
                    <a:pt x="87380" y="194620"/>
                  </a:cubicBezTo>
                  <a:cubicBezTo>
                    <a:pt x="89285" y="195255"/>
                    <a:pt x="90555" y="195255"/>
                    <a:pt x="92460" y="195890"/>
                  </a:cubicBezTo>
                  <a:cubicBezTo>
                    <a:pt x="92460" y="195890"/>
                    <a:pt x="93095" y="195890"/>
                    <a:pt x="93095" y="195890"/>
                  </a:cubicBezTo>
                  <a:cubicBezTo>
                    <a:pt x="94365" y="196525"/>
                    <a:pt x="96270" y="196525"/>
                    <a:pt x="97540" y="196525"/>
                  </a:cubicBezTo>
                  <a:cubicBezTo>
                    <a:pt x="98175" y="196525"/>
                    <a:pt x="98175" y="196525"/>
                    <a:pt x="98810" y="196525"/>
                  </a:cubicBezTo>
                  <a:cubicBezTo>
                    <a:pt x="100080" y="196525"/>
                    <a:pt x="101985" y="197160"/>
                    <a:pt x="103255" y="197160"/>
                  </a:cubicBezTo>
                  <a:cubicBezTo>
                    <a:pt x="103890" y="197160"/>
                    <a:pt x="104525" y="197160"/>
                    <a:pt x="105160" y="197160"/>
                  </a:cubicBezTo>
                  <a:cubicBezTo>
                    <a:pt x="106430" y="197160"/>
                    <a:pt x="107700" y="197795"/>
                    <a:pt x="108970" y="197795"/>
                  </a:cubicBezTo>
                  <a:cubicBezTo>
                    <a:pt x="109605" y="197795"/>
                    <a:pt x="110875" y="197795"/>
                    <a:pt x="111510" y="197795"/>
                  </a:cubicBezTo>
                  <a:cubicBezTo>
                    <a:pt x="112780" y="197795"/>
                    <a:pt x="114050" y="197795"/>
                    <a:pt x="114685" y="197795"/>
                  </a:cubicBezTo>
                  <a:cubicBezTo>
                    <a:pt x="115955" y="197795"/>
                    <a:pt x="117225" y="197795"/>
                    <a:pt x="118495" y="197795"/>
                  </a:cubicBezTo>
                  <a:cubicBezTo>
                    <a:pt x="119130" y="197795"/>
                    <a:pt x="120400" y="197795"/>
                    <a:pt x="121035" y="197795"/>
                  </a:cubicBezTo>
                  <a:cubicBezTo>
                    <a:pt x="122940" y="197795"/>
                    <a:pt x="125480" y="197795"/>
                    <a:pt x="127385" y="197795"/>
                  </a:cubicBezTo>
                  <a:cubicBezTo>
                    <a:pt x="129290" y="197795"/>
                    <a:pt x="131830" y="197795"/>
                    <a:pt x="133735" y="197795"/>
                  </a:cubicBezTo>
                  <a:cubicBezTo>
                    <a:pt x="134370" y="197795"/>
                    <a:pt x="135005" y="197795"/>
                    <a:pt x="135640" y="197795"/>
                  </a:cubicBezTo>
                  <a:cubicBezTo>
                    <a:pt x="136910" y="197795"/>
                    <a:pt x="138180" y="197795"/>
                    <a:pt x="139450" y="197795"/>
                  </a:cubicBezTo>
                  <a:cubicBezTo>
                    <a:pt x="140085" y="197795"/>
                    <a:pt x="141355" y="197795"/>
                    <a:pt x="141990" y="197795"/>
                  </a:cubicBezTo>
                  <a:cubicBezTo>
                    <a:pt x="144530" y="197160"/>
                    <a:pt x="145800" y="196525"/>
                    <a:pt x="147070" y="196525"/>
                  </a:cubicBezTo>
                  <a:moveTo>
                    <a:pt x="128655" y="190810"/>
                  </a:moveTo>
                  <a:cubicBezTo>
                    <a:pt x="61345" y="190810"/>
                    <a:pt x="7370" y="149535"/>
                    <a:pt x="7370" y="98100"/>
                  </a:cubicBezTo>
                  <a:cubicBezTo>
                    <a:pt x="7370" y="47300"/>
                    <a:pt x="61980" y="5390"/>
                    <a:pt x="128655" y="5390"/>
                  </a:cubicBezTo>
                  <a:cubicBezTo>
                    <a:pt x="185170" y="5390"/>
                    <a:pt x="232795" y="34600"/>
                    <a:pt x="246130" y="74605"/>
                  </a:cubicBezTo>
                  <a:cubicBezTo>
                    <a:pt x="248670" y="81590"/>
                    <a:pt x="249940" y="88575"/>
                    <a:pt x="249940" y="95560"/>
                  </a:cubicBezTo>
                  <a:cubicBezTo>
                    <a:pt x="249940" y="96195"/>
                    <a:pt x="249940" y="96830"/>
                    <a:pt x="249940" y="97465"/>
                  </a:cubicBezTo>
                  <a:cubicBezTo>
                    <a:pt x="249940" y="102545"/>
                    <a:pt x="249305" y="107625"/>
                    <a:pt x="248035" y="112705"/>
                  </a:cubicBezTo>
                  <a:cubicBezTo>
                    <a:pt x="246765" y="118420"/>
                    <a:pt x="244860" y="123500"/>
                    <a:pt x="242955" y="128580"/>
                  </a:cubicBezTo>
                  <a:cubicBezTo>
                    <a:pt x="225810" y="165410"/>
                    <a:pt x="181360" y="190810"/>
                    <a:pt x="128655" y="190810"/>
                  </a:cubicBezTo>
                </a:path>
              </a:pathLst>
            </a:custGeom>
            <a:solidFill>
              <a:srgbClr val="FFFFFF"/>
            </a:solidFill>
            <a:ln w="6350" cap="flat">
              <a:noFill/>
              <a:prstDash val="solid"/>
              <a:miter/>
            </a:ln>
          </p:spPr>
          <p:txBody>
            <a:bodyPr rtlCol="0" anchor="ctr"/>
            <a:lstStyle/>
            <a:p>
              <a:endParaRPr lang="en-GB"/>
            </a:p>
          </p:txBody>
        </p:sp>
        <p:sp>
          <p:nvSpPr>
            <p:cNvPr id="168" name="Freeform 167"/>
            <p:cNvSpPr/>
            <p:nvPr/>
          </p:nvSpPr>
          <p:spPr>
            <a:xfrm>
              <a:off x="4061865" y="3240404"/>
              <a:ext cx="207032" cy="31750"/>
            </a:xfrm>
            <a:custGeom>
              <a:avLst/>
              <a:gdLst>
                <a:gd name="connsiteX0" fmla="*/ 38714 w 207032"/>
                <a:gd name="connsiteY0" fmla="*/ 31425 h 31750"/>
                <a:gd name="connsiteX1" fmla="*/ 205084 w 207032"/>
                <a:gd name="connsiteY1" fmla="*/ 9835 h 31750"/>
                <a:gd name="connsiteX2" fmla="*/ 204449 w 207032"/>
                <a:gd name="connsiteY2" fmla="*/ 4120 h 31750"/>
                <a:gd name="connsiteX3" fmla="*/ 201909 w 207032"/>
                <a:gd name="connsiteY3" fmla="*/ 2215 h 31750"/>
                <a:gd name="connsiteX4" fmla="*/ 192384 w 207032"/>
                <a:gd name="connsiteY4" fmla="*/ -325 h 31750"/>
                <a:gd name="connsiteX5" fmla="*/ 3154 w 207032"/>
                <a:gd name="connsiteY5" fmla="*/ 13645 h 31750"/>
                <a:gd name="connsiteX6" fmla="*/ -21 w 207032"/>
                <a:gd name="connsiteY6" fmla="*/ 19360 h 31750"/>
                <a:gd name="connsiteX7" fmla="*/ 2519 w 207032"/>
                <a:gd name="connsiteY7" fmla="*/ 23805 h 31750"/>
                <a:gd name="connsiteX8" fmla="*/ 35539 w 207032"/>
                <a:gd name="connsiteY8" fmla="*/ 31425 h 31750"/>
                <a:gd name="connsiteX9" fmla="*/ 38714 w 207032"/>
                <a:gd name="connsiteY9" fmla="*/ 31425 h 3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032" h="31750">
                  <a:moveTo>
                    <a:pt x="38714" y="31425"/>
                  </a:moveTo>
                  <a:cubicBezTo>
                    <a:pt x="45699" y="31425"/>
                    <a:pt x="201909" y="10470"/>
                    <a:pt x="205084" y="9835"/>
                  </a:cubicBezTo>
                  <a:cubicBezTo>
                    <a:pt x="208259" y="9200"/>
                    <a:pt x="206354" y="6025"/>
                    <a:pt x="204449" y="4120"/>
                  </a:cubicBezTo>
                  <a:cubicBezTo>
                    <a:pt x="203814" y="3485"/>
                    <a:pt x="202544" y="2850"/>
                    <a:pt x="201909" y="2215"/>
                  </a:cubicBezTo>
                  <a:cubicBezTo>
                    <a:pt x="199369" y="310"/>
                    <a:pt x="195559" y="-325"/>
                    <a:pt x="192384" y="-325"/>
                  </a:cubicBezTo>
                  <a:cubicBezTo>
                    <a:pt x="191114" y="-325"/>
                    <a:pt x="12044" y="13010"/>
                    <a:pt x="3154" y="13645"/>
                  </a:cubicBezTo>
                  <a:cubicBezTo>
                    <a:pt x="1249" y="13645"/>
                    <a:pt x="614" y="16820"/>
                    <a:pt x="-21" y="19360"/>
                  </a:cubicBezTo>
                  <a:cubicBezTo>
                    <a:pt x="-656" y="22535"/>
                    <a:pt x="-21" y="23170"/>
                    <a:pt x="2519" y="23805"/>
                  </a:cubicBezTo>
                  <a:cubicBezTo>
                    <a:pt x="6329" y="25075"/>
                    <a:pt x="26014" y="31425"/>
                    <a:pt x="35539" y="31425"/>
                  </a:cubicBezTo>
                  <a:cubicBezTo>
                    <a:pt x="35539" y="31425"/>
                    <a:pt x="38714" y="31425"/>
                    <a:pt x="38714" y="31425"/>
                  </a:cubicBezTo>
                </a:path>
              </a:pathLst>
            </a:custGeom>
            <a:solidFill>
              <a:srgbClr val="FFFFFF"/>
            </a:solidFill>
            <a:ln w="6350" cap="flat">
              <a:noFill/>
              <a:prstDash val="solid"/>
              <a:miter/>
            </a:ln>
          </p:spPr>
          <p:txBody>
            <a:bodyPr rtlCol="0" anchor="ctr"/>
            <a:lstStyle/>
            <a:p>
              <a:endParaRPr lang="en-GB"/>
            </a:p>
          </p:txBody>
        </p:sp>
        <p:sp>
          <p:nvSpPr>
            <p:cNvPr id="169" name="Freeform 168"/>
            <p:cNvSpPr/>
            <p:nvPr/>
          </p:nvSpPr>
          <p:spPr>
            <a:xfrm>
              <a:off x="4035272" y="3223259"/>
              <a:ext cx="226847" cy="20320"/>
            </a:xfrm>
            <a:custGeom>
              <a:avLst/>
              <a:gdLst>
                <a:gd name="connsiteX0" fmla="*/ 224693 w 226847"/>
                <a:gd name="connsiteY0" fmla="*/ 11740 h 20320"/>
                <a:gd name="connsiteX1" fmla="*/ 226598 w 226847"/>
                <a:gd name="connsiteY1" fmla="*/ 7295 h 20320"/>
                <a:gd name="connsiteX2" fmla="*/ 226598 w 226847"/>
                <a:gd name="connsiteY2" fmla="*/ 4120 h 20320"/>
                <a:gd name="connsiteX3" fmla="*/ 224693 w 226847"/>
                <a:gd name="connsiteY3" fmla="*/ 2215 h 20320"/>
                <a:gd name="connsiteX4" fmla="*/ 223423 w 226847"/>
                <a:gd name="connsiteY4" fmla="*/ 1580 h 20320"/>
                <a:gd name="connsiteX5" fmla="*/ 6252 w 226847"/>
                <a:gd name="connsiteY5" fmla="*/ -325 h 20320"/>
                <a:gd name="connsiteX6" fmla="*/ 1807 w 226847"/>
                <a:gd name="connsiteY6" fmla="*/ 4120 h 20320"/>
                <a:gd name="connsiteX7" fmla="*/ 1172 w 226847"/>
                <a:gd name="connsiteY7" fmla="*/ 11105 h 20320"/>
                <a:gd name="connsiteX8" fmla="*/ 29748 w 226847"/>
                <a:gd name="connsiteY8" fmla="*/ 19995 h 20320"/>
                <a:gd name="connsiteX9" fmla="*/ 224693 w 226847"/>
                <a:gd name="connsiteY9" fmla="*/ 11740 h 2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847" h="20320">
                  <a:moveTo>
                    <a:pt x="224693" y="11740"/>
                  </a:moveTo>
                  <a:cubicBezTo>
                    <a:pt x="225962" y="11105"/>
                    <a:pt x="226598" y="8565"/>
                    <a:pt x="226598" y="7295"/>
                  </a:cubicBezTo>
                  <a:cubicBezTo>
                    <a:pt x="226598" y="6025"/>
                    <a:pt x="226598" y="5390"/>
                    <a:pt x="226598" y="4120"/>
                  </a:cubicBezTo>
                  <a:cubicBezTo>
                    <a:pt x="225962" y="3485"/>
                    <a:pt x="225327" y="2850"/>
                    <a:pt x="224693" y="2215"/>
                  </a:cubicBezTo>
                  <a:cubicBezTo>
                    <a:pt x="224057" y="2215"/>
                    <a:pt x="224057" y="1580"/>
                    <a:pt x="223423" y="1580"/>
                  </a:cubicBezTo>
                  <a:cubicBezTo>
                    <a:pt x="209452" y="945"/>
                    <a:pt x="7522" y="-325"/>
                    <a:pt x="6252" y="-325"/>
                  </a:cubicBezTo>
                  <a:cubicBezTo>
                    <a:pt x="4982" y="-325"/>
                    <a:pt x="3077" y="2215"/>
                    <a:pt x="1807" y="4120"/>
                  </a:cubicBezTo>
                  <a:cubicBezTo>
                    <a:pt x="-98" y="7295"/>
                    <a:pt x="-1368" y="9835"/>
                    <a:pt x="1172" y="11105"/>
                  </a:cubicBezTo>
                  <a:cubicBezTo>
                    <a:pt x="4347" y="12375"/>
                    <a:pt x="24032" y="19995"/>
                    <a:pt x="29748" y="19995"/>
                  </a:cubicBezTo>
                  <a:cubicBezTo>
                    <a:pt x="35462" y="19995"/>
                    <a:pt x="222787" y="13010"/>
                    <a:pt x="224693" y="11740"/>
                  </a:cubicBezTo>
                </a:path>
              </a:pathLst>
            </a:custGeom>
            <a:solidFill>
              <a:srgbClr val="FFFFFF"/>
            </a:solidFill>
            <a:ln w="6350" cap="flat">
              <a:noFill/>
              <a:prstDash val="solid"/>
              <a:miter/>
            </a:ln>
          </p:spPr>
          <p:txBody>
            <a:bodyPr rtlCol="0" anchor="ctr"/>
            <a:lstStyle/>
            <a:p>
              <a:endParaRPr lang="en-GB"/>
            </a:p>
          </p:txBody>
        </p:sp>
        <p:sp>
          <p:nvSpPr>
            <p:cNvPr id="170" name="Freeform 169"/>
            <p:cNvSpPr/>
            <p:nvPr/>
          </p:nvSpPr>
          <p:spPr>
            <a:xfrm>
              <a:off x="4096742" y="3257550"/>
              <a:ext cx="177859" cy="40710"/>
            </a:xfrm>
            <a:custGeom>
              <a:avLst/>
              <a:gdLst>
                <a:gd name="connsiteX0" fmla="*/ 176558 w 177859"/>
                <a:gd name="connsiteY0" fmla="*/ 9835 h 40710"/>
                <a:gd name="connsiteX1" fmla="*/ 177193 w 177859"/>
                <a:gd name="connsiteY1" fmla="*/ 4755 h 40710"/>
                <a:gd name="connsiteX2" fmla="*/ 170843 w 177859"/>
                <a:gd name="connsiteY2" fmla="*/ -325 h 40710"/>
                <a:gd name="connsiteX3" fmla="*/ 164493 w 177859"/>
                <a:gd name="connsiteY3" fmla="*/ 310 h 40710"/>
                <a:gd name="connsiteX4" fmla="*/ 5108 w 177859"/>
                <a:gd name="connsiteY4" fmla="*/ 25075 h 40710"/>
                <a:gd name="connsiteX5" fmla="*/ 28 w 177859"/>
                <a:gd name="connsiteY5" fmla="*/ 29520 h 40710"/>
                <a:gd name="connsiteX6" fmla="*/ 3203 w 177859"/>
                <a:gd name="connsiteY6" fmla="*/ 35870 h 40710"/>
                <a:gd name="connsiteX7" fmla="*/ 30508 w 177859"/>
                <a:gd name="connsiteY7" fmla="*/ 40315 h 40710"/>
                <a:gd name="connsiteX8" fmla="*/ 31143 w 177859"/>
                <a:gd name="connsiteY8" fmla="*/ 40315 h 40710"/>
                <a:gd name="connsiteX9" fmla="*/ 168303 w 177859"/>
                <a:gd name="connsiteY9" fmla="*/ 11740 h 40710"/>
                <a:gd name="connsiteX10" fmla="*/ 176558 w 177859"/>
                <a:gd name="connsiteY10" fmla="*/ 9835 h 4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859" h="40710">
                  <a:moveTo>
                    <a:pt x="176558" y="9835"/>
                  </a:moveTo>
                  <a:cubicBezTo>
                    <a:pt x="177828" y="8565"/>
                    <a:pt x="177828" y="6660"/>
                    <a:pt x="177193" y="4755"/>
                  </a:cubicBezTo>
                  <a:cubicBezTo>
                    <a:pt x="176558" y="2215"/>
                    <a:pt x="174018" y="-325"/>
                    <a:pt x="170843" y="-325"/>
                  </a:cubicBezTo>
                  <a:cubicBezTo>
                    <a:pt x="170208" y="-325"/>
                    <a:pt x="165763" y="310"/>
                    <a:pt x="164493" y="310"/>
                  </a:cubicBezTo>
                  <a:lnTo>
                    <a:pt x="5108" y="25075"/>
                  </a:lnTo>
                  <a:cubicBezTo>
                    <a:pt x="-607" y="25710"/>
                    <a:pt x="-607" y="26345"/>
                    <a:pt x="28" y="29520"/>
                  </a:cubicBezTo>
                  <a:cubicBezTo>
                    <a:pt x="663" y="34600"/>
                    <a:pt x="663" y="35235"/>
                    <a:pt x="3203" y="35870"/>
                  </a:cubicBezTo>
                  <a:cubicBezTo>
                    <a:pt x="6378" y="37140"/>
                    <a:pt x="26698" y="40950"/>
                    <a:pt x="30508" y="40315"/>
                  </a:cubicBezTo>
                  <a:cubicBezTo>
                    <a:pt x="30508" y="40315"/>
                    <a:pt x="31143" y="40315"/>
                    <a:pt x="31143" y="40315"/>
                  </a:cubicBezTo>
                  <a:cubicBezTo>
                    <a:pt x="37493" y="39045"/>
                    <a:pt x="156238" y="14280"/>
                    <a:pt x="168303" y="11740"/>
                  </a:cubicBezTo>
                  <a:cubicBezTo>
                    <a:pt x="168938" y="11740"/>
                    <a:pt x="175923" y="10470"/>
                    <a:pt x="176558" y="9835"/>
                  </a:cubicBezTo>
                </a:path>
              </a:pathLst>
            </a:custGeom>
            <a:solidFill>
              <a:srgbClr val="FFFFFF"/>
            </a:solidFill>
            <a:ln w="6350" cap="flat">
              <a:noFill/>
              <a:prstDash val="solid"/>
              <a:miter/>
            </a:ln>
          </p:spPr>
          <p:txBody>
            <a:bodyPr rtlCol="0" anchor="ctr"/>
            <a:lstStyle/>
            <a:p>
              <a:endParaRPr lang="en-GB"/>
            </a:p>
          </p:txBody>
        </p:sp>
        <p:sp>
          <p:nvSpPr>
            <p:cNvPr id="171" name="Freeform 170"/>
            <p:cNvSpPr/>
            <p:nvPr/>
          </p:nvSpPr>
          <p:spPr>
            <a:xfrm>
              <a:off x="4737100" y="3250516"/>
              <a:ext cx="194151" cy="41958"/>
            </a:xfrm>
            <a:custGeom>
              <a:avLst/>
              <a:gdLst>
                <a:gd name="connsiteX0" fmla="*/ 193425 w 194151"/>
                <a:gd name="connsiteY0" fmla="*/ 25124 h 41958"/>
                <a:gd name="connsiteX1" fmla="*/ 8005 w 194151"/>
                <a:gd name="connsiteY1" fmla="*/ -276 h 41958"/>
                <a:gd name="connsiteX2" fmla="*/ -250 w 194151"/>
                <a:gd name="connsiteY2" fmla="*/ 7979 h 41958"/>
                <a:gd name="connsiteX3" fmla="*/ 1655 w 194151"/>
                <a:gd name="connsiteY3" fmla="*/ 11154 h 41958"/>
                <a:gd name="connsiteX4" fmla="*/ 33405 w 194151"/>
                <a:gd name="connsiteY4" fmla="*/ 18139 h 41958"/>
                <a:gd name="connsiteX5" fmla="*/ 70235 w 194151"/>
                <a:gd name="connsiteY5" fmla="*/ 27029 h 41958"/>
                <a:gd name="connsiteX6" fmla="*/ 115955 w 194151"/>
                <a:gd name="connsiteY6" fmla="*/ 36554 h 41958"/>
                <a:gd name="connsiteX7" fmla="*/ 141990 w 194151"/>
                <a:gd name="connsiteY7" fmla="*/ 40364 h 41958"/>
                <a:gd name="connsiteX8" fmla="*/ 159770 w 194151"/>
                <a:gd name="connsiteY8" fmla="*/ 41634 h 41958"/>
                <a:gd name="connsiteX9" fmla="*/ 188345 w 194151"/>
                <a:gd name="connsiteY9" fmla="*/ 39094 h 41958"/>
                <a:gd name="connsiteX10" fmla="*/ 193425 w 194151"/>
                <a:gd name="connsiteY10" fmla="*/ 27664 h 41958"/>
                <a:gd name="connsiteX11" fmla="*/ 193425 w 194151"/>
                <a:gd name="connsiteY11" fmla="*/ 25124 h 4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4151" h="41958">
                  <a:moveTo>
                    <a:pt x="193425" y="25124"/>
                  </a:moveTo>
                  <a:cubicBezTo>
                    <a:pt x="112780" y="20044"/>
                    <a:pt x="18165" y="994"/>
                    <a:pt x="8005" y="-276"/>
                  </a:cubicBezTo>
                  <a:cubicBezTo>
                    <a:pt x="2925" y="-911"/>
                    <a:pt x="-250" y="4804"/>
                    <a:pt x="-250" y="7979"/>
                  </a:cubicBezTo>
                  <a:cubicBezTo>
                    <a:pt x="-250" y="7979"/>
                    <a:pt x="385" y="10519"/>
                    <a:pt x="1655" y="11154"/>
                  </a:cubicBezTo>
                  <a:cubicBezTo>
                    <a:pt x="2925" y="11789"/>
                    <a:pt x="25150" y="16234"/>
                    <a:pt x="33405" y="18139"/>
                  </a:cubicBezTo>
                  <a:cubicBezTo>
                    <a:pt x="45470" y="21314"/>
                    <a:pt x="58170" y="23854"/>
                    <a:pt x="70235" y="27029"/>
                  </a:cubicBezTo>
                  <a:cubicBezTo>
                    <a:pt x="85475" y="30839"/>
                    <a:pt x="100715" y="34014"/>
                    <a:pt x="115955" y="36554"/>
                  </a:cubicBezTo>
                  <a:cubicBezTo>
                    <a:pt x="124210" y="37824"/>
                    <a:pt x="133100" y="39729"/>
                    <a:pt x="141990" y="40364"/>
                  </a:cubicBezTo>
                  <a:cubicBezTo>
                    <a:pt x="146435" y="40999"/>
                    <a:pt x="155960" y="41634"/>
                    <a:pt x="159770" y="41634"/>
                  </a:cubicBezTo>
                  <a:cubicBezTo>
                    <a:pt x="169930" y="40999"/>
                    <a:pt x="184535" y="39729"/>
                    <a:pt x="188345" y="39094"/>
                  </a:cubicBezTo>
                  <a:cubicBezTo>
                    <a:pt x="191520" y="38459"/>
                    <a:pt x="193425" y="28934"/>
                    <a:pt x="193425" y="27664"/>
                  </a:cubicBezTo>
                  <a:cubicBezTo>
                    <a:pt x="194060" y="25759"/>
                    <a:pt x="194060" y="25124"/>
                    <a:pt x="193425" y="25124"/>
                  </a:cubicBezTo>
                </a:path>
              </a:pathLst>
            </a:custGeom>
            <a:solidFill>
              <a:srgbClr val="FFFFFF"/>
            </a:solidFill>
            <a:ln w="6350" cap="flat">
              <a:noFill/>
              <a:prstDash val="solid"/>
              <a:miter/>
            </a:ln>
          </p:spPr>
          <p:txBody>
            <a:bodyPr rtlCol="0" anchor="ctr"/>
            <a:lstStyle/>
            <a:p>
              <a:endParaRPr lang="en-GB"/>
            </a:p>
          </p:txBody>
        </p:sp>
        <p:sp>
          <p:nvSpPr>
            <p:cNvPr id="172" name="Freeform 171"/>
            <p:cNvSpPr/>
            <p:nvPr/>
          </p:nvSpPr>
          <p:spPr>
            <a:xfrm>
              <a:off x="4723097" y="3267427"/>
              <a:ext cx="171015" cy="49278"/>
            </a:xfrm>
            <a:custGeom>
              <a:avLst/>
              <a:gdLst>
                <a:gd name="connsiteX0" fmla="*/ 169327 w 171015"/>
                <a:gd name="connsiteY0" fmla="*/ 32977 h 49278"/>
                <a:gd name="connsiteX1" fmla="*/ 89318 w 171015"/>
                <a:gd name="connsiteY1" fmla="*/ 19007 h 49278"/>
                <a:gd name="connsiteX2" fmla="*/ 51852 w 171015"/>
                <a:gd name="connsiteY2" fmla="*/ 10117 h 49278"/>
                <a:gd name="connsiteX3" fmla="*/ 13118 w 171015"/>
                <a:gd name="connsiteY3" fmla="*/ -43 h 49278"/>
                <a:gd name="connsiteX4" fmla="*/ 11212 w 171015"/>
                <a:gd name="connsiteY4" fmla="*/ -43 h 49278"/>
                <a:gd name="connsiteX5" fmla="*/ -218 w 171015"/>
                <a:gd name="connsiteY5" fmla="*/ 7577 h 49278"/>
                <a:gd name="connsiteX6" fmla="*/ 71537 w 171015"/>
                <a:gd name="connsiteY6" fmla="*/ 34247 h 49278"/>
                <a:gd name="connsiteX7" fmla="*/ 151547 w 171015"/>
                <a:gd name="connsiteY7" fmla="*/ 48852 h 49278"/>
                <a:gd name="connsiteX8" fmla="*/ 163612 w 171015"/>
                <a:gd name="connsiteY8" fmla="*/ 47582 h 49278"/>
                <a:gd name="connsiteX9" fmla="*/ 169327 w 171015"/>
                <a:gd name="connsiteY9" fmla="*/ 32977 h 4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015" h="49278">
                  <a:moveTo>
                    <a:pt x="169327" y="32977"/>
                  </a:moveTo>
                  <a:cubicBezTo>
                    <a:pt x="142657" y="29167"/>
                    <a:pt x="115987" y="24722"/>
                    <a:pt x="89318" y="19007"/>
                  </a:cubicBezTo>
                  <a:cubicBezTo>
                    <a:pt x="76618" y="16467"/>
                    <a:pt x="64552" y="13292"/>
                    <a:pt x="51852" y="10117"/>
                  </a:cubicBezTo>
                  <a:cubicBezTo>
                    <a:pt x="39152" y="6942"/>
                    <a:pt x="25818" y="3767"/>
                    <a:pt x="13118" y="-43"/>
                  </a:cubicBezTo>
                  <a:cubicBezTo>
                    <a:pt x="13118" y="-43"/>
                    <a:pt x="12482" y="-678"/>
                    <a:pt x="11212" y="-43"/>
                  </a:cubicBezTo>
                  <a:cubicBezTo>
                    <a:pt x="8037" y="1227"/>
                    <a:pt x="-853" y="4402"/>
                    <a:pt x="-218" y="7577"/>
                  </a:cubicBezTo>
                  <a:cubicBezTo>
                    <a:pt x="1052" y="10752"/>
                    <a:pt x="48677" y="27262"/>
                    <a:pt x="71537" y="34247"/>
                  </a:cubicBezTo>
                  <a:cubicBezTo>
                    <a:pt x="88682" y="39327"/>
                    <a:pt x="128687" y="48217"/>
                    <a:pt x="151547" y="48852"/>
                  </a:cubicBezTo>
                  <a:cubicBezTo>
                    <a:pt x="157897" y="48852"/>
                    <a:pt x="162343" y="49487"/>
                    <a:pt x="163612" y="47582"/>
                  </a:cubicBezTo>
                  <a:cubicBezTo>
                    <a:pt x="166787" y="45042"/>
                    <a:pt x="173772" y="33612"/>
                    <a:pt x="169327" y="32977"/>
                  </a:cubicBezTo>
                </a:path>
              </a:pathLst>
            </a:custGeom>
            <a:solidFill>
              <a:srgbClr val="FFFFFF"/>
            </a:solidFill>
            <a:ln w="6350" cap="flat">
              <a:noFill/>
              <a:prstDash val="solid"/>
              <a:miter/>
            </a:ln>
          </p:spPr>
          <p:txBody>
            <a:bodyPr rtlCol="0" anchor="ctr"/>
            <a:lstStyle/>
            <a:p>
              <a:endParaRPr lang="en-GB"/>
            </a:p>
          </p:txBody>
        </p:sp>
        <p:sp>
          <p:nvSpPr>
            <p:cNvPr id="173" name="Freeform 172"/>
            <p:cNvSpPr/>
            <p:nvPr/>
          </p:nvSpPr>
          <p:spPr>
            <a:xfrm>
              <a:off x="4655820" y="3316138"/>
              <a:ext cx="61417" cy="55131"/>
            </a:xfrm>
            <a:custGeom>
              <a:avLst/>
              <a:gdLst>
                <a:gd name="connsiteX0" fmla="*/ 44835 w 61417"/>
                <a:gd name="connsiteY0" fmla="*/ 29987 h 55131"/>
                <a:gd name="connsiteX1" fmla="*/ 13720 w 61417"/>
                <a:gd name="connsiteY1" fmla="*/ 142 h 55131"/>
                <a:gd name="connsiteX2" fmla="*/ -250 w 61417"/>
                <a:gd name="connsiteY2" fmla="*/ 4587 h 55131"/>
                <a:gd name="connsiteX3" fmla="*/ 2925 w 61417"/>
                <a:gd name="connsiteY3" fmla="*/ 9667 h 55131"/>
                <a:gd name="connsiteX4" fmla="*/ 28960 w 61417"/>
                <a:gd name="connsiteY4" fmla="*/ 42052 h 55131"/>
                <a:gd name="connsiteX5" fmla="*/ 32770 w 61417"/>
                <a:gd name="connsiteY5" fmla="*/ 46497 h 55131"/>
                <a:gd name="connsiteX6" fmla="*/ 34675 w 61417"/>
                <a:gd name="connsiteY6" fmla="*/ 47767 h 55131"/>
                <a:gd name="connsiteX7" fmla="*/ 35310 w 61417"/>
                <a:gd name="connsiteY7" fmla="*/ 48402 h 55131"/>
                <a:gd name="connsiteX8" fmla="*/ 51820 w 61417"/>
                <a:gd name="connsiteY8" fmla="*/ 54752 h 55131"/>
                <a:gd name="connsiteX9" fmla="*/ 60075 w 61417"/>
                <a:gd name="connsiteY9" fmla="*/ 45862 h 55131"/>
                <a:gd name="connsiteX10" fmla="*/ 44835 w 61417"/>
                <a:gd name="connsiteY10" fmla="*/ 29987 h 5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417" h="55131">
                  <a:moveTo>
                    <a:pt x="44835" y="29987"/>
                  </a:moveTo>
                  <a:cubicBezTo>
                    <a:pt x="32135" y="17287"/>
                    <a:pt x="14990" y="777"/>
                    <a:pt x="13720" y="142"/>
                  </a:cubicBezTo>
                  <a:cubicBezTo>
                    <a:pt x="10545" y="-1128"/>
                    <a:pt x="385" y="142"/>
                    <a:pt x="-250" y="4587"/>
                  </a:cubicBezTo>
                  <a:cubicBezTo>
                    <a:pt x="-250" y="5857"/>
                    <a:pt x="1020" y="7762"/>
                    <a:pt x="2925" y="9667"/>
                  </a:cubicBezTo>
                  <a:cubicBezTo>
                    <a:pt x="3560" y="10302"/>
                    <a:pt x="20705" y="32527"/>
                    <a:pt x="28960" y="42052"/>
                  </a:cubicBezTo>
                  <a:cubicBezTo>
                    <a:pt x="30865" y="44592"/>
                    <a:pt x="32135" y="45862"/>
                    <a:pt x="32770" y="46497"/>
                  </a:cubicBezTo>
                  <a:cubicBezTo>
                    <a:pt x="33405" y="46497"/>
                    <a:pt x="33405" y="47132"/>
                    <a:pt x="34675" y="47767"/>
                  </a:cubicBezTo>
                  <a:cubicBezTo>
                    <a:pt x="34675" y="47767"/>
                    <a:pt x="35310" y="47767"/>
                    <a:pt x="35310" y="48402"/>
                  </a:cubicBezTo>
                  <a:cubicBezTo>
                    <a:pt x="39755" y="50942"/>
                    <a:pt x="48645" y="54752"/>
                    <a:pt x="51820" y="54752"/>
                  </a:cubicBezTo>
                  <a:cubicBezTo>
                    <a:pt x="56900" y="55387"/>
                    <a:pt x="63885" y="50307"/>
                    <a:pt x="60075" y="45862"/>
                  </a:cubicBezTo>
                  <a:cubicBezTo>
                    <a:pt x="58170" y="43322"/>
                    <a:pt x="51820" y="37607"/>
                    <a:pt x="44835" y="29987"/>
                  </a:cubicBezTo>
                </a:path>
              </a:pathLst>
            </a:custGeom>
            <a:solidFill>
              <a:srgbClr val="FFFFFF"/>
            </a:solidFill>
            <a:ln w="6350" cap="flat">
              <a:noFill/>
              <a:prstDash val="solid"/>
              <a:miter/>
            </a:ln>
          </p:spPr>
          <p:txBody>
            <a:bodyPr rtlCol="0" anchor="ctr"/>
            <a:lstStyle/>
            <a:p>
              <a:endParaRPr lang="en-GB"/>
            </a:p>
          </p:txBody>
        </p:sp>
        <p:sp>
          <p:nvSpPr>
            <p:cNvPr id="174" name="Freeform 173"/>
            <p:cNvSpPr/>
            <p:nvPr/>
          </p:nvSpPr>
          <p:spPr>
            <a:xfrm>
              <a:off x="4678450" y="3305448"/>
              <a:ext cx="77540" cy="58386"/>
            </a:xfrm>
            <a:custGeom>
              <a:avLst/>
              <a:gdLst>
                <a:gd name="connsiteX0" fmla="*/ 15219 w 77540"/>
                <a:gd name="connsiteY0" fmla="*/ 5117 h 58386"/>
                <a:gd name="connsiteX1" fmla="*/ 10139 w 77540"/>
                <a:gd name="connsiteY1" fmla="*/ 1307 h 58386"/>
                <a:gd name="connsiteX2" fmla="*/ 2519 w 77540"/>
                <a:gd name="connsiteY2" fmla="*/ 3212 h 58386"/>
                <a:gd name="connsiteX3" fmla="*/ -21 w 77540"/>
                <a:gd name="connsiteY3" fmla="*/ 10197 h 58386"/>
                <a:gd name="connsiteX4" fmla="*/ 21569 w 77540"/>
                <a:gd name="connsiteY4" fmla="*/ 30517 h 58386"/>
                <a:gd name="connsiteX5" fmla="*/ 43159 w 77540"/>
                <a:gd name="connsiteY5" fmla="*/ 50202 h 58386"/>
                <a:gd name="connsiteX6" fmla="*/ 76814 w 77540"/>
                <a:gd name="connsiteY6" fmla="*/ 55282 h 58386"/>
                <a:gd name="connsiteX7" fmla="*/ 76814 w 77540"/>
                <a:gd name="connsiteY7" fmla="*/ 50837 h 58386"/>
                <a:gd name="connsiteX8" fmla="*/ 15219 w 77540"/>
                <a:gd name="connsiteY8" fmla="*/ 5117 h 5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540" h="58386">
                  <a:moveTo>
                    <a:pt x="15219" y="5117"/>
                  </a:moveTo>
                  <a:cubicBezTo>
                    <a:pt x="12679" y="3212"/>
                    <a:pt x="10774" y="1942"/>
                    <a:pt x="10139" y="1307"/>
                  </a:cubicBezTo>
                  <a:cubicBezTo>
                    <a:pt x="6329" y="-1868"/>
                    <a:pt x="4424" y="37"/>
                    <a:pt x="2519" y="3212"/>
                  </a:cubicBezTo>
                  <a:cubicBezTo>
                    <a:pt x="-21" y="7657"/>
                    <a:pt x="-656" y="8927"/>
                    <a:pt x="-21" y="10197"/>
                  </a:cubicBezTo>
                  <a:cubicBezTo>
                    <a:pt x="614" y="10832"/>
                    <a:pt x="10774" y="20992"/>
                    <a:pt x="21569" y="30517"/>
                  </a:cubicBezTo>
                  <a:cubicBezTo>
                    <a:pt x="31729" y="40042"/>
                    <a:pt x="41889" y="49567"/>
                    <a:pt x="43159" y="50202"/>
                  </a:cubicBezTo>
                  <a:cubicBezTo>
                    <a:pt x="43794" y="50837"/>
                    <a:pt x="71099" y="63537"/>
                    <a:pt x="76814" y="55282"/>
                  </a:cubicBezTo>
                  <a:cubicBezTo>
                    <a:pt x="77449" y="54012"/>
                    <a:pt x="77449" y="51472"/>
                    <a:pt x="76814" y="50837"/>
                  </a:cubicBezTo>
                  <a:cubicBezTo>
                    <a:pt x="73639" y="48932"/>
                    <a:pt x="31094" y="17182"/>
                    <a:pt x="15219" y="5117"/>
                  </a:cubicBezTo>
                </a:path>
              </a:pathLst>
            </a:custGeom>
            <a:solidFill>
              <a:srgbClr val="FFFFFF"/>
            </a:solidFill>
            <a:ln w="6350" cap="flat">
              <a:noFill/>
              <a:prstDash val="solid"/>
              <a:miter/>
            </a:ln>
          </p:spPr>
          <p:txBody>
            <a:bodyPr rtlCol="0" anchor="ctr"/>
            <a:lstStyle/>
            <a:p>
              <a:endParaRPr lang="en-GB"/>
            </a:p>
          </p:txBody>
        </p:sp>
        <p:sp>
          <p:nvSpPr>
            <p:cNvPr id="175" name="Freeform 174"/>
            <p:cNvSpPr/>
            <p:nvPr/>
          </p:nvSpPr>
          <p:spPr>
            <a:xfrm>
              <a:off x="4642484" y="3325148"/>
              <a:ext cx="36762" cy="44796"/>
            </a:xfrm>
            <a:custGeom>
              <a:avLst/>
              <a:gdLst>
                <a:gd name="connsiteX0" fmla="*/ 15625 w 36762"/>
                <a:gd name="connsiteY0" fmla="*/ 39391 h 44796"/>
                <a:gd name="connsiteX1" fmla="*/ 28960 w 36762"/>
                <a:gd name="connsiteY1" fmla="*/ 44471 h 44796"/>
                <a:gd name="connsiteX2" fmla="*/ 35310 w 36762"/>
                <a:gd name="connsiteY2" fmla="*/ 43836 h 44796"/>
                <a:gd name="connsiteX3" fmla="*/ 35310 w 36762"/>
                <a:gd name="connsiteY3" fmla="*/ 37486 h 44796"/>
                <a:gd name="connsiteX4" fmla="*/ 31500 w 36762"/>
                <a:gd name="connsiteY4" fmla="*/ 32406 h 44796"/>
                <a:gd name="connsiteX5" fmla="*/ 8640 w 36762"/>
                <a:gd name="connsiteY5" fmla="*/ 2561 h 44796"/>
                <a:gd name="connsiteX6" fmla="*/ -250 w 36762"/>
                <a:gd name="connsiteY6" fmla="*/ 21 h 44796"/>
                <a:gd name="connsiteX7" fmla="*/ 385 w 36762"/>
                <a:gd name="connsiteY7" fmla="*/ 7641 h 44796"/>
                <a:gd name="connsiteX8" fmla="*/ -250 w 36762"/>
                <a:gd name="connsiteY8" fmla="*/ 15896 h 44796"/>
                <a:gd name="connsiteX9" fmla="*/ 9275 w 36762"/>
                <a:gd name="connsiteY9" fmla="*/ 31136 h 44796"/>
                <a:gd name="connsiteX10" fmla="*/ 15625 w 36762"/>
                <a:gd name="connsiteY10" fmla="*/ 39391 h 4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762" h="44796">
                  <a:moveTo>
                    <a:pt x="15625" y="39391"/>
                  </a:moveTo>
                  <a:cubicBezTo>
                    <a:pt x="18165" y="42566"/>
                    <a:pt x="25150" y="43836"/>
                    <a:pt x="28960" y="44471"/>
                  </a:cubicBezTo>
                  <a:cubicBezTo>
                    <a:pt x="30865" y="44471"/>
                    <a:pt x="34040" y="44471"/>
                    <a:pt x="35310" y="43836"/>
                  </a:cubicBezTo>
                  <a:cubicBezTo>
                    <a:pt x="37215" y="41931"/>
                    <a:pt x="36580" y="39391"/>
                    <a:pt x="35310" y="37486"/>
                  </a:cubicBezTo>
                  <a:cubicBezTo>
                    <a:pt x="34675" y="36851"/>
                    <a:pt x="33405" y="34946"/>
                    <a:pt x="31500" y="32406"/>
                  </a:cubicBezTo>
                  <a:cubicBezTo>
                    <a:pt x="24515" y="22881"/>
                    <a:pt x="9910" y="3196"/>
                    <a:pt x="8640" y="2561"/>
                  </a:cubicBezTo>
                  <a:cubicBezTo>
                    <a:pt x="6735" y="1291"/>
                    <a:pt x="2925" y="-1249"/>
                    <a:pt x="-250" y="21"/>
                  </a:cubicBezTo>
                  <a:cubicBezTo>
                    <a:pt x="-250" y="2561"/>
                    <a:pt x="385" y="5101"/>
                    <a:pt x="385" y="7641"/>
                  </a:cubicBezTo>
                  <a:cubicBezTo>
                    <a:pt x="385" y="10181"/>
                    <a:pt x="-250" y="13356"/>
                    <a:pt x="-250" y="15896"/>
                  </a:cubicBezTo>
                  <a:cubicBezTo>
                    <a:pt x="1655" y="19706"/>
                    <a:pt x="6100" y="26056"/>
                    <a:pt x="9275" y="31136"/>
                  </a:cubicBezTo>
                  <a:cubicBezTo>
                    <a:pt x="13085" y="34946"/>
                    <a:pt x="14990" y="38756"/>
                    <a:pt x="15625" y="39391"/>
                  </a:cubicBezTo>
                </a:path>
              </a:pathLst>
            </a:custGeom>
            <a:solidFill>
              <a:srgbClr val="FFFFFF"/>
            </a:solidFill>
            <a:ln w="6350" cap="flat">
              <a:noFill/>
              <a:prstDash val="solid"/>
              <a:miter/>
            </a:ln>
          </p:spPr>
          <p:txBody>
            <a:bodyPr rtlCol="0" anchor="ctr"/>
            <a:lstStyle/>
            <a:p>
              <a:endParaRPr lang="en-GB"/>
            </a:p>
          </p:txBody>
        </p:sp>
        <p:sp>
          <p:nvSpPr>
            <p:cNvPr id="176" name="Freeform 175"/>
            <p:cNvSpPr/>
            <p:nvPr/>
          </p:nvSpPr>
          <p:spPr>
            <a:xfrm>
              <a:off x="4648075" y="3284605"/>
              <a:ext cx="26963" cy="25649"/>
            </a:xfrm>
            <a:custGeom>
              <a:avLst/>
              <a:gdLst>
                <a:gd name="connsiteX0" fmla="*/ 22734 w 26963"/>
                <a:gd name="connsiteY0" fmla="*/ 12624 h 25649"/>
                <a:gd name="connsiteX1" fmla="*/ 15115 w 26963"/>
                <a:gd name="connsiteY1" fmla="*/ 5639 h 25649"/>
                <a:gd name="connsiteX2" fmla="*/ 10034 w 26963"/>
                <a:gd name="connsiteY2" fmla="*/ 1194 h 25649"/>
                <a:gd name="connsiteX3" fmla="*/ 3684 w 26963"/>
                <a:gd name="connsiteY3" fmla="*/ -76 h 25649"/>
                <a:gd name="connsiteX4" fmla="*/ -125 w 26963"/>
                <a:gd name="connsiteY4" fmla="*/ 3734 h 25649"/>
                <a:gd name="connsiteX5" fmla="*/ 3050 w 26963"/>
                <a:gd name="connsiteY5" fmla="*/ 10719 h 25649"/>
                <a:gd name="connsiteX6" fmla="*/ 4320 w 26963"/>
                <a:gd name="connsiteY6" fmla="*/ 12624 h 25649"/>
                <a:gd name="connsiteX7" fmla="*/ 10670 w 26963"/>
                <a:gd name="connsiteY7" fmla="*/ 19609 h 25649"/>
                <a:gd name="connsiteX8" fmla="*/ 18925 w 26963"/>
                <a:gd name="connsiteY8" fmla="*/ 25324 h 25649"/>
                <a:gd name="connsiteX9" fmla="*/ 23370 w 26963"/>
                <a:gd name="connsiteY9" fmla="*/ 24054 h 25649"/>
                <a:gd name="connsiteX10" fmla="*/ 26545 w 26963"/>
                <a:gd name="connsiteY10" fmla="*/ 20244 h 25649"/>
                <a:gd name="connsiteX11" fmla="*/ 24640 w 26963"/>
                <a:gd name="connsiteY11" fmla="*/ 15164 h 25649"/>
                <a:gd name="connsiteX12" fmla="*/ 22734 w 26963"/>
                <a:gd name="connsiteY12" fmla="*/ 12624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63" h="25649">
                  <a:moveTo>
                    <a:pt x="22734" y="12624"/>
                  </a:moveTo>
                  <a:cubicBezTo>
                    <a:pt x="20195" y="10084"/>
                    <a:pt x="17654" y="7544"/>
                    <a:pt x="15115" y="5639"/>
                  </a:cubicBezTo>
                  <a:cubicBezTo>
                    <a:pt x="13209" y="3734"/>
                    <a:pt x="11940" y="2464"/>
                    <a:pt x="10034" y="1194"/>
                  </a:cubicBezTo>
                  <a:cubicBezTo>
                    <a:pt x="8129" y="-76"/>
                    <a:pt x="6225" y="-711"/>
                    <a:pt x="3684" y="-76"/>
                  </a:cubicBezTo>
                  <a:cubicBezTo>
                    <a:pt x="1779" y="-76"/>
                    <a:pt x="-125" y="1829"/>
                    <a:pt x="-125" y="3734"/>
                  </a:cubicBezTo>
                  <a:cubicBezTo>
                    <a:pt x="-760" y="6274"/>
                    <a:pt x="1145" y="8814"/>
                    <a:pt x="3050" y="10719"/>
                  </a:cubicBezTo>
                  <a:cubicBezTo>
                    <a:pt x="3684" y="11354"/>
                    <a:pt x="4320" y="11989"/>
                    <a:pt x="4320" y="12624"/>
                  </a:cubicBezTo>
                  <a:cubicBezTo>
                    <a:pt x="6225" y="15164"/>
                    <a:pt x="8765" y="17069"/>
                    <a:pt x="10670" y="19609"/>
                  </a:cubicBezTo>
                  <a:cubicBezTo>
                    <a:pt x="13209" y="22149"/>
                    <a:pt x="15115" y="24689"/>
                    <a:pt x="18925" y="25324"/>
                  </a:cubicBezTo>
                  <a:cubicBezTo>
                    <a:pt x="20195" y="25324"/>
                    <a:pt x="22100" y="25324"/>
                    <a:pt x="23370" y="24054"/>
                  </a:cubicBezTo>
                  <a:cubicBezTo>
                    <a:pt x="24640" y="23419"/>
                    <a:pt x="25909" y="22149"/>
                    <a:pt x="26545" y="20244"/>
                  </a:cubicBezTo>
                  <a:cubicBezTo>
                    <a:pt x="27179" y="18339"/>
                    <a:pt x="25909" y="17069"/>
                    <a:pt x="24640" y="15164"/>
                  </a:cubicBezTo>
                  <a:cubicBezTo>
                    <a:pt x="24004" y="13894"/>
                    <a:pt x="23370" y="13259"/>
                    <a:pt x="22734" y="12624"/>
                  </a:cubicBezTo>
                </a:path>
              </a:pathLst>
            </a:custGeom>
            <a:solidFill>
              <a:srgbClr val="FFFFFF"/>
            </a:solidFill>
            <a:ln w="6350" cap="flat">
              <a:noFill/>
              <a:prstDash val="solid"/>
              <a:miter/>
            </a:ln>
          </p:spPr>
          <p:txBody>
            <a:bodyPr rtlCol="0" anchor="ctr"/>
            <a:lstStyle/>
            <a:p>
              <a:endParaRPr lang="en-GB"/>
            </a:p>
          </p:txBody>
        </p:sp>
        <p:sp>
          <p:nvSpPr>
            <p:cNvPr id="177" name="Freeform 176"/>
            <p:cNvSpPr/>
            <p:nvPr/>
          </p:nvSpPr>
          <p:spPr>
            <a:xfrm>
              <a:off x="4622038" y="3216275"/>
              <a:ext cx="83476" cy="68782"/>
            </a:xfrm>
            <a:custGeom>
              <a:avLst/>
              <a:gdLst>
                <a:gd name="connsiteX0" fmla="*/ 80521 w 83476"/>
                <a:gd name="connsiteY0" fmla="*/ -325 h 68782"/>
                <a:gd name="connsiteX1" fmla="*/ 73536 w 83476"/>
                <a:gd name="connsiteY1" fmla="*/ -325 h 68782"/>
                <a:gd name="connsiteX2" fmla="*/ 55121 w 83476"/>
                <a:gd name="connsiteY2" fmla="*/ -325 h 68782"/>
                <a:gd name="connsiteX3" fmla="*/ 48771 w 83476"/>
                <a:gd name="connsiteY3" fmla="*/ -325 h 68782"/>
                <a:gd name="connsiteX4" fmla="*/ 36706 w 83476"/>
                <a:gd name="connsiteY4" fmla="*/ -325 h 68782"/>
                <a:gd name="connsiteX5" fmla="*/ -124 w 83476"/>
                <a:gd name="connsiteY5" fmla="*/ 13010 h 68782"/>
                <a:gd name="connsiteX6" fmla="*/ 2416 w 83476"/>
                <a:gd name="connsiteY6" fmla="*/ 22535 h 68782"/>
                <a:gd name="connsiteX7" fmla="*/ 8766 w 83476"/>
                <a:gd name="connsiteY7" fmla="*/ 33965 h 68782"/>
                <a:gd name="connsiteX8" fmla="*/ 8766 w 83476"/>
                <a:gd name="connsiteY8" fmla="*/ 34600 h 68782"/>
                <a:gd name="connsiteX9" fmla="*/ 9401 w 83476"/>
                <a:gd name="connsiteY9" fmla="*/ 35870 h 68782"/>
                <a:gd name="connsiteX10" fmla="*/ 16386 w 83476"/>
                <a:gd name="connsiteY10" fmla="*/ 53650 h 68782"/>
                <a:gd name="connsiteX11" fmla="*/ 16386 w 83476"/>
                <a:gd name="connsiteY11" fmla="*/ 54285 h 68782"/>
                <a:gd name="connsiteX12" fmla="*/ 16386 w 83476"/>
                <a:gd name="connsiteY12" fmla="*/ 54920 h 68782"/>
                <a:gd name="connsiteX13" fmla="*/ 15751 w 83476"/>
                <a:gd name="connsiteY13" fmla="*/ 61270 h 68782"/>
                <a:gd name="connsiteX14" fmla="*/ 15751 w 83476"/>
                <a:gd name="connsiteY14" fmla="*/ 61270 h 68782"/>
                <a:gd name="connsiteX15" fmla="*/ 16386 w 83476"/>
                <a:gd name="connsiteY15" fmla="*/ 67620 h 68782"/>
                <a:gd name="connsiteX16" fmla="*/ 26546 w 83476"/>
                <a:gd name="connsiteY16" fmla="*/ 63810 h 68782"/>
                <a:gd name="connsiteX17" fmla="*/ 22736 w 83476"/>
                <a:gd name="connsiteY17" fmla="*/ 51110 h 68782"/>
                <a:gd name="connsiteX18" fmla="*/ 34166 w 83476"/>
                <a:gd name="connsiteY18" fmla="*/ 58730 h 68782"/>
                <a:gd name="connsiteX19" fmla="*/ 39881 w 83476"/>
                <a:gd name="connsiteY19" fmla="*/ 51110 h 68782"/>
                <a:gd name="connsiteX20" fmla="*/ 32896 w 83476"/>
                <a:gd name="connsiteY20" fmla="*/ 39045 h 68782"/>
                <a:gd name="connsiteX21" fmla="*/ 43691 w 83476"/>
                <a:gd name="connsiteY21" fmla="*/ 42855 h 68782"/>
                <a:gd name="connsiteX22" fmla="*/ 55121 w 83476"/>
                <a:gd name="connsiteY22" fmla="*/ 41585 h 68782"/>
                <a:gd name="connsiteX23" fmla="*/ 42421 w 83476"/>
                <a:gd name="connsiteY23" fmla="*/ 25710 h 68782"/>
                <a:gd name="connsiteX24" fmla="*/ 46231 w 83476"/>
                <a:gd name="connsiteY24" fmla="*/ 24440 h 68782"/>
                <a:gd name="connsiteX25" fmla="*/ 61471 w 83476"/>
                <a:gd name="connsiteY25" fmla="*/ 33965 h 68782"/>
                <a:gd name="connsiteX26" fmla="*/ 67821 w 83476"/>
                <a:gd name="connsiteY26" fmla="*/ 28885 h 68782"/>
                <a:gd name="connsiteX27" fmla="*/ 53216 w 83476"/>
                <a:gd name="connsiteY27" fmla="*/ 14915 h 68782"/>
                <a:gd name="connsiteX28" fmla="*/ 65916 w 83476"/>
                <a:gd name="connsiteY28" fmla="*/ 17455 h 68782"/>
                <a:gd name="connsiteX29" fmla="*/ 71631 w 83476"/>
                <a:gd name="connsiteY29" fmla="*/ 19995 h 68782"/>
                <a:gd name="connsiteX30" fmla="*/ 76076 w 83476"/>
                <a:gd name="connsiteY30" fmla="*/ 16185 h 68782"/>
                <a:gd name="connsiteX31" fmla="*/ 65916 w 83476"/>
                <a:gd name="connsiteY31" fmla="*/ 6660 h 68782"/>
                <a:gd name="connsiteX32" fmla="*/ 77346 w 83476"/>
                <a:gd name="connsiteY32" fmla="*/ 7930 h 68782"/>
                <a:gd name="connsiteX33" fmla="*/ 83061 w 83476"/>
                <a:gd name="connsiteY33" fmla="*/ 3485 h 68782"/>
                <a:gd name="connsiteX34" fmla="*/ 80521 w 83476"/>
                <a:gd name="connsiteY34" fmla="*/ -325 h 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3476" h="68782">
                  <a:moveTo>
                    <a:pt x="80521" y="-325"/>
                  </a:moveTo>
                  <a:cubicBezTo>
                    <a:pt x="77981" y="-325"/>
                    <a:pt x="75441" y="-325"/>
                    <a:pt x="73536" y="-325"/>
                  </a:cubicBezTo>
                  <a:lnTo>
                    <a:pt x="55121" y="-325"/>
                  </a:lnTo>
                  <a:cubicBezTo>
                    <a:pt x="53216" y="-325"/>
                    <a:pt x="51311" y="-325"/>
                    <a:pt x="48771" y="-325"/>
                  </a:cubicBezTo>
                  <a:cubicBezTo>
                    <a:pt x="44326" y="-325"/>
                    <a:pt x="40516" y="-325"/>
                    <a:pt x="36706" y="-325"/>
                  </a:cubicBezTo>
                  <a:cubicBezTo>
                    <a:pt x="14481" y="310"/>
                    <a:pt x="1781" y="4755"/>
                    <a:pt x="-124" y="13010"/>
                  </a:cubicBezTo>
                  <a:cubicBezTo>
                    <a:pt x="-759" y="15550"/>
                    <a:pt x="1146" y="19360"/>
                    <a:pt x="2416" y="22535"/>
                  </a:cubicBezTo>
                  <a:cubicBezTo>
                    <a:pt x="4321" y="26345"/>
                    <a:pt x="6226" y="30155"/>
                    <a:pt x="8766" y="33965"/>
                  </a:cubicBezTo>
                  <a:lnTo>
                    <a:pt x="8766" y="34600"/>
                  </a:lnTo>
                  <a:lnTo>
                    <a:pt x="9401" y="35870"/>
                  </a:lnTo>
                  <a:cubicBezTo>
                    <a:pt x="12576" y="40950"/>
                    <a:pt x="15751" y="46665"/>
                    <a:pt x="16386" y="53650"/>
                  </a:cubicBezTo>
                  <a:lnTo>
                    <a:pt x="16386" y="54285"/>
                  </a:lnTo>
                  <a:lnTo>
                    <a:pt x="16386" y="54920"/>
                  </a:lnTo>
                  <a:cubicBezTo>
                    <a:pt x="16386" y="57460"/>
                    <a:pt x="16386" y="59365"/>
                    <a:pt x="15751" y="61270"/>
                  </a:cubicBezTo>
                  <a:lnTo>
                    <a:pt x="15751" y="61270"/>
                  </a:lnTo>
                  <a:cubicBezTo>
                    <a:pt x="15116" y="64445"/>
                    <a:pt x="15116" y="66350"/>
                    <a:pt x="16386" y="67620"/>
                  </a:cubicBezTo>
                  <a:cubicBezTo>
                    <a:pt x="19561" y="70160"/>
                    <a:pt x="25911" y="66350"/>
                    <a:pt x="26546" y="63810"/>
                  </a:cubicBezTo>
                  <a:cubicBezTo>
                    <a:pt x="27181" y="61270"/>
                    <a:pt x="19561" y="53650"/>
                    <a:pt x="22736" y="51110"/>
                  </a:cubicBezTo>
                  <a:cubicBezTo>
                    <a:pt x="27181" y="47300"/>
                    <a:pt x="31626" y="58730"/>
                    <a:pt x="34166" y="58730"/>
                  </a:cubicBezTo>
                  <a:cubicBezTo>
                    <a:pt x="37341" y="59365"/>
                    <a:pt x="42421" y="54920"/>
                    <a:pt x="39881" y="51110"/>
                  </a:cubicBezTo>
                  <a:cubicBezTo>
                    <a:pt x="39246" y="49840"/>
                    <a:pt x="29086" y="43490"/>
                    <a:pt x="32896" y="39045"/>
                  </a:cubicBezTo>
                  <a:cubicBezTo>
                    <a:pt x="35436" y="35235"/>
                    <a:pt x="40516" y="40315"/>
                    <a:pt x="43691" y="42855"/>
                  </a:cubicBezTo>
                  <a:cubicBezTo>
                    <a:pt x="49406" y="47935"/>
                    <a:pt x="53851" y="46030"/>
                    <a:pt x="55121" y="41585"/>
                  </a:cubicBezTo>
                  <a:cubicBezTo>
                    <a:pt x="55756" y="38410"/>
                    <a:pt x="37341" y="30155"/>
                    <a:pt x="42421" y="25710"/>
                  </a:cubicBezTo>
                  <a:cubicBezTo>
                    <a:pt x="43691" y="24440"/>
                    <a:pt x="44961" y="24440"/>
                    <a:pt x="46231" y="24440"/>
                  </a:cubicBezTo>
                  <a:cubicBezTo>
                    <a:pt x="51946" y="25710"/>
                    <a:pt x="58931" y="33330"/>
                    <a:pt x="61471" y="33965"/>
                  </a:cubicBezTo>
                  <a:cubicBezTo>
                    <a:pt x="64011" y="34600"/>
                    <a:pt x="67186" y="32060"/>
                    <a:pt x="67821" y="28885"/>
                  </a:cubicBezTo>
                  <a:cubicBezTo>
                    <a:pt x="68456" y="25075"/>
                    <a:pt x="50676" y="19360"/>
                    <a:pt x="53216" y="14915"/>
                  </a:cubicBezTo>
                  <a:cubicBezTo>
                    <a:pt x="55756" y="10470"/>
                    <a:pt x="62741" y="16185"/>
                    <a:pt x="65916" y="17455"/>
                  </a:cubicBezTo>
                  <a:cubicBezTo>
                    <a:pt x="67186" y="18090"/>
                    <a:pt x="70361" y="19995"/>
                    <a:pt x="71631" y="19995"/>
                  </a:cubicBezTo>
                  <a:cubicBezTo>
                    <a:pt x="74806" y="19995"/>
                    <a:pt x="76076" y="19360"/>
                    <a:pt x="76076" y="16185"/>
                  </a:cubicBezTo>
                  <a:cubicBezTo>
                    <a:pt x="76711" y="12375"/>
                    <a:pt x="64011" y="10470"/>
                    <a:pt x="65916" y="6660"/>
                  </a:cubicBezTo>
                  <a:cubicBezTo>
                    <a:pt x="68456" y="1580"/>
                    <a:pt x="74806" y="7295"/>
                    <a:pt x="77346" y="7930"/>
                  </a:cubicBezTo>
                  <a:cubicBezTo>
                    <a:pt x="81791" y="7295"/>
                    <a:pt x="83696" y="5390"/>
                    <a:pt x="83061" y="3485"/>
                  </a:cubicBezTo>
                  <a:cubicBezTo>
                    <a:pt x="83696" y="310"/>
                    <a:pt x="82426" y="310"/>
                    <a:pt x="80521" y="-325"/>
                  </a:cubicBezTo>
                </a:path>
              </a:pathLst>
            </a:custGeom>
            <a:solidFill>
              <a:srgbClr val="FFFFFF"/>
            </a:solidFill>
            <a:ln w="6350" cap="flat">
              <a:noFill/>
              <a:prstDash val="solid"/>
              <a:miter/>
            </a:ln>
          </p:spPr>
          <p:txBody>
            <a:bodyPr rtlCol="0" anchor="ctr"/>
            <a:lstStyle/>
            <a:p>
              <a:endParaRPr lang="en-GB"/>
            </a:p>
          </p:txBody>
        </p:sp>
        <p:sp>
          <p:nvSpPr>
            <p:cNvPr id="178" name="Freeform 177"/>
            <p:cNvSpPr/>
            <p:nvPr/>
          </p:nvSpPr>
          <p:spPr>
            <a:xfrm>
              <a:off x="4305720" y="3216275"/>
              <a:ext cx="88605" cy="67689"/>
            </a:xfrm>
            <a:custGeom>
              <a:avLst/>
              <a:gdLst>
                <a:gd name="connsiteX0" fmla="*/ 71720 w 88605"/>
                <a:gd name="connsiteY0" fmla="*/ 53650 h 67689"/>
                <a:gd name="connsiteX1" fmla="*/ 71720 w 88605"/>
                <a:gd name="connsiteY1" fmla="*/ 53650 h 67689"/>
                <a:gd name="connsiteX2" fmla="*/ 78705 w 88605"/>
                <a:gd name="connsiteY2" fmla="*/ 35870 h 67689"/>
                <a:gd name="connsiteX3" fmla="*/ 79339 w 88605"/>
                <a:gd name="connsiteY3" fmla="*/ 34600 h 67689"/>
                <a:gd name="connsiteX4" fmla="*/ 79339 w 88605"/>
                <a:gd name="connsiteY4" fmla="*/ 33965 h 67689"/>
                <a:gd name="connsiteX5" fmla="*/ 85689 w 88605"/>
                <a:gd name="connsiteY5" fmla="*/ 22535 h 67689"/>
                <a:gd name="connsiteX6" fmla="*/ 88230 w 88605"/>
                <a:gd name="connsiteY6" fmla="*/ 13010 h 67689"/>
                <a:gd name="connsiteX7" fmla="*/ 51400 w 88605"/>
                <a:gd name="connsiteY7" fmla="*/ -325 h 67689"/>
                <a:gd name="connsiteX8" fmla="*/ 39335 w 88605"/>
                <a:gd name="connsiteY8" fmla="*/ -325 h 67689"/>
                <a:gd name="connsiteX9" fmla="*/ 29175 w 88605"/>
                <a:gd name="connsiteY9" fmla="*/ -325 h 67689"/>
                <a:gd name="connsiteX10" fmla="*/ 17110 w 88605"/>
                <a:gd name="connsiteY10" fmla="*/ -325 h 67689"/>
                <a:gd name="connsiteX11" fmla="*/ 5045 w 88605"/>
                <a:gd name="connsiteY11" fmla="*/ -325 h 67689"/>
                <a:gd name="connsiteX12" fmla="*/ 3139 w 88605"/>
                <a:gd name="connsiteY12" fmla="*/ -325 h 67689"/>
                <a:gd name="connsiteX13" fmla="*/ 3139 w 88605"/>
                <a:gd name="connsiteY13" fmla="*/ -325 h 67689"/>
                <a:gd name="connsiteX14" fmla="*/ -36 w 88605"/>
                <a:gd name="connsiteY14" fmla="*/ 2215 h 67689"/>
                <a:gd name="connsiteX15" fmla="*/ 3775 w 88605"/>
                <a:gd name="connsiteY15" fmla="*/ 7930 h 67689"/>
                <a:gd name="connsiteX16" fmla="*/ 16475 w 88605"/>
                <a:gd name="connsiteY16" fmla="*/ 6025 h 67689"/>
                <a:gd name="connsiteX17" fmla="*/ 6950 w 88605"/>
                <a:gd name="connsiteY17" fmla="*/ 18090 h 67689"/>
                <a:gd name="connsiteX18" fmla="*/ 17110 w 88605"/>
                <a:gd name="connsiteY18" fmla="*/ 18090 h 67689"/>
                <a:gd name="connsiteX19" fmla="*/ 33620 w 88605"/>
                <a:gd name="connsiteY19" fmla="*/ 13645 h 67689"/>
                <a:gd name="connsiteX20" fmla="*/ 19650 w 88605"/>
                <a:gd name="connsiteY20" fmla="*/ 28250 h 67689"/>
                <a:gd name="connsiteX21" fmla="*/ 18380 w 88605"/>
                <a:gd name="connsiteY21" fmla="*/ 33330 h 67689"/>
                <a:gd name="connsiteX22" fmla="*/ 36160 w 88605"/>
                <a:gd name="connsiteY22" fmla="*/ 26980 h 67689"/>
                <a:gd name="connsiteX23" fmla="*/ 41875 w 88605"/>
                <a:gd name="connsiteY23" fmla="*/ 22535 h 67689"/>
                <a:gd name="connsiteX24" fmla="*/ 45050 w 88605"/>
                <a:gd name="connsiteY24" fmla="*/ 22535 h 67689"/>
                <a:gd name="connsiteX25" fmla="*/ 48225 w 88605"/>
                <a:gd name="connsiteY25" fmla="*/ 25075 h 67689"/>
                <a:gd name="connsiteX26" fmla="*/ 46955 w 88605"/>
                <a:gd name="connsiteY26" fmla="*/ 29520 h 67689"/>
                <a:gd name="connsiteX27" fmla="*/ 41239 w 88605"/>
                <a:gd name="connsiteY27" fmla="*/ 33965 h 67689"/>
                <a:gd name="connsiteX28" fmla="*/ 37430 w 88605"/>
                <a:gd name="connsiteY28" fmla="*/ 37140 h 67689"/>
                <a:gd name="connsiteX29" fmla="*/ 32350 w 88605"/>
                <a:gd name="connsiteY29" fmla="*/ 44760 h 67689"/>
                <a:gd name="connsiteX30" fmla="*/ 37430 w 88605"/>
                <a:gd name="connsiteY30" fmla="*/ 49840 h 67689"/>
                <a:gd name="connsiteX31" fmla="*/ 39335 w 88605"/>
                <a:gd name="connsiteY31" fmla="*/ 49205 h 67689"/>
                <a:gd name="connsiteX32" fmla="*/ 54575 w 88605"/>
                <a:gd name="connsiteY32" fmla="*/ 36505 h 67689"/>
                <a:gd name="connsiteX33" fmla="*/ 57750 w 88605"/>
                <a:gd name="connsiteY33" fmla="*/ 38410 h 67689"/>
                <a:gd name="connsiteX34" fmla="*/ 57114 w 88605"/>
                <a:gd name="connsiteY34" fmla="*/ 43490 h 67689"/>
                <a:gd name="connsiteX35" fmla="*/ 51400 w 88605"/>
                <a:gd name="connsiteY35" fmla="*/ 49205 h 67689"/>
                <a:gd name="connsiteX36" fmla="*/ 47589 w 88605"/>
                <a:gd name="connsiteY36" fmla="*/ 53650 h 67689"/>
                <a:gd name="connsiteX37" fmla="*/ 52035 w 88605"/>
                <a:gd name="connsiteY37" fmla="*/ 59365 h 67689"/>
                <a:gd name="connsiteX38" fmla="*/ 54575 w 88605"/>
                <a:gd name="connsiteY38" fmla="*/ 58095 h 67689"/>
                <a:gd name="connsiteX39" fmla="*/ 63464 w 88605"/>
                <a:gd name="connsiteY39" fmla="*/ 49840 h 67689"/>
                <a:gd name="connsiteX40" fmla="*/ 60289 w 88605"/>
                <a:gd name="connsiteY40" fmla="*/ 63810 h 67689"/>
                <a:gd name="connsiteX41" fmla="*/ 62195 w 88605"/>
                <a:gd name="connsiteY41" fmla="*/ 66350 h 67689"/>
                <a:gd name="connsiteX42" fmla="*/ 64100 w 88605"/>
                <a:gd name="connsiteY42" fmla="*/ 66985 h 67689"/>
                <a:gd name="connsiteX43" fmla="*/ 70450 w 88605"/>
                <a:gd name="connsiteY43" fmla="*/ 65715 h 67689"/>
                <a:gd name="connsiteX44" fmla="*/ 71085 w 88605"/>
                <a:gd name="connsiteY44" fmla="*/ 62540 h 67689"/>
                <a:gd name="connsiteX45" fmla="*/ 71720 w 88605"/>
                <a:gd name="connsiteY45" fmla="*/ 53650 h 67689"/>
                <a:gd name="connsiteX46" fmla="*/ 71720 w 88605"/>
                <a:gd name="connsiteY46" fmla="*/ 53650 h 67689"/>
                <a:gd name="connsiteX47" fmla="*/ 71720 w 88605"/>
                <a:gd name="connsiteY47" fmla="*/ 53650 h 6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8605" h="67689">
                  <a:moveTo>
                    <a:pt x="71720" y="53650"/>
                  </a:moveTo>
                  <a:lnTo>
                    <a:pt x="71720" y="53650"/>
                  </a:lnTo>
                  <a:cubicBezTo>
                    <a:pt x="72989" y="46665"/>
                    <a:pt x="76164" y="40950"/>
                    <a:pt x="78705" y="35870"/>
                  </a:cubicBezTo>
                  <a:lnTo>
                    <a:pt x="79339" y="34600"/>
                  </a:lnTo>
                  <a:lnTo>
                    <a:pt x="79339" y="33965"/>
                  </a:lnTo>
                  <a:cubicBezTo>
                    <a:pt x="81245" y="30155"/>
                    <a:pt x="83785" y="26345"/>
                    <a:pt x="85689" y="22535"/>
                  </a:cubicBezTo>
                  <a:cubicBezTo>
                    <a:pt x="86960" y="19360"/>
                    <a:pt x="88864" y="15550"/>
                    <a:pt x="88230" y="13010"/>
                  </a:cubicBezTo>
                  <a:cubicBezTo>
                    <a:pt x="86325" y="4755"/>
                    <a:pt x="74260" y="310"/>
                    <a:pt x="51400" y="-325"/>
                  </a:cubicBezTo>
                  <a:cubicBezTo>
                    <a:pt x="47589" y="-325"/>
                    <a:pt x="43780" y="-325"/>
                    <a:pt x="39335" y="-325"/>
                  </a:cubicBezTo>
                  <a:cubicBezTo>
                    <a:pt x="36160" y="-325"/>
                    <a:pt x="32985" y="-325"/>
                    <a:pt x="29175" y="-325"/>
                  </a:cubicBezTo>
                  <a:cubicBezTo>
                    <a:pt x="25364" y="-325"/>
                    <a:pt x="20920" y="-325"/>
                    <a:pt x="17110" y="-325"/>
                  </a:cubicBezTo>
                  <a:cubicBezTo>
                    <a:pt x="13300" y="-325"/>
                    <a:pt x="8855" y="-325"/>
                    <a:pt x="5045" y="-325"/>
                  </a:cubicBezTo>
                  <a:cubicBezTo>
                    <a:pt x="4410" y="-325"/>
                    <a:pt x="3775" y="-325"/>
                    <a:pt x="3139" y="-325"/>
                  </a:cubicBezTo>
                  <a:lnTo>
                    <a:pt x="3139" y="-325"/>
                  </a:lnTo>
                  <a:cubicBezTo>
                    <a:pt x="1235" y="-325"/>
                    <a:pt x="-36" y="310"/>
                    <a:pt x="-36" y="2215"/>
                  </a:cubicBezTo>
                  <a:cubicBezTo>
                    <a:pt x="-670" y="4755"/>
                    <a:pt x="-36" y="7930"/>
                    <a:pt x="3775" y="7930"/>
                  </a:cubicBezTo>
                  <a:cubicBezTo>
                    <a:pt x="8220" y="7930"/>
                    <a:pt x="13300" y="2215"/>
                    <a:pt x="16475" y="6025"/>
                  </a:cubicBezTo>
                  <a:cubicBezTo>
                    <a:pt x="19650" y="10470"/>
                    <a:pt x="4410" y="13010"/>
                    <a:pt x="6950" y="18090"/>
                  </a:cubicBezTo>
                  <a:cubicBezTo>
                    <a:pt x="10125" y="24440"/>
                    <a:pt x="16475" y="18725"/>
                    <a:pt x="17110" y="18090"/>
                  </a:cubicBezTo>
                  <a:cubicBezTo>
                    <a:pt x="20285" y="16820"/>
                    <a:pt x="29810" y="7930"/>
                    <a:pt x="33620" y="13645"/>
                  </a:cubicBezTo>
                  <a:cubicBezTo>
                    <a:pt x="36795" y="18725"/>
                    <a:pt x="21555" y="25710"/>
                    <a:pt x="19650" y="28250"/>
                  </a:cubicBezTo>
                  <a:cubicBezTo>
                    <a:pt x="19014" y="28885"/>
                    <a:pt x="17745" y="32695"/>
                    <a:pt x="18380" y="33330"/>
                  </a:cubicBezTo>
                  <a:cubicBezTo>
                    <a:pt x="21555" y="40950"/>
                    <a:pt x="30445" y="33965"/>
                    <a:pt x="36160" y="26980"/>
                  </a:cubicBezTo>
                  <a:cubicBezTo>
                    <a:pt x="38064" y="24440"/>
                    <a:pt x="39970" y="23170"/>
                    <a:pt x="41875" y="22535"/>
                  </a:cubicBezTo>
                  <a:cubicBezTo>
                    <a:pt x="43145" y="22535"/>
                    <a:pt x="44414" y="21900"/>
                    <a:pt x="45050" y="22535"/>
                  </a:cubicBezTo>
                  <a:cubicBezTo>
                    <a:pt x="46320" y="22535"/>
                    <a:pt x="47589" y="23805"/>
                    <a:pt x="48225" y="25075"/>
                  </a:cubicBezTo>
                  <a:cubicBezTo>
                    <a:pt x="48860" y="26345"/>
                    <a:pt x="48225" y="28250"/>
                    <a:pt x="46955" y="29520"/>
                  </a:cubicBezTo>
                  <a:cubicBezTo>
                    <a:pt x="45050" y="30790"/>
                    <a:pt x="43145" y="32695"/>
                    <a:pt x="41239" y="33965"/>
                  </a:cubicBezTo>
                  <a:cubicBezTo>
                    <a:pt x="39970" y="35235"/>
                    <a:pt x="38700" y="36505"/>
                    <a:pt x="37430" y="37140"/>
                  </a:cubicBezTo>
                  <a:cubicBezTo>
                    <a:pt x="35525" y="39045"/>
                    <a:pt x="32350" y="41585"/>
                    <a:pt x="32350" y="44760"/>
                  </a:cubicBezTo>
                  <a:cubicBezTo>
                    <a:pt x="32350" y="47300"/>
                    <a:pt x="34889" y="49840"/>
                    <a:pt x="37430" y="49840"/>
                  </a:cubicBezTo>
                  <a:cubicBezTo>
                    <a:pt x="38064" y="49840"/>
                    <a:pt x="38700" y="49840"/>
                    <a:pt x="39335" y="49205"/>
                  </a:cubicBezTo>
                  <a:cubicBezTo>
                    <a:pt x="41875" y="47935"/>
                    <a:pt x="50130" y="34600"/>
                    <a:pt x="54575" y="36505"/>
                  </a:cubicBezTo>
                  <a:cubicBezTo>
                    <a:pt x="55845" y="37140"/>
                    <a:pt x="57114" y="37140"/>
                    <a:pt x="57750" y="38410"/>
                  </a:cubicBezTo>
                  <a:cubicBezTo>
                    <a:pt x="58385" y="40315"/>
                    <a:pt x="58385" y="42220"/>
                    <a:pt x="57114" y="43490"/>
                  </a:cubicBezTo>
                  <a:cubicBezTo>
                    <a:pt x="55845" y="45395"/>
                    <a:pt x="53305" y="47300"/>
                    <a:pt x="51400" y="49205"/>
                  </a:cubicBezTo>
                  <a:cubicBezTo>
                    <a:pt x="50130" y="50475"/>
                    <a:pt x="48225" y="51745"/>
                    <a:pt x="47589" y="53650"/>
                  </a:cubicBezTo>
                  <a:cubicBezTo>
                    <a:pt x="45685" y="57460"/>
                    <a:pt x="48860" y="59365"/>
                    <a:pt x="52035" y="59365"/>
                  </a:cubicBezTo>
                  <a:cubicBezTo>
                    <a:pt x="53305" y="59365"/>
                    <a:pt x="53939" y="58730"/>
                    <a:pt x="54575" y="58095"/>
                  </a:cubicBezTo>
                  <a:cubicBezTo>
                    <a:pt x="56480" y="56190"/>
                    <a:pt x="59020" y="47935"/>
                    <a:pt x="63464" y="49840"/>
                  </a:cubicBezTo>
                  <a:cubicBezTo>
                    <a:pt x="67910" y="52380"/>
                    <a:pt x="59655" y="58730"/>
                    <a:pt x="60289" y="63810"/>
                  </a:cubicBezTo>
                  <a:cubicBezTo>
                    <a:pt x="60289" y="64445"/>
                    <a:pt x="61560" y="65715"/>
                    <a:pt x="62195" y="66350"/>
                  </a:cubicBezTo>
                  <a:cubicBezTo>
                    <a:pt x="62830" y="66985"/>
                    <a:pt x="63464" y="66985"/>
                    <a:pt x="64100" y="66985"/>
                  </a:cubicBezTo>
                  <a:cubicBezTo>
                    <a:pt x="66639" y="67620"/>
                    <a:pt x="68545" y="67620"/>
                    <a:pt x="70450" y="65715"/>
                  </a:cubicBezTo>
                  <a:cubicBezTo>
                    <a:pt x="71085" y="64445"/>
                    <a:pt x="71085" y="63810"/>
                    <a:pt x="71085" y="62540"/>
                  </a:cubicBezTo>
                  <a:cubicBezTo>
                    <a:pt x="71720" y="59365"/>
                    <a:pt x="71720" y="56825"/>
                    <a:pt x="71720" y="53650"/>
                  </a:cubicBezTo>
                  <a:lnTo>
                    <a:pt x="71720" y="53650"/>
                  </a:lnTo>
                  <a:lnTo>
                    <a:pt x="71720" y="53650"/>
                  </a:lnTo>
                  <a:close/>
                </a:path>
              </a:pathLst>
            </a:custGeom>
            <a:solidFill>
              <a:srgbClr val="FFFFFF"/>
            </a:solidFill>
            <a:ln w="6350" cap="flat">
              <a:noFill/>
              <a:prstDash val="solid"/>
              <a:miter/>
            </a:ln>
          </p:spPr>
          <p:txBody>
            <a:bodyPr rtlCol="0" anchor="ctr"/>
            <a:lstStyle/>
            <a:p>
              <a:endParaRPr lang="en-GB"/>
            </a:p>
          </p:txBody>
        </p:sp>
        <p:sp>
          <p:nvSpPr>
            <p:cNvPr id="179" name="Freeform 178"/>
            <p:cNvSpPr/>
            <p:nvPr/>
          </p:nvSpPr>
          <p:spPr>
            <a:xfrm>
              <a:off x="4012411" y="3188808"/>
              <a:ext cx="420522" cy="96046"/>
            </a:xfrm>
            <a:custGeom>
              <a:avLst/>
              <a:gdLst>
                <a:gd name="connsiteX0" fmla="*/ 39273 w 420522"/>
                <a:gd name="connsiteY0" fmla="*/ 25872 h 96046"/>
                <a:gd name="connsiteX1" fmla="*/ 171353 w 420522"/>
                <a:gd name="connsiteY1" fmla="*/ 27142 h 96046"/>
                <a:gd name="connsiteX2" fmla="*/ 245648 w 420522"/>
                <a:gd name="connsiteY2" fmla="*/ 29047 h 96046"/>
                <a:gd name="connsiteX3" fmla="*/ 244378 w 420522"/>
                <a:gd name="connsiteY3" fmla="*/ 27142 h 96046"/>
                <a:gd name="connsiteX4" fmla="*/ 243108 w 420522"/>
                <a:gd name="connsiteY4" fmla="*/ 26507 h 96046"/>
                <a:gd name="connsiteX5" fmla="*/ 239298 w 420522"/>
                <a:gd name="connsiteY5" fmla="*/ 25872 h 96046"/>
                <a:gd name="connsiteX6" fmla="*/ 180878 w 420522"/>
                <a:gd name="connsiteY6" fmla="*/ 17617 h 96046"/>
                <a:gd name="connsiteX7" fmla="*/ 111663 w 420522"/>
                <a:gd name="connsiteY7" fmla="*/ 16982 h 96046"/>
                <a:gd name="connsiteX8" fmla="*/ 101503 w 420522"/>
                <a:gd name="connsiteY8" fmla="*/ 13172 h 96046"/>
                <a:gd name="connsiteX9" fmla="*/ 105313 w 420522"/>
                <a:gd name="connsiteY9" fmla="*/ 12537 h 96046"/>
                <a:gd name="connsiteX10" fmla="*/ 158018 w 420522"/>
                <a:gd name="connsiteY10" fmla="*/ 10632 h 96046"/>
                <a:gd name="connsiteX11" fmla="*/ 160558 w 420522"/>
                <a:gd name="connsiteY11" fmla="*/ 10632 h 96046"/>
                <a:gd name="connsiteX12" fmla="*/ 232313 w 420522"/>
                <a:gd name="connsiteY12" fmla="*/ 16982 h 96046"/>
                <a:gd name="connsiteX13" fmla="*/ 232313 w 420522"/>
                <a:gd name="connsiteY13" fmla="*/ 16982 h 96046"/>
                <a:gd name="connsiteX14" fmla="*/ 234853 w 420522"/>
                <a:gd name="connsiteY14" fmla="*/ 16982 h 96046"/>
                <a:gd name="connsiteX15" fmla="*/ 235488 w 420522"/>
                <a:gd name="connsiteY15" fmla="*/ 16982 h 96046"/>
                <a:gd name="connsiteX16" fmla="*/ 288828 w 420522"/>
                <a:gd name="connsiteY16" fmla="*/ 20792 h 96046"/>
                <a:gd name="connsiteX17" fmla="*/ 289463 w 420522"/>
                <a:gd name="connsiteY17" fmla="*/ 20792 h 96046"/>
                <a:gd name="connsiteX18" fmla="*/ 299623 w 420522"/>
                <a:gd name="connsiteY18" fmla="*/ 20792 h 96046"/>
                <a:gd name="connsiteX19" fmla="*/ 309783 w 420522"/>
                <a:gd name="connsiteY19" fmla="*/ 20792 h 96046"/>
                <a:gd name="connsiteX20" fmla="*/ 321848 w 420522"/>
                <a:gd name="connsiteY20" fmla="*/ 20792 h 96046"/>
                <a:gd name="connsiteX21" fmla="*/ 322483 w 420522"/>
                <a:gd name="connsiteY21" fmla="*/ 20792 h 96046"/>
                <a:gd name="connsiteX22" fmla="*/ 332643 w 420522"/>
                <a:gd name="connsiteY22" fmla="*/ 20792 h 96046"/>
                <a:gd name="connsiteX23" fmla="*/ 344708 w 420522"/>
                <a:gd name="connsiteY23" fmla="*/ 20792 h 96046"/>
                <a:gd name="connsiteX24" fmla="*/ 387253 w 420522"/>
                <a:gd name="connsiteY24" fmla="*/ 38572 h 96046"/>
                <a:gd name="connsiteX25" fmla="*/ 384713 w 420522"/>
                <a:gd name="connsiteY25" fmla="*/ 51907 h 96046"/>
                <a:gd name="connsiteX26" fmla="*/ 378363 w 420522"/>
                <a:gd name="connsiteY26" fmla="*/ 64607 h 96046"/>
                <a:gd name="connsiteX27" fmla="*/ 371378 w 420522"/>
                <a:gd name="connsiteY27" fmla="*/ 81752 h 96046"/>
                <a:gd name="connsiteX28" fmla="*/ 372648 w 420522"/>
                <a:gd name="connsiteY28" fmla="*/ 90642 h 96046"/>
                <a:gd name="connsiteX29" fmla="*/ 375188 w 420522"/>
                <a:gd name="connsiteY29" fmla="*/ 95722 h 96046"/>
                <a:gd name="connsiteX30" fmla="*/ 383443 w 420522"/>
                <a:gd name="connsiteY30" fmla="*/ 84927 h 96046"/>
                <a:gd name="connsiteX31" fmla="*/ 381538 w 420522"/>
                <a:gd name="connsiteY31" fmla="*/ 81752 h 96046"/>
                <a:gd name="connsiteX32" fmla="*/ 395508 w 420522"/>
                <a:gd name="connsiteY32" fmla="*/ 52542 h 96046"/>
                <a:gd name="connsiteX33" fmla="*/ 412018 w 420522"/>
                <a:gd name="connsiteY33" fmla="*/ 36032 h 96046"/>
                <a:gd name="connsiteX34" fmla="*/ 420273 w 420522"/>
                <a:gd name="connsiteY34" fmla="*/ 20157 h 96046"/>
                <a:gd name="connsiteX35" fmla="*/ 408208 w 420522"/>
                <a:gd name="connsiteY35" fmla="*/ 8092 h 96046"/>
                <a:gd name="connsiteX36" fmla="*/ 391698 w 420522"/>
                <a:gd name="connsiteY36" fmla="*/ 3012 h 96046"/>
                <a:gd name="connsiteX37" fmla="*/ 353598 w 420522"/>
                <a:gd name="connsiteY37" fmla="*/ -163 h 96046"/>
                <a:gd name="connsiteX38" fmla="*/ 318673 w 420522"/>
                <a:gd name="connsiteY38" fmla="*/ 2377 h 96046"/>
                <a:gd name="connsiteX39" fmla="*/ 276128 w 420522"/>
                <a:gd name="connsiteY39" fmla="*/ 4917 h 96046"/>
                <a:gd name="connsiteX40" fmla="*/ 234218 w 420522"/>
                <a:gd name="connsiteY40" fmla="*/ 3012 h 96046"/>
                <a:gd name="connsiteX41" fmla="*/ 229773 w 420522"/>
                <a:gd name="connsiteY41" fmla="*/ 3012 h 96046"/>
                <a:gd name="connsiteX42" fmla="*/ 202468 w 420522"/>
                <a:gd name="connsiteY42" fmla="*/ 1107 h 96046"/>
                <a:gd name="connsiteX43" fmla="*/ 138333 w 420522"/>
                <a:gd name="connsiteY43" fmla="*/ 1107 h 96046"/>
                <a:gd name="connsiteX44" fmla="*/ 130078 w 420522"/>
                <a:gd name="connsiteY44" fmla="*/ 1742 h 96046"/>
                <a:gd name="connsiteX45" fmla="*/ 64038 w 420522"/>
                <a:gd name="connsiteY45" fmla="*/ 4282 h 96046"/>
                <a:gd name="connsiteX46" fmla="*/ 31018 w 420522"/>
                <a:gd name="connsiteY46" fmla="*/ 2377 h 96046"/>
                <a:gd name="connsiteX47" fmla="*/ 13873 w 420522"/>
                <a:gd name="connsiteY47" fmla="*/ 472 h 96046"/>
                <a:gd name="connsiteX48" fmla="*/ 9428 w 420522"/>
                <a:gd name="connsiteY48" fmla="*/ 1107 h 96046"/>
                <a:gd name="connsiteX49" fmla="*/ 7523 w 420522"/>
                <a:gd name="connsiteY49" fmla="*/ 1742 h 96046"/>
                <a:gd name="connsiteX50" fmla="*/ -97 w 420522"/>
                <a:gd name="connsiteY50" fmla="*/ 10632 h 96046"/>
                <a:gd name="connsiteX51" fmla="*/ 22763 w 420522"/>
                <a:gd name="connsiteY51" fmla="*/ 22062 h 96046"/>
                <a:gd name="connsiteX52" fmla="*/ 39273 w 420522"/>
                <a:gd name="connsiteY52" fmla="*/ 25872 h 9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20522" h="96046">
                  <a:moveTo>
                    <a:pt x="39273" y="25872"/>
                  </a:moveTo>
                  <a:cubicBezTo>
                    <a:pt x="64038" y="25872"/>
                    <a:pt x="135158" y="25872"/>
                    <a:pt x="171353" y="27142"/>
                  </a:cubicBezTo>
                  <a:cubicBezTo>
                    <a:pt x="207548" y="27777"/>
                    <a:pt x="245648" y="30952"/>
                    <a:pt x="245648" y="29047"/>
                  </a:cubicBezTo>
                  <a:cubicBezTo>
                    <a:pt x="245648" y="27777"/>
                    <a:pt x="245013" y="27142"/>
                    <a:pt x="244378" y="27142"/>
                  </a:cubicBezTo>
                  <a:cubicBezTo>
                    <a:pt x="243743" y="27142"/>
                    <a:pt x="243743" y="27142"/>
                    <a:pt x="243108" y="26507"/>
                  </a:cubicBezTo>
                  <a:cubicBezTo>
                    <a:pt x="241838" y="25872"/>
                    <a:pt x="240568" y="25872"/>
                    <a:pt x="239298" y="25872"/>
                  </a:cubicBezTo>
                  <a:cubicBezTo>
                    <a:pt x="220248" y="22062"/>
                    <a:pt x="200563" y="19522"/>
                    <a:pt x="180878" y="17617"/>
                  </a:cubicBezTo>
                  <a:cubicBezTo>
                    <a:pt x="163098" y="15712"/>
                    <a:pt x="116743" y="16347"/>
                    <a:pt x="111663" y="16982"/>
                  </a:cubicBezTo>
                  <a:cubicBezTo>
                    <a:pt x="107853" y="16982"/>
                    <a:pt x="103408" y="16982"/>
                    <a:pt x="101503" y="13172"/>
                  </a:cubicBezTo>
                  <a:cubicBezTo>
                    <a:pt x="102773" y="13172"/>
                    <a:pt x="104043" y="12537"/>
                    <a:pt x="105313" y="12537"/>
                  </a:cubicBezTo>
                  <a:cubicBezTo>
                    <a:pt x="123093" y="10632"/>
                    <a:pt x="140238" y="10632"/>
                    <a:pt x="158018" y="10632"/>
                  </a:cubicBezTo>
                  <a:cubicBezTo>
                    <a:pt x="158653" y="10632"/>
                    <a:pt x="159288" y="10632"/>
                    <a:pt x="160558" y="10632"/>
                  </a:cubicBezTo>
                  <a:cubicBezTo>
                    <a:pt x="184688" y="11267"/>
                    <a:pt x="208183" y="14442"/>
                    <a:pt x="232313" y="16982"/>
                  </a:cubicBezTo>
                  <a:cubicBezTo>
                    <a:pt x="232313" y="16982"/>
                    <a:pt x="232313" y="16982"/>
                    <a:pt x="232313" y="16982"/>
                  </a:cubicBezTo>
                  <a:cubicBezTo>
                    <a:pt x="232313" y="16982"/>
                    <a:pt x="233583" y="16982"/>
                    <a:pt x="234853" y="16982"/>
                  </a:cubicBezTo>
                  <a:cubicBezTo>
                    <a:pt x="234853" y="16982"/>
                    <a:pt x="235488" y="16982"/>
                    <a:pt x="235488" y="16982"/>
                  </a:cubicBezTo>
                  <a:cubicBezTo>
                    <a:pt x="244378" y="17617"/>
                    <a:pt x="280573" y="20792"/>
                    <a:pt x="288828" y="20792"/>
                  </a:cubicBezTo>
                  <a:cubicBezTo>
                    <a:pt x="288828" y="20792"/>
                    <a:pt x="289463" y="20792"/>
                    <a:pt x="289463" y="20792"/>
                  </a:cubicBezTo>
                  <a:cubicBezTo>
                    <a:pt x="292638" y="20792"/>
                    <a:pt x="296448" y="20792"/>
                    <a:pt x="299623" y="20792"/>
                  </a:cubicBezTo>
                  <a:cubicBezTo>
                    <a:pt x="302798" y="20792"/>
                    <a:pt x="306608" y="20792"/>
                    <a:pt x="309783" y="20792"/>
                  </a:cubicBezTo>
                  <a:cubicBezTo>
                    <a:pt x="313593" y="20792"/>
                    <a:pt x="318038" y="20792"/>
                    <a:pt x="321848" y="20792"/>
                  </a:cubicBezTo>
                  <a:lnTo>
                    <a:pt x="322483" y="20792"/>
                  </a:lnTo>
                  <a:cubicBezTo>
                    <a:pt x="325658" y="20792"/>
                    <a:pt x="328833" y="20792"/>
                    <a:pt x="332643" y="20792"/>
                  </a:cubicBezTo>
                  <a:cubicBezTo>
                    <a:pt x="336453" y="20792"/>
                    <a:pt x="340898" y="20792"/>
                    <a:pt x="344708" y="20792"/>
                  </a:cubicBezTo>
                  <a:cubicBezTo>
                    <a:pt x="357408" y="20792"/>
                    <a:pt x="383443" y="22697"/>
                    <a:pt x="387253" y="38572"/>
                  </a:cubicBezTo>
                  <a:cubicBezTo>
                    <a:pt x="388523" y="43017"/>
                    <a:pt x="385983" y="48097"/>
                    <a:pt x="384713" y="51907"/>
                  </a:cubicBezTo>
                  <a:cubicBezTo>
                    <a:pt x="382808" y="56352"/>
                    <a:pt x="380268" y="60162"/>
                    <a:pt x="378363" y="64607"/>
                  </a:cubicBezTo>
                  <a:cubicBezTo>
                    <a:pt x="375188" y="70322"/>
                    <a:pt x="372013" y="75402"/>
                    <a:pt x="371378" y="81752"/>
                  </a:cubicBezTo>
                  <a:cubicBezTo>
                    <a:pt x="371378" y="84927"/>
                    <a:pt x="371378" y="87467"/>
                    <a:pt x="372648" y="90642"/>
                  </a:cubicBezTo>
                  <a:cubicBezTo>
                    <a:pt x="373283" y="91912"/>
                    <a:pt x="373918" y="93817"/>
                    <a:pt x="375188" y="95722"/>
                  </a:cubicBezTo>
                  <a:cubicBezTo>
                    <a:pt x="377728" y="91912"/>
                    <a:pt x="380268" y="88737"/>
                    <a:pt x="383443" y="84927"/>
                  </a:cubicBezTo>
                  <a:cubicBezTo>
                    <a:pt x="382808" y="83657"/>
                    <a:pt x="381538" y="81752"/>
                    <a:pt x="381538" y="81752"/>
                  </a:cubicBezTo>
                  <a:cubicBezTo>
                    <a:pt x="375823" y="71592"/>
                    <a:pt x="389158" y="58892"/>
                    <a:pt x="395508" y="52542"/>
                  </a:cubicBezTo>
                  <a:cubicBezTo>
                    <a:pt x="401223" y="46827"/>
                    <a:pt x="406938" y="41747"/>
                    <a:pt x="412018" y="36032"/>
                  </a:cubicBezTo>
                  <a:cubicBezTo>
                    <a:pt x="415828" y="31587"/>
                    <a:pt x="420273" y="26507"/>
                    <a:pt x="420273" y="20157"/>
                  </a:cubicBezTo>
                  <a:cubicBezTo>
                    <a:pt x="419638" y="13172"/>
                    <a:pt x="413288" y="10632"/>
                    <a:pt x="408208" y="8092"/>
                  </a:cubicBezTo>
                  <a:cubicBezTo>
                    <a:pt x="403128" y="5552"/>
                    <a:pt x="397413" y="4282"/>
                    <a:pt x="391698" y="3012"/>
                  </a:cubicBezTo>
                  <a:cubicBezTo>
                    <a:pt x="378998" y="472"/>
                    <a:pt x="366298" y="-798"/>
                    <a:pt x="353598" y="-163"/>
                  </a:cubicBezTo>
                  <a:cubicBezTo>
                    <a:pt x="342168" y="-163"/>
                    <a:pt x="330738" y="1107"/>
                    <a:pt x="318673" y="2377"/>
                  </a:cubicBezTo>
                  <a:cubicBezTo>
                    <a:pt x="304703" y="4282"/>
                    <a:pt x="290733" y="4917"/>
                    <a:pt x="276128" y="4917"/>
                  </a:cubicBezTo>
                  <a:cubicBezTo>
                    <a:pt x="262158" y="4917"/>
                    <a:pt x="248188" y="4282"/>
                    <a:pt x="234218" y="3012"/>
                  </a:cubicBezTo>
                  <a:cubicBezTo>
                    <a:pt x="232948" y="3012"/>
                    <a:pt x="231678" y="3012"/>
                    <a:pt x="229773" y="3012"/>
                  </a:cubicBezTo>
                  <a:cubicBezTo>
                    <a:pt x="220883" y="2377"/>
                    <a:pt x="211993" y="1742"/>
                    <a:pt x="202468" y="1107"/>
                  </a:cubicBezTo>
                  <a:cubicBezTo>
                    <a:pt x="188498" y="-163"/>
                    <a:pt x="144683" y="472"/>
                    <a:pt x="138333" y="1107"/>
                  </a:cubicBezTo>
                  <a:cubicBezTo>
                    <a:pt x="135793" y="1107"/>
                    <a:pt x="133253" y="1107"/>
                    <a:pt x="130078" y="1742"/>
                  </a:cubicBezTo>
                  <a:cubicBezTo>
                    <a:pt x="107853" y="3012"/>
                    <a:pt x="86263" y="5552"/>
                    <a:pt x="64038" y="4282"/>
                  </a:cubicBezTo>
                  <a:cubicBezTo>
                    <a:pt x="52608" y="3647"/>
                    <a:pt x="42448" y="3647"/>
                    <a:pt x="31018" y="2377"/>
                  </a:cubicBezTo>
                  <a:lnTo>
                    <a:pt x="13873" y="472"/>
                  </a:lnTo>
                  <a:cubicBezTo>
                    <a:pt x="12603" y="472"/>
                    <a:pt x="10698" y="472"/>
                    <a:pt x="9428" y="1107"/>
                  </a:cubicBezTo>
                  <a:cubicBezTo>
                    <a:pt x="8793" y="1107"/>
                    <a:pt x="8158" y="1107"/>
                    <a:pt x="7523" y="1742"/>
                  </a:cubicBezTo>
                  <a:cubicBezTo>
                    <a:pt x="5618" y="3012"/>
                    <a:pt x="-1367" y="9997"/>
                    <a:pt x="-97" y="10632"/>
                  </a:cubicBezTo>
                  <a:cubicBezTo>
                    <a:pt x="538" y="11267"/>
                    <a:pt x="21493" y="22062"/>
                    <a:pt x="22763" y="22062"/>
                  </a:cubicBezTo>
                  <a:cubicBezTo>
                    <a:pt x="29748" y="24602"/>
                    <a:pt x="31653" y="25872"/>
                    <a:pt x="39273" y="25872"/>
                  </a:cubicBezTo>
                </a:path>
              </a:pathLst>
            </a:custGeom>
            <a:solidFill>
              <a:srgbClr val="FFFFFF"/>
            </a:solidFill>
            <a:ln w="6350" cap="flat">
              <a:noFill/>
              <a:prstDash val="solid"/>
              <a:miter/>
            </a:ln>
          </p:spPr>
          <p:txBody>
            <a:bodyPr rtlCol="0" anchor="ctr"/>
            <a:lstStyle/>
            <a:p>
              <a:endParaRPr lang="en-GB"/>
            </a:p>
          </p:txBody>
        </p:sp>
        <p:sp>
          <p:nvSpPr>
            <p:cNvPr id="180" name="Freeform 179"/>
            <p:cNvSpPr/>
            <p:nvPr/>
          </p:nvSpPr>
          <p:spPr>
            <a:xfrm>
              <a:off x="4584010" y="3188334"/>
              <a:ext cx="419480" cy="96520"/>
            </a:xfrm>
            <a:custGeom>
              <a:avLst/>
              <a:gdLst>
                <a:gd name="connsiteX0" fmla="*/ 411919 w 419480"/>
                <a:gd name="connsiteY0" fmla="*/ 1580 h 96520"/>
                <a:gd name="connsiteX1" fmla="*/ 410014 w 419480"/>
                <a:gd name="connsiteY1" fmla="*/ 945 h 96520"/>
                <a:gd name="connsiteX2" fmla="*/ 405569 w 419480"/>
                <a:gd name="connsiteY2" fmla="*/ 310 h 96520"/>
                <a:gd name="connsiteX3" fmla="*/ 388424 w 419480"/>
                <a:gd name="connsiteY3" fmla="*/ 2215 h 96520"/>
                <a:gd name="connsiteX4" fmla="*/ 355404 w 419480"/>
                <a:gd name="connsiteY4" fmla="*/ 4120 h 96520"/>
                <a:gd name="connsiteX5" fmla="*/ 289364 w 419480"/>
                <a:gd name="connsiteY5" fmla="*/ 1580 h 96520"/>
                <a:gd name="connsiteX6" fmla="*/ 281109 w 419480"/>
                <a:gd name="connsiteY6" fmla="*/ 945 h 96520"/>
                <a:gd name="connsiteX7" fmla="*/ 216974 w 419480"/>
                <a:gd name="connsiteY7" fmla="*/ 945 h 96520"/>
                <a:gd name="connsiteX8" fmla="*/ 189669 w 419480"/>
                <a:gd name="connsiteY8" fmla="*/ 2850 h 96520"/>
                <a:gd name="connsiteX9" fmla="*/ 185224 w 419480"/>
                <a:gd name="connsiteY9" fmla="*/ 2850 h 96520"/>
                <a:gd name="connsiteX10" fmla="*/ 143314 w 419480"/>
                <a:gd name="connsiteY10" fmla="*/ 4755 h 96520"/>
                <a:gd name="connsiteX11" fmla="*/ 100769 w 419480"/>
                <a:gd name="connsiteY11" fmla="*/ 2215 h 96520"/>
                <a:gd name="connsiteX12" fmla="*/ 65844 w 419480"/>
                <a:gd name="connsiteY12" fmla="*/ -325 h 96520"/>
                <a:gd name="connsiteX13" fmla="*/ 27744 w 419480"/>
                <a:gd name="connsiteY13" fmla="*/ 2850 h 96520"/>
                <a:gd name="connsiteX14" fmla="*/ 15679 w 419480"/>
                <a:gd name="connsiteY14" fmla="*/ 6025 h 96520"/>
                <a:gd name="connsiteX15" fmla="*/ 15044 w 419480"/>
                <a:gd name="connsiteY15" fmla="*/ 6660 h 96520"/>
                <a:gd name="connsiteX16" fmla="*/ 12504 w 419480"/>
                <a:gd name="connsiteY16" fmla="*/ 7930 h 96520"/>
                <a:gd name="connsiteX17" fmla="*/ 12504 w 419480"/>
                <a:gd name="connsiteY17" fmla="*/ 7930 h 96520"/>
                <a:gd name="connsiteX18" fmla="*/ 11869 w 419480"/>
                <a:gd name="connsiteY18" fmla="*/ 8565 h 96520"/>
                <a:gd name="connsiteX19" fmla="*/ -196 w 419480"/>
                <a:gd name="connsiteY19" fmla="*/ 20630 h 96520"/>
                <a:gd name="connsiteX20" fmla="*/ 8059 w 419480"/>
                <a:gd name="connsiteY20" fmla="*/ 36505 h 96520"/>
                <a:gd name="connsiteX21" fmla="*/ 24569 w 419480"/>
                <a:gd name="connsiteY21" fmla="*/ 53015 h 96520"/>
                <a:gd name="connsiteX22" fmla="*/ 38539 w 419480"/>
                <a:gd name="connsiteY22" fmla="*/ 82225 h 96520"/>
                <a:gd name="connsiteX23" fmla="*/ 35999 w 419480"/>
                <a:gd name="connsiteY23" fmla="*/ 85400 h 96520"/>
                <a:gd name="connsiteX24" fmla="*/ 44254 w 419480"/>
                <a:gd name="connsiteY24" fmla="*/ 96195 h 96520"/>
                <a:gd name="connsiteX25" fmla="*/ 46794 w 419480"/>
                <a:gd name="connsiteY25" fmla="*/ 90480 h 96520"/>
                <a:gd name="connsiteX26" fmla="*/ 48064 w 419480"/>
                <a:gd name="connsiteY26" fmla="*/ 81590 h 96520"/>
                <a:gd name="connsiteX27" fmla="*/ 41079 w 419480"/>
                <a:gd name="connsiteY27" fmla="*/ 64445 h 96520"/>
                <a:gd name="connsiteX28" fmla="*/ 34729 w 419480"/>
                <a:gd name="connsiteY28" fmla="*/ 51745 h 96520"/>
                <a:gd name="connsiteX29" fmla="*/ 32189 w 419480"/>
                <a:gd name="connsiteY29" fmla="*/ 38410 h 96520"/>
                <a:gd name="connsiteX30" fmla="*/ 74734 w 419480"/>
                <a:gd name="connsiteY30" fmla="*/ 20630 h 96520"/>
                <a:gd name="connsiteX31" fmla="*/ 86799 w 419480"/>
                <a:gd name="connsiteY31" fmla="*/ 20630 h 96520"/>
                <a:gd name="connsiteX32" fmla="*/ 96959 w 419480"/>
                <a:gd name="connsiteY32" fmla="*/ 20630 h 96520"/>
                <a:gd name="connsiteX33" fmla="*/ 97594 w 419480"/>
                <a:gd name="connsiteY33" fmla="*/ 20630 h 96520"/>
                <a:gd name="connsiteX34" fmla="*/ 109659 w 419480"/>
                <a:gd name="connsiteY34" fmla="*/ 20630 h 96520"/>
                <a:gd name="connsiteX35" fmla="*/ 119819 w 419480"/>
                <a:gd name="connsiteY35" fmla="*/ 20630 h 96520"/>
                <a:gd name="connsiteX36" fmla="*/ 129979 w 419480"/>
                <a:gd name="connsiteY36" fmla="*/ 20630 h 96520"/>
                <a:gd name="connsiteX37" fmla="*/ 130614 w 419480"/>
                <a:gd name="connsiteY37" fmla="*/ 20630 h 96520"/>
                <a:gd name="connsiteX38" fmla="*/ 183954 w 419480"/>
                <a:gd name="connsiteY38" fmla="*/ 16820 h 96520"/>
                <a:gd name="connsiteX39" fmla="*/ 184589 w 419480"/>
                <a:gd name="connsiteY39" fmla="*/ 16820 h 96520"/>
                <a:gd name="connsiteX40" fmla="*/ 187129 w 419480"/>
                <a:gd name="connsiteY40" fmla="*/ 16820 h 96520"/>
                <a:gd name="connsiteX41" fmla="*/ 187129 w 419480"/>
                <a:gd name="connsiteY41" fmla="*/ 16820 h 96520"/>
                <a:gd name="connsiteX42" fmla="*/ 258884 w 419480"/>
                <a:gd name="connsiteY42" fmla="*/ 10470 h 96520"/>
                <a:gd name="connsiteX43" fmla="*/ 261424 w 419480"/>
                <a:gd name="connsiteY43" fmla="*/ 10470 h 96520"/>
                <a:gd name="connsiteX44" fmla="*/ 314129 w 419480"/>
                <a:gd name="connsiteY44" fmla="*/ 12375 h 96520"/>
                <a:gd name="connsiteX45" fmla="*/ 317939 w 419480"/>
                <a:gd name="connsiteY45" fmla="*/ 13010 h 96520"/>
                <a:gd name="connsiteX46" fmla="*/ 307779 w 419480"/>
                <a:gd name="connsiteY46" fmla="*/ 16820 h 96520"/>
                <a:gd name="connsiteX47" fmla="*/ 238564 w 419480"/>
                <a:gd name="connsiteY47" fmla="*/ 17455 h 96520"/>
                <a:gd name="connsiteX48" fmla="*/ 180144 w 419480"/>
                <a:gd name="connsiteY48" fmla="*/ 25710 h 96520"/>
                <a:gd name="connsiteX49" fmla="*/ 176334 w 419480"/>
                <a:gd name="connsiteY49" fmla="*/ 26345 h 96520"/>
                <a:gd name="connsiteX50" fmla="*/ 175064 w 419480"/>
                <a:gd name="connsiteY50" fmla="*/ 26980 h 96520"/>
                <a:gd name="connsiteX51" fmla="*/ 173794 w 419480"/>
                <a:gd name="connsiteY51" fmla="*/ 28885 h 96520"/>
                <a:gd name="connsiteX52" fmla="*/ 248089 w 419480"/>
                <a:gd name="connsiteY52" fmla="*/ 26980 h 96520"/>
                <a:gd name="connsiteX53" fmla="*/ 380169 w 419480"/>
                <a:gd name="connsiteY53" fmla="*/ 25710 h 96520"/>
                <a:gd name="connsiteX54" fmla="*/ 396044 w 419480"/>
                <a:gd name="connsiteY54" fmla="*/ 21265 h 96520"/>
                <a:gd name="connsiteX55" fmla="*/ 418904 w 419480"/>
                <a:gd name="connsiteY55" fmla="*/ 9835 h 96520"/>
                <a:gd name="connsiteX56" fmla="*/ 411919 w 419480"/>
                <a:gd name="connsiteY56" fmla="*/ 1580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19480" h="96520">
                  <a:moveTo>
                    <a:pt x="411919" y="1580"/>
                  </a:moveTo>
                  <a:cubicBezTo>
                    <a:pt x="411284" y="1580"/>
                    <a:pt x="410649" y="945"/>
                    <a:pt x="410014" y="945"/>
                  </a:cubicBezTo>
                  <a:cubicBezTo>
                    <a:pt x="408744" y="945"/>
                    <a:pt x="407474" y="310"/>
                    <a:pt x="405569" y="310"/>
                  </a:cubicBezTo>
                  <a:lnTo>
                    <a:pt x="388424" y="2215"/>
                  </a:lnTo>
                  <a:cubicBezTo>
                    <a:pt x="376994" y="2850"/>
                    <a:pt x="366834" y="3485"/>
                    <a:pt x="355404" y="4120"/>
                  </a:cubicBezTo>
                  <a:cubicBezTo>
                    <a:pt x="333179" y="5390"/>
                    <a:pt x="311589" y="2850"/>
                    <a:pt x="289364" y="1580"/>
                  </a:cubicBezTo>
                  <a:cubicBezTo>
                    <a:pt x="286824" y="1580"/>
                    <a:pt x="284284" y="1580"/>
                    <a:pt x="281109" y="945"/>
                  </a:cubicBezTo>
                  <a:cubicBezTo>
                    <a:pt x="274759" y="310"/>
                    <a:pt x="231579" y="310"/>
                    <a:pt x="216974" y="945"/>
                  </a:cubicBezTo>
                  <a:cubicBezTo>
                    <a:pt x="207449" y="1580"/>
                    <a:pt x="198559" y="2215"/>
                    <a:pt x="189669" y="2850"/>
                  </a:cubicBezTo>
                  <a:cubicBezTo>
                    <a:pt x="188399" y="2850"/>
                    <a:pt x="187129" y="2850"/>
                    <a:pt x="185224" y="2850"/>
                  </a:cubicBezTo>
                  <a:cubicBezTo>
                    <a:pt x="171254" y="3485"/>
                    <a:pt x="157284" y="4120"/>
                    <a:pt x="143314" y="4755"/>
                  </a:cubicBezTo>
                  <a:cubicBezTo>
                    <a:pt x="129344" y="4755"/>
                    <a:pt x="114739" y="4120"/>
                    <a:pt x="100769" y="2215"/>
                  </a:cubicBezTo>
                  <a:cubicBezTo>
                    <a:pt x="89339" y="945"/>
                    <a:pt x="77909" y="-325"/>
                    <a:pt x="65844" y="-325"/>
                  </a:cubicBezTo>
                  <a:cubicBezTo>
                    <a:pt x="53144" y="-325"/>
                    <a:pt x="40444" y="310"/>
                    <a:pt x="27744" y="2850"/>
                  </a:cubicBezTo>
                  <a:cubicBezTo>
                    <a:pt x="23934" y="3485"/>
                    <a:pt x="19489" y="4755"/>
                    <a:pt x="15679" y="6025"/>
                  </a:cubicBezTo>
                  <a:cubicBezTo>
                    <a:pt x="15679" y="6025"/>
                    <a:pt x="15044" y="6025"/>
                    <a:pt x="15044" y="6660"/>
                  </a:cubicBezTo>
                  <a:cubicBezTo>
                    <a:pt x="14409" y="7295"/>
                    <a:pt x="13139" y="7295"/>
                    <a:pt x="12504" y="7930"/>
                  </a:cubicBezTo>
                  <a:lnTo>
                    <a:pt x="12504" y="7930"/>
                  </a:lnTo>
                  <a:cubicBezTo>
                    <a:pt x="12504" y="7930"/>
                    <a:pt x="11869" y="7930"/>
                    <a:pt x="11869" y="8565"/>
                  </a:cubicBezTo>
                  <a:cubicBezTo>
                    <a:pt x="6789" y="11105"/>
                    <a:pt x="-196" y="14280"/>
                    <a:pt x="-196" y="20630"/>
                  </a:cubicBezTo>
                  <a:cubicBezTo>
                    <a:pt x="-831" y="26980"/>
                    <a:pt x="4249" y="32060"/>
                    <a:pt x="8059" y="36505"/>
                  </a:cubicBezTo>
                  <a:cubicBezTo>
                    <a:pt x="13139" y="42220"/>
                    <a:pt x="19489" y="47300"/>
                    <a:pt x="24569" y="53015"/>
                  </a:cubicBezTo>
                  <a:cubicBezTo>
                    <a:pt x="30919" y="59365"/>
                    <a:pt x="43619" y="72065"/>
                    <a:pt x="38539" y="82225"/>
                  </a:cubicBezTo>
                  <a:cubicBezTo>
                    <a:pt x="38539" y="82225"/>
                    <a:pt x="36634" y="84765"/>
                    <a:pt x="35999" y="85400"/>
                  </a:cubicBezTo>
                  <a:cubicBezTo>
                    <a:pt x="39174" y="88575"/>
                    <a:pt x="41714" y="92385"/>
                    <a:pt x="44254" y="96195"/>
                  </a:cubicBezTo>
                  <a:cubicBezTo>
                    <a:pt x="44889" y="94290"/>
                    <a:pt x="46159" y="92385"/>
                    <a:pt x="46794" y="90480"/>
                  </a:cubicBezTo>
                  <a:cubicBezTo>
                    <a:pt x="48064" y="87305"/>
                    <a:pt x="48699" y="84765"/>
                    <a:pt x="48064" y="81590"/>
                  </a:cubicBezTo>
                  <a:cubicBezTo>
                    <a:pt x="46794" y="75240"/>
                    <a:pt x="43619" y="70160"/>
                    <a:pt x="41079" y="64445"/>
                  </a:cubicBezTo>
                  <a:cubicBezTo>
                    <a:pt x="38539" y="60000"/>
                    <a:pt x="36634" y="56190"/>
                    <a:pt x="34729" y="51745"/>
                  </a:cubicBezTo>
                  <a:cubicBezTo>
                    <a:pt x="32824" y="47935"/>
                    <a:pt x="30919" y="42855"/>
                    <a:pt x="32189" y="38410"/>
                  </a:cubicBezTo>
                  <a:cubicBezTo>
                    <a:pt x="35999" y="21900"/>
                    <a:pt x="62034" y="20630"/>
                    <a:pt x="74734" y="20630"/>
                  </a:cubicBezTo>
                  <a:cubicBezTo>
                    <a:pt x="78544" y="20630"/>
                    <a:pt x="82989" y="20630"/>
                    <a:pt x="86799" y="20630"/>
                  </a:cubicBezTo>
                  <a:cubicBezTo>
                    <a:pt x="89974" y="20630"/>
                    <a:pt x="93149" y="20630"/>
                    <a:pt x="96959" y="20630"/>
                  </a:cubicBezTo>
                  <a:cubicBezTo>
                    <a:pt x="96959" y="20630"/>
                    <a:pt x="97594" y="20630"/>
                    <a:pt x="97594" y="20630"/>
                  </a:cubicBezTo>
                  <a:cubicBezTo>
                    <a:pt x="101404" y="20630"/>
                    <a:pt x="105849" y="20630"/>
                    <a:pt x="109659" y="20630"/>
                  </a:cubicBezTo>
                  <a:cubicBezTo>
                    <a:pt x="112834" y="20630"/>
                    <a:pt x="116644" y="20630"/>
                    <a:pt x="119819" y="20630"/>
                  </a:cubicBezTo>
                  <a:cubicBezTo>
                    <a:pt x="122994" y="20630"/>
                    <a:pt x="126804" y="20630"/>
                    <a:pt x="129979" y="20630"/>
                  </a:cubicBezTo>
                  <a:cubicBezTo>
                    <a:pt x="129979" y="20630"/>
                    <a:pt x="130614" y="20630"/>
                    <a:pt x="130614" y="20630"/>
                  </a:cubicBezTo>
                  <a:cubicBezTo>
                    <a:pt x="138869" y="20630"/>
                    <a:pt x="174429" y="17455"/>
                    <a:pt x="183954" y="16820"/>
                  </a:cubicBezTo>
                  <a:cubicBezTo>
                    <a:pt x="183954" y="16820"/>
                    <a:pt x="184589" y="16820"/>
                    <a:pt x="184589" y="16820"/>
                  </a:cubicBezTo>
                  <a:cubicBezTo>
                    <a:pt x="185859" y="16820"/>
                    <a:pt x="187129" y="16820"/>
                    <a:pt x="187129" y="16820"/>
                  </a:cubicBezTo>
                  <a:cubicBezTo>
                    <a:pt x="187129" y="16820"/>
                    <a:pt x="187129" y="16820"/>
                    <a:pt x="187129" y="16820"/>
                  </a:cubicBezTo>
                  <a:cubicBezTo>
                    <a:pt x="211259" y="14280"/>
                    <a:pt x="234754" y="11105"/>
                    <a:pt x="258884" y="10470"/>
                  </a:cubicBezTo>
                  <a:cubicBezTo>
                    <a:pt x="259519" y="10470"/>
                    <a:pt x="260154" y="10470"/>
                    <a:pt x="261424" y="10470"/>
                  </a:cubicBezTo>
                  <a:cubicBezTo>
                    <a:pt x="279204" y="10470"/>
                    <a:pt x="296984" y="10470"/>
                    <a:pt x="314129" y="12375"/>
                  </a:cubicBezTo>
                  <a:cubicBezTo>
                    <a:pt x="315399" y="12375"/>
                    <a:pt x="316669" y="12375"/>
                    <a:pt x="317939" y="13010"/>
                  </a:cubicBezTo>
                  <a:cubicBezTo>
                    <a:pt x="316034" y="16820"/>
                    <a:pt x="311589" y="16820"/>
                    <a:pt x="307779" y="16820"/>
                  </a:cubicBezTo>
                  <a:cubicBezTo>
                    <a:pt x="302699" y="16820"/>
                    <a:pt x="256344" y="16185"/>
                    <a:pt x="238564" y="17455"/>
                  </a:cubicBezTo>
                  <a:cubicBezTo>
                    <a:pt x="218879" y="19360"/>
                    <a:pt x="199829" y="21900"/>
                    <a:pt x="180144" y="25710"/>
                  </a:cubicBezTo>
                  <a:cubicBezTo>
                    <a:pt x="178874" y="25710"/>
                    <a:pt x="177604" y="26345"/>
                    <a:pt x="176334" y="26345"/>
                  </a:cubicBezTo>
                  <a:cubicBezTo>
                    <a:pt x="175699" y="26345"/>
                    <a:pt x="175699" y="26345"/>
                    <a:pt x="175064" y="26980"/>
                  </a:cubicBezTo>
                  <a:cubicBezTo>
                    <a:pt x="174429" y="27615"/>
                    <a:pt x="173159" y="28250"/>
                    <a:pt x="173794" y="28885"/>
                  </a:cubicBezTo>
                  <a:cubicBezTo>
                    <a:pt x="173794" y="30790"/>
                    <a:pt x="211894" y="28250"/>
                    <a:pt x="248089" y="26980"/>
                  </a:cubicBezTo>
                  <a:cubicBezTo>
                    <a:pt x="284284" y="26345"/>
                    <a:pt x="355404" y="25710"/>
                    <a:pt x="380169" y="25710"/>
                  </a:cubicBezTo>
                  <a:cubicBezTo>
                    <a:pt x="387154" y="25710"/>
                    <a:pt x="389694" y="23805"/>
                    <a:pt x="396044" y="21265"/>
                  </a:cubicBezTo>
                  <a:cubicBezTo>
                    <a:pt x="397314" y="20630"/>
                    <a:pt x="417634" y="10470"/>
                    <a:pt x="418904" y="9835"/>
                  </a:cubicBezTo>
                  <a:cubicBezTo>
                    <a:pt x="420809" y="9835"/>
                    <a:pt x="413824" y="2850"/>
                    <a:pt x="411919" y="1580"/>
                  </a:cubicBezTo>
                </a:path>
              </a:pathLst>
            </a:custGeom>
            <a:solidFill>
              <a:srgbClr val="FFFFFF"/>
            </a:solidFill>
            <a:ln w="6350" cap="flat">
              <a:noFill/>
              <a:prstDash val="solid"/>
              <a:miter/>
            </a:ln>
          </p:spPr>
          <p:txBody>
            <a:bodyPr rtlCol="0" anchor="ctr"/>
            <a:lstStyle/>
            <a:p>
              <a:endParaRPr lang="en-GB"/>
            </a:p>
          </p:txBody>
        </p:sp>
      </p:grpSp>
      <p:grpSp>
        <p:nvGrpSpPr>
          <p:cNvPr id="241" name="Graphic 79"/>
          <p:cNvGrpSpPr/>
          <p:nvPr/>
        </p:nvGrpSpPr>
        <p:grpSpPr>
          <a:xfrm>
            <a:off x="7022464" y="4538344"/>
            <a:ext cx="1321435" cy="156844"/>
            <a:chOff x="7022464" y="4538344"/>
            <a:chExt cx="1321435" cy="156844"/>
          </a:xfrm>
          <a:solidFill>
            <a:srgbClr val="002733"/>
          </a:solidFill>
        </p:grpSpPr>
        <p:sp>
          <p:nvSpPr>
            <p:cNvPr id="242" name="Freeform 241"/>
            <p:cNvSpPr/>
            <p:nvPr/>
          </p:nvSpPr>
          <p:spPr>
            <a:xfrm>
              <a:off x="8241664" y="4540250"/>
              <a:ext cx="102235" cy="152400"/>
            </a:xfrm>
            <a:custGeom>
              <a:avLst/>
              <a:gdLst>
                <a:gd name="connsiteX0" fmla="*/ 25783 w 102235"/>
                <a:gd name="connsiteY0" fmla="*/ -1575 h 152400"/>
                <a:gd name="connsiteX1" fmla="*/ 25783 w 102235"/>
                <a:gd name="connsiteY1" fmla="*/ -1575 h 152400"/>
                <a:gd name="connsiteX2" fmla="*/ -2158 w 102235"/>
                <a:gd name="connsiteY2" fmla="*/ -1575 h 152400"/>
                <a:gd name="connsiteX3" fmla="*/ -2158 w 102235"/>
                <a:gd name="connsiteY3" fmla="*/ 7950 h 152400"/>
                <a:gd name="connsiteX4" fmla="*/ 25783 w 102235"/>
                <a:gd name="connsiteY4" fmla="*/ 7950 h 152400"/>
                <a:gd name="connsiteX5" fmla="*/ 91188 w 102235"/>
                <a:gd name="connsiteY5" fmla="*/ 74625 h 152400"/>
                <a:gd name="connsiteX6" fmla="*/ 25783 w 102235"/>
                <a:gd name="connsiteY6" fmla="*/ 141300 h 152400"/>
                <a:gd name="connsiteX7" fmla="*/ -2158 w 102235"/>
                <a:gd name="connsiteY7" fmla="*/ 141300 h 152400"/>
                <a:gd name="connsiteX8" fmla="*/ -2158 w 102235"/>
                <a:gd name="connsiteY8" fmla="*/ 150825 h 152400"/>
                <a:gd name="connsiteX9" fmla="*/ 25783 w 102235"/>
                <a:gd name="connsiteY9" fmla="*/ 150825 h 152400"/>
                <a:gd name="connsiteX10" fmla="*/ 100078 w 102235"/>
                <a:gd name="connsiteY10" fmla="*/ 74625 h 152400"/>
                <a:gd name="connsiteX11" fmla="*/ 25783 w 102235"/>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152400">
                  <a:moveTo>
                    <a:pt x="25783" y="-1575"/>
                  </a:moveTo>
                  <a:lnTo>
                    <a:pt x="25783" y="-1575"/>
                  </a:lnTo>
                  <a:lnTo>
                    <a:pt x="-2158" y="-1575"/>
                  </a:lnTo>
                  <a:lnTo>
                    <a:pt x="-2158" y="7950"/>
                  </a:lnTo>
                  <a:lnTo>
                    <a:pt x="25783" y="7950"/>
                  </a:lnTo>
                  <a:cubicBezTo>
                    <a:pt x="61978" y="7950"/>
                    <a:pt x="91188" y="37795"/>
                    <a:pt x="91188" y="74625"/>
                  </a:cubicBezTo>
                  <a:cubicBezTo>
                    <a:pt x="91188" y="111455"/>
                    <a:pt x="61978" y="141300"/>
                    <a:pt x="25783" y="141300"/>
                  </a:cubicBezTo>
                  <a:lnTo>
                    <a:pt x="-2158" y="141300"/>
                  </a:lnTo>
                  <a:lnTo>
                    <a:pt x="-2158" y="150825"/>
                  </a:lnTo>
                  <a:lnTo>
                    <a:pt x="25783" y="150825"/>
                  </a:lnTo>
                  <a:cubicBezTo>
                    <a:pt x="67058" y="150825"/>
                    <a:pt x="100078" y="116536"/>
                    <a:pt x="100078" y="74625"/>
                  </a:cubicBezTo>
                  <a:cubicBezTo>
                    <a:pt x="100078" y="32714"/>
                    <a:pt x="67058" y="-1575"/>
                    <a:pt x="25783" y="-1575"/>
                  </a:cubicBezTo>
                  <a:close/>
                </a:path>
              </a:pathLst>
            </a:custGeom>
            <a:solidFill>
              <a:srgbClr val="002733"/>
            </a:solidFill>
            <a:ln w="6350" cap="flat">
              <a:noFill/>
              <a:prstDash val="solid"/>
              <a:miter/>
            </a:ln>
          </p:spPr>
          <p:txBody>
            <a:bodyPr rtlCol="0" anchor="ctr"/>
            <a:lstStyle/>
            <a:p>
              <a:endParaRPr lang="en-GB"/>
            </a:p>
          </p:txBody>
        </p:sp>
        <p:sp>
          <p:nvSpPr>
            <p:cNvPr id="243" name="Freeform 242"/>
            <p:cNvSpPr/>
            <p:nvPr/>
          </p:nvSpPr>
          <p:spPr>
            <a:xfrm>
              <a:off x="822198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4" name="Freeform 243"/>
            <p:cNvSpPr/>
            <p:nvPr/>
          </p:nvSpPr>
          <p:spPr>
            <a:xfrm>
              <a:off x="7982585" y="4640580"/>
              <a:ext cx="59053" cy="8889"/>
            </a:xfrm>
            <a:custGeom>
              <a:avLst/>
              <a:gdLst>
                <a:gd name="connsiteX0" fmla="*/ -2158 w 59053"/>
                <a:gd name="connsiteY0" fmla="*/ -1575 h 8889"/>
                <a:gd name="connsiteX1" fmla="*/ -2158 w 59053"/>
                <a:gd name="connsiteY1" fmla="*/ -1575 h 8889"/>
                <a:gd name="connsiteX2" fmla="*/ 56896 w 59053"/>
                <a:gd name="connsiteY2" fmla="*/ -1575 h 8889"/>
                <a:gd name="connsiteX3" fmla="*/ 56896 w 59053"/>
                <a:gd name="connsiteY3" fmla="*/ 7314 h 8889"/>
                <a:gd name="connsiteX4" fmla="*/ -2158 w 59053"/>
                <a:gd name="connsiteY4" fmla="*/ 7314 h 8889"/>
                <a:gd name="connsiteX5" fmla="*/ -2158 w 59053"/>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3" h="8889">
                  <a:moveTo>
                    <a:pt x="-2158" y="-1575"/>
                  </a:moveTo>
                  <a:lnTo>
                    <a:pt x="-2158" y="-1575"/>
                  </a:lnTo>
                  <a:lnTo>
                    <a:pt x="56896" y="-1575"/>
                  </a:lnTo>
                  <a:lnTo>
                    <a:pt x="56896"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45" name="Freeform 244"/>
            <p:cNvSpPr/>
            <p:nvPr/>
          </p:nvSpPr>
          <p:spPr>
            <a:xfrm>
              <a:off x="7945755"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46" name="Freeform 245"/>
            <p:cNvSpPr/>
            <p:nvPr/>
          </p:nvSpPr>
          <p:spPr>
            <a:xfrm>
              <a:off x="779526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7" name="Freeform 246"/>
            <p:cNvSpPr/>
            <p:nvPr/>
          </p:nvSpPr>
          <p:spPr>
            <a:xfrm>
              <a:off x="7608569"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8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8" y="61291"/>
                  </a:lnTo>
                  <a:lnTo>
                    <a:pt x="5462" y="-1575"/>
                  </a:lnTo>
                  <a:lnTo>
                    <a:pt x="-2158" y="2871"/>
                  </a:lnTo>
                  <a:close/>
                </a:path>
              </a:pathLst>
            </a:custGeom>
            <a:solidFill>
              <a:srgbClr val="002733"/>
            </a:solidFill>
            <a:ln w="6350" cap="flat">
              <a:noFill/>
              <a:prstDash val="solid"/>
              <a:miter/>
            </a:ln>
          </p:spPr>
          <p:txBody>
            <a:bodyPr rtlCol="0" anchor="ctr"/>
            <a:lstStyle/>
            <a:p>
              <a:endParaRPr lang="en-GB"/>
            </a:p>
          </p:txBody>
        </p:sp>
        <p:sp>
          <p:nvSpPr>
            <p:cNvPr id="248" name="Freeform 247"/>
            <p:cNvSpPr/>
            <p:nvPr/>
          </p:nvSpPr>
          <p:spPr>
            <a:xfrm>
              <a:off x="755903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8 w 91440"/>
                <a:gd name="connsiteY5" fmla="*/ 7314 h 149859"/>
                <a:gd name="connsiteX6" fmla="*/ 67692 w 91440"/>
                <a:gd name="connsiteY6" fmla="*/ 12395 h 149859"/>
                <a:gd name="connsiteX7" fmla="*/ 76583 w 91440"/>
                <a:gd name="connsiteY7" fmla="*/ 21920 h 149859"/>
                <a:gd name="connsiteX8" fmla="*/ 79758 w 91440"/>
                <a:gd name="connsiteY8" fmla="*/ 36525 h 149859"/>
                <a:gd name="connsiteX9" fmla="*/ 70233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8 w 91440"/>
                <a:gd name="connsiteY13" fmla="*/ 54304 h 149859"/>
                <a:gd name="connsiteX14" fmla="*/ 89283 w 91440"/>
                <a:gd name="connsiteY14" fmla="*/ 35889 h 149859"/>
                <a:gd name="connsiteX15" fmla="*/ 84838 w 91440"/>
                <a:gd name="connsiteY15" fmla="*/ 16839 h 149859"/>
                <a:gd name="connsiteX16" fmla="*/ 73408 w 91440"/>
                <a:gd name="connsiteY16" fmla="*/ 5409 h 149859"/>
                <a:gd name="connsiteX17" fmla="*/ 58167 w 91440"/>
                <a:gd name="connsiteY17" fmla="*/ -305 h 149859"/>
                <a:gd name="connsiteX18" fmla="*/ 41658 w 91440"/>
                <a:gd name="connsiteY18" fmla="*/ -1575 h 149859"/>
                <a:gd name="connsiteX19" fmla="*/ -2158 w 91440"/>
                <a:gd name="connsiteY19" fmla="*/ -1575 h 149859"/>
                <a:gd name="connsiteX20" fmla="*/ -2158 w 91440"/>
                <a:gd name="connsiteY20" fmla="*/ 148284 h 149859"/>
                <a:gd name="connsiteX21" fmla="*/ 6733 w 91440"/>
                <a:gd name="connsiteY21" fmla="*/ 148284 h 149859"/>
                <a:gd name="connsiteX22" fmla="*/ 6733 w 91440"/>
                <a:gd name="connsiteY22" fmla="*/ 74625 h 149859"/>
                <a:gd name="connsiteX23" fmla="*/ 40388 w 91440"/>
                <a:gd name="connsiteY23" fmla="*/ 74625 h 149859"/>
                <a:gd name="connsiteX24" fmla="*/ 44833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3" y="6679"/>
                    <a:pt x="54358" y="7314"/>
                  </a:cubicBezTo>
                  <a:cubicBezTo>
                    <a:pt x="59438" y="8584"/>
                    <a:pt x="63883" y="9854"/>
                    <a:pt x="67692" y="12395"/>
                  </a:cubicBezTo>
                  <a:cubicBezTo>
                    <a:pt x="71503" y="14300"/>
                    <a:pt x="74042" y="17475"/>
                    <a:pt x="76583" y="21920"/>
                  </a:cubicBezTo>
                  <a:cubicBezTo>
                    <a:pt x="78488" y="25729"/>
                    <a:pt x="79758" y="30809"/>
                    <a:pt x="79758" y="36525"/>
                  </a:cubicBezTo>
                  <a:cubicBezTo>
                    <a:pt x="79758" y="46684"/>
                    <a:pt x="77217" y="53670"/>
                    <a:pt x="70233" y="58750"/>
                  </a:cubicBezTo>
                  <a:cubicBezTo>
                    <a:pt x="63883" y="63195"/>
                    <a:pt x="53722" y="66370"/>
                    <a:pt x="41022" y="66370"/>
                  </a:cubicBezTo>
                  <a:close/>
                  <a:moveTo>
                    <a:pt x="74042" y="65734"/>
                  </a:moveTo>
                  <a:lnTo>
                    <a:pt x="74042" y="65734"/>
                  </a:lnTo>
                  <a:cubicBezTo>
                    <a:pt x="78488" y="63195"/>
                    <a:pt x="82297" y="58750"/>
                    <a:pt x="84838" y="54304"/>
                  </a:cubicBezTo>
                  <a:cubicBezTo>
                    <a:pt x="87378" y="49859"/>
                    <a:pt x="89283" y="43509"/>
                    <a:pt x="89283" y="35889"/>
                  </a:cubicBezTo>
                  <a:cubicBezTo>
                    <a:pt x="89283" y="28270"/>
                    <a:pt x="88013" y="21920"/>
                    <a:pt x="84838" y="16839"/>
                  </a:cubicBezTo>
                  <a:cubicBezTo>
                    <a:pt x="82297" y="11759"/>
                    <a:pt x="78488" y="7950"/>
                    <a:pt x="73408" y="5409"/>
                  </a:cubicBezTo>
                  <a:cubicBezTo>
                    <a:pt x="68963" y="2870"/>
                    <a:pt x="64517" y="329"/>
                    <a:pt x="58167" y="-305"/>
                  </a:cubicBezTo>
                  <a:cubicBezTo>
                    <a:pt x="53088" y="-1575"/>
                    <a:pt x="46738" y="-1575"/>
                    <a:pt x="41658" y="-1575"/>
                  </a:cubicBezTo>
                  <a:lnTo>
                    <a:pt x="-2158" y="-1575"/>
                  </a:lnTo>
                  <a:lnTo>
                    <a:pt x="-2158" y="148284"/>
                  </a:lnTo>
                  <a:lnTo>
                    <a:pt x="6733" y="148284"/>
                  </a:lnTo>
                  <a:lnTo>
                    <a:pt x="6733" y="74625"/>
                  </a:lnTo>
                  <a:lnTo>
                    <a:pt x="40388" y="74625"/>
                  </a:lnTo>
                  <a:lnTo>
                    <a:pt x="44833" y="73989"/>
                  </a:lnTo>
                  <a:cubicBezTo>
                    <a:pt x="49913" y="73989"/>
                    <a:pt x="54992" y="73354"/>
                    <a:pt x="60072" y="72084"/>
                  </a:cubicBezTo>
                  <a:cubicBezTo>
                    <a:pt x="64517" y="70814"/>
                    <a:pt x="69597" y="68909"/>
                    <a:pt x="74042" y="65734"/>
                  </a:cubicBezTo>
                  <a:close/>
                </a:path>
              </a:pathLst>
            </a:custGeom>
            <a:solidFill>
              <a:srgbClr val="002733"/>
            </a:solidFill>
            <a:ln w="6350" cap="flat">
              <a:noFill/>
              <a:prstDash val="solid"/>
              <a:miter/>
            </a:ln>
          </p:spPr>
          <p:txBody>
            <a:bodyPr rtlCol="0" anchor="ctr"/>
            <a:lstStyle/>
            <a:p>
              <a:endParaRPr lang="en-GB"/>
            </a:p>
          </p:txBody>
        </p:sp>
        <p:sp>
          <p:nvSpPr>
            <p:cNvPr id="249" name="Freeform 248"/>
            <p:cNvSpPr/>
            <p:nvPr/>
          </p:nvSpPr>
          <p:spPr>
            <a:xfrm>
              <a:off x="7320914"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50" name="Freeform 249"/>
            <p:cNvSpPr/>
            <p:nvPr/>
          </p:nvSpPr>
          <p:spPr>
            <a:xfrm>
              <a:off x="7282180"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51" name="Freeform 250"/>
            <p:cNvSpPr/>
            <p:nvPr/>
          </p:nvSpPr>
          <p:spPr>
            <a:xfrm>
              <a:off x="7022464" y="4538344"/>
              <a:ext cx="135255" cy="156844"/>
            </a:xfrm>
            <a:custGeom>
              <a:avLst/>
              <a:gdLst>
                <a:gd name="connsiteX0" fmla="*/ 73408 w 135255"/>
                <a:gd name="connsiteY0" fmla="*/ 6680 h 156844"/>
                <a:gd name="connsiteX1" fmla="*/ 73408 w 135255"/>
                <a:gd name="connsiteY1" fmla="*/ 6680 h 156844"/>
                <a:gd name="connsiteX2" fmla="*/ 126747 w 135255"/>
                <a:gd name="connsiteY2" fmla="*/ 35255 h 156844"/>
                <a:gd name="connsiteX3" fmla="*/ 133097 w 135255"/>
                <a:gd name="connsiteY3" fmla="*/ 29541 h 156844"/>
                <a:gd name="connsiteX4" fmla="*/ 72772 w 135255"/>
                <a:gd name="connsiteY4" fmla="*/ -1575 h 156844"/>
                <a:gd name="connsiteX5" fmla="*/ -2158 w 135255"/>
                <a:gd name="connsiteY5" fmla="*/ 76530 h 156844"/>
                <a:gd name="connsiteX6" fmla="*/ 72772 w 135255"/>
                <a:gd name="connsiteY6" fmla="*/ 155270 h 156844"/>
                <a:gd name="connsiteX7" fmla="*/ 133097 w 135255"/>
                <a:gd name="connsiteY7" fmla="*/ 123520 h 156844"/>
                <a:gd name="connsiteX8" fmla="*/ 126747 w 135255"/>
                <a:gd name="connsiteY8" fmla="*/ 117805 h 156844"/>
                <a:gd name="connsiteX9" fmla="*/ 73408 w 135255"/>
                <a:gd name="connsiteY9" fmla="*/ 146380 h 156844"/>
                <a:gd name="connsiteX10" fmla="*/ 6733 w 135255"/>
                <a:gd name="connsiteY10" fmla="*/ 76530 h 156844"/>
                <a:gd name="connsiteX11" fmla="*/ 73408 w 135255"/>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5" h="156844">
                  <a:moveTo>
                    <a:pt x="73408" y="6680"/>
                  </a:moveTo>
                  <a:lnTo>
                    <a:pt x="73408" y="6680"/>
                  </a:lnTo>
                  <a:cubicBezTo>
                    <a:pt x="95633" y="6680"/>
                    <a:pt x="115317" y="18111"/>
                    <a:pt x="126747" y="35255"/>
                  </a:cubicBezTo>
                  <a:lnTo>
                    <a:pt x="133097" y="29541"/>
                  </a:lnTo>
                  <a:cubicBezTo>
                    <a:pt x="119763" y="10491"/>
                    <a:pt x="97538" y="-1575"/>
                    <a:pt x="72772" y="-1575"/>
                  </a:cubicBezTo>
                  <a:cubicBezTo>
                    <a:pt x="31497" y="-1575"/>
                    <a:pt x="-2158" y="33350"/>
                    <a:pt x="-2158" y="76530"/>
                  </a:cubicBezTo>
                  <a:cubicBezTo>
                    <a:pt x="-2158" y="119711"/>
                    <a:pt x="31497" y="155270"/>
                    <a:pt x="72772" y="155270"/>
                  </a:cubicBezTo>
                  <a:cubicBezTo>
                    <a:pt x="97538" y="155270"/>
                    <a:pt x="119763" y="143205"/>
                    <a:pt x="133097" y="123520"/>
                  </a:cubicBezTo>
                  <a:lnTo>
                    <a:pt x="126747" y="117805"/>
                  </a:lnTo>
                  <a:cubicBezTo>
                    <a:pt x="114683" y="135586"/>
                    <a:pt x="94997" y="146380"/>
                    <a:pt x="73408" y="146380"/>
                  </a:cubicBezTo>
                  <a:cubicBezTo>
                    <a:pt x="36578" y="146380"/>
                    <a:pt x="6733" y="115266"/>
                    <a:pt x="6733" y="76530"/>
                  </a:cubicBezTo>
                  <a:cubicBezTo>
                    <a:pt x="6733" y="37795"/>
                    <a:pt x="36578" y="6680"/>
                    <a:pt x="73408" y="6680"/>
                  </a:cubicBezTo>
                  <a:close/>
                </a:path>
              </a:pathLst>
            </a:custGeom>
            <a:solidFill>
              <a:srgbClr val="002733"/>
            </a:solidFill>
            <a:ln w="6350" cap="flat">
              <a:noFill/>
              <a:prstDash val="solid"/>
              <a:miter/>
            </a:ln>
          </p:spPr>
          <p:txBody>
            <a:bodyPr rtlCol="0" anchor="ctr"/>
            <a:lstStyle/>
            <a:p>
              <a:endParaRPr lang="en-GB"/>
            </a:p>
          </p:txBody>
        </p:sp>
      </p:grpSp>
      <p:grpSp>
        <p:nvGrpSpPr>
          <p:cNvPr id="263" name="Graphic 79"/>
          <p:cNvGrpSpPr/>
          <p:nvPr/>
        </p:nvGrpSpPr>
        <p:grpSpPr>
          <a:xfrm>
            <a:off x="8832850" y="1952625"/>
            <a:ext cx="876582" cy="575151"/>
            <a:chOff x="8832850" y="1952625"/>
            <a:chExt cx="876582" cy="575151"/>
          </a:xfrm>
          <a:solidFill>
            <a:srgbClr val="002733"/>
          </a:solidFill>
        </p:grpSpPr>
        <p:sp>
          <p:nvSpPr>
            <p:cNvPr id="264" name="Freeform 263"/>
            <p:cNvSpPr/>
            <p:nvPr/>
          </p:nvSpPr>
          <p:spPr>
            <a:xfrm>
              <a:off x="9014460" y="1952625"/>
              <a:ext cx="510539" cy="395605"/>
            </a:xfrm>
            <a:custGeom>
              <a:avLst/>
              <a:gdLst>
                <a:gd name="connsiteX0" fmla="*/ -2035 w 510539"/>
                <a:gd name="connsiteY0" fmla="*/ -681 h 395605"/>
                <a:gd name="connsiteX1" fmla="*/ -2035 w 510539"/>
                <a:gd name="connsiteY1" fmla="*/ -681 h 395605"/>
                <a:gd name="connsiteX2" fmla="*/ 248790 w 510539"/>
                <a:gd name="connsiteY2" fmla="*/ 87584 h 395605"/>
                <a:gd name="connsiteX3" fmla="*/ 257679 w 510539"/>
                <a:gd name="connsiteY3" fmla="*/ 87584 h 395605"/>
                <a:gd name="connsiteX4" fmla="*/ 508504 w 510539"/>
                <a:gd name="connsiteY4" fmla="*/ -681 h 395605"/>
                <a:gd name="connsiteX5" fmla="*/ 418335 w 510539"/>
                <a:gd name="connsiteY5" fmla="*/ 141559 h 395605"/>
                <a:gd name="connsiteX6" fmla="*/ 375790 w 510539"/>
                <a:gd name="connsiteY6" fmla="*/ 124414 h 395605"/>
                <a:gd name="connsiteX7" fmla="*/ 401190 w 510539"/>
                <a:gd name="connsiteY7" fmla="*/ 81234 h 395605"/>
                <a:gd name="connsiteX8" fmla="*/ 319910 w 510539"/>
                <a:gd name="connsiteY8" fmla="*/ 121874 h 395605"/>
                <a:gd name="connsiteX9" fmla="*/ 375790 w 510539"/>
                <a:gd name="connsiteY9" fmla="*/ 143464 h 395605"/>
                <a:gd name="connsiteX10" fmla="*/ 398015 w 510539"/>
                <a:gd name="connsiteY10" fmla="*/ 168229 h 395605"/>
                <a:gd name="connsiteX11" fmla="*/ 384044 w 510539"/>
                <a:gd name="connsiteY11" fmla="*/ 203789 h 395605"/>
                <a:gd name="connsiteX12" fmla="*/ 262760 w 510539"/>
                <a:gd name="connsiteY12" fmla="*/ 394924 h 395605"/>
                <a:gd name="connsiteX13" fmla="*/ 263394 w 510539"/>
                <a:gd name="connsiteY13" fmla="*/ 344759 h 395605"/>
                <a:gd name="connsiteX14" fmla="*/ 309749 w 510539"/>
                <a:gd name="connsiteY14" fmla="*/ 191089 h 395605"/>
                <a:gd name="connsiteX15" fmla="*/ 298319 w 510539"/>
                <a:gd name="connsiteY15" fmla="*/ 176484 h 395605"/>
                <a:gd name="connsiteX16" fmla="*/ 252599 w 510539"/>
                <a:gd name="connsiteY16" fmla="*/ 154894 h 395605"/>
                <a:gd name="connsiteX17" fmla="*/ 205610 w 510539"/>
                <a:gd name="connsiteY17" fmla="*/ 177754 h 395605"/>
                <a:gd name="connsiteX18" fmla="*/ 196719 w 510539"/>
                <a:gd name="connsiteY18" fmla="*/ 190454 h 395605"/>
                <a:gd name="connsiteX19" fmla="*/ 243074 w 510539"/>
                <a:gd name="connsiteY19" fmla="*/ 344124 h 395605"/>
                <a:gd name="connsiteX20" fmla="*/ 243074 w 510539"/>
                <a:gd name="connsiteY20" fmla="*/ 394924 h 395605"/>
                <a:gd name="connsiteX21" fmla="*/ 123060 w 510539"/>
                <a:gd name="connsiteY21" fmla="*/ 205694 h 395605"/>
                <a:gd name="connsiteX22" fmla="*/ 107819 w 510539"/>
                <a:gd name="connsiteY22" fmla="*/ 167594 h 395605"/>
                <a:gd name="connsiteX23" fmla="*/ 130044 w 510539"/>
                <a:gd name="connsiteY23" fmla="*/ 142829 h 395605"/>
                <a:gd name="connsiteX24" fmla="*/ 185924 w 510539"/>
                <a:gd name="connsiteY24" fmla="*/ 121239 h 395605"/>
                <a:gd name="connsiteX25" fmla="*/ 104644 w 510539"/>
                <a:gd name="connsiteY25" fmla="*/ 80599 h 395605"/>
                <a:gd name="connsiteX26" fmla="*/ 130044 w 510539"/>
                <a:gd name="connsiteY26" fmla="*/ 123779 h 395605"/>
                <a:gd name="connsiteX27" fmla="*/ 86865 w 510539"/>
                <a:gd name="connsiteY27" fmla="*/ 140924 h 395605"/>
                <a:gd name="connsiteX28" fmla="*/ -2035 w 510539"/>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39" h="395605">
                  <a:moveTo>
                    <a:pt x="-2035" y="-681"/>
                  </a:moveTo>
                  <a:lnTo>
                    <a:pt x="-2035" y="-681"/>
                  </a:lnTo>
                  <a:cubicBezTo>
                    <a:pt x="81785" y="28529"/>
                    <a:pt x="164969" y="59009"/>
                    <a:pt x="248790" y="87584"/>
                  </a:cubicBezTo>
                  <a:cubicBezTo>
                    <a:pt x="251965" y="88854"/>
                    <a:pt x="254504" y="88854"/>
                    <a:pt x="257679" y="87584"/>
                  </a:cubicBezTo>
                  <a:cubicBezTo>
                    <a:pt x="341499" y="59009"/>
                    <a:pt x="424685" y="28529"/>
                    <a:pt x="508504" y="-681"/>
                  </a:cubicBezTo>
                  <a:cubicBezTo>
                    <a:pt x="478660" y="46944"/>
                    <a:pt x="448815" y="93934"/>
                    <a:pt x="418335" y="141559"/>
                  </a:cubicBezTo>
                  <a:cubicBezTo>
                    <a:pt x="404365" y="135209"/>
                    <a:pt x="389760" y="130129"/>
                    <a:pt x="375790" y="124414"/>
                  </a:cubicBezTo>
                  <a:cubicBezTo>
                    <a:pt x="384044" y="109809"/>
                    <a:pt x="392935" y="95839"/>
                    <a:pt x="401190" y="81234"/>
                  </a:cubicBezTo>
                  <a:cubicBezTo>
                    <a:pt x="374519" y="95204"/>
                    <a:pt x="346579" y="107904"/>
                    <a:pt x="319910" y="121874"/>
                  </a:cubicBezTo>
                  <a:cubicBezTo>
                    <a:pt x="338960" y="128859"/>
                    <a:pt x="357374" y="135844"/>
                    <a:pt x="375790" y="143464"/>
                  </a:cubicBezTo>
                  <a:cubicBezTo>
                    <a:pt x="386585" y="147909"/>
                    <a:pt x="397379" y="156164"/>
                    <a:pt x="398015" y="168229"/>
                  </a:cubicBezTo>
                  <a:cubicBezTo>
                    <a:pt x="399919" y="181564"/>
                    <a:pt x="390394" y="192994"/>
                    <a:pt x="384044" y="203789"/>
                  </a:cubicBezTo>
                  <a:cubicBezTo>
                    <a:pt x="343404" y="267289"/>
                    <a:pt x="303399" y="331424"/>
                    <a:pt x="262760" y="394924"/>
                  </a:cubicBezTo>
                  <a:cubicBezTo>
                    <a:pt x="262760" y="377779"/>
                    <a:pt x="260854" y="361269"/>
                    <a:pt x="263394" y="344759"/>
                  </a:cubicBezTo>
                  <a:cubicBezTo>
                    <a:pt x="279269" y="293324"/>
                    <a:pt x="295144" y="242524"/>
                    <a:pt x="309749" y="191089"/>
                  </a:cubicBezTo>
                  <a:cubicBezTo>
                    <a:pt x="312924" y="183469"/>
                    <a:pt x="304035" y="179024"/>
                    <a:pt x="298319" y="176484"/>
                  </a:cubicBezTo>
                  <a:cubicBezTo>
                    <a:pt x="283079" y="169499"/>
                    <a:pt x="268474" y="160609"/>
                    <a:pt x="252599" y="154894"/>
                  </a:cubicBezTo>
                  <a:cubicBezTo>
                    <a:pt x="236724" y="161879"/>
                    <a:pt x="221485" y="170134"/>
                    <a:pt x="205610" y="177754"/>
                  </a:cubicBezTo>
                  <a:cubicBezTo>
                    <a:pt x="200529" y="179659"/>
                    <a:pt x="194179" y="184104"/>
                    <a:pt x="196719" y="190454"/>
                  </a:cubicBezTo>
                  <a:cubicBezTo>
                    <a:pt x="211324" y="241889"/>
                    <a:pt x="227199" y="293324"/>
                    <a:pt x="243074" y="344124"/>
                  </a:cubicBezTo>
                  <a:cubicBezTo>
                    <a:pt x="244979" y="360634"/>
                    <a:pt x="243074" y="377779"/>
                    <a:pt x="243074" y="394924"/>
                  </a:cubicBezTo>
                  <a:cubicBezTo>
                    <a:pt x="203069" y="332059"/>
                    <a:pt x="163065" y="268559"/>
                    <a:pt x="123060" y="205694"/>
                  </a:cubicBezTo>
                  <a:cubicBezTo>
                    <a:pt x="116074" y="194264"/>
                    <a:pt x="105915" y="182199"/>
                    <a:pt x="107819" y="167594"/>
                  </a:cubicBezTo>
                  <a:cubicBezTo>
                    <a:pt x="108454" y="155529"/>
                    <a:pt x="119885" y="147274"/>
                    <a:pt x="130044" y="142829"/>
                  </a:cubicBezTo>
                  <a:cubicBezTo>
                    <a:pt x="148460" y="135209"/>
                    <a:pt x="167510" y="128224"/>
                    <a:pt x="185924" y="121239"/>
                  </a:cubicBezTo>
                  <a:cubicBezTo>
                    <a:pt x="159254" y="107269"/>
                    <a:pt x="131949" y="94569"/>
                    <a:pt x="104644" y="80599"/>
                  </a:cubicBezTo>
                  <a:cubicBezTo>
                    <a:pt x="112899" y="95204"/>
                    <a:pt x="121790" y="109174"/>
                    <a:pt x="130044" y="123779"/>
                  </a:cubicBezTo>
                  <a:cubicBezTo>
                    <a:pt x="115440" y="129494"/>
                    <a:pt x="101469" y="134574"/>
                    <a:pt x="86865" y="140924"/>
                  </a:cubicBezTo>
                  <a:cubicBezTo>
                    <a:pt x="57654" y="93934"/>
                    <a:pt x="27810" y="46309"/>
                    <a:pt x="-2035" y="-681"/>
                  </a:cubicBezTo>
                  <a:close/>
                </a:path>
              </a:pathLst>
            </a:custGeom>
            <a:solidFill>
              <a:srgbClr val="002733"/>
            </a:solidFill>
            <a:ln w="6350" cap="flat">
              <a:noFill/>
              <a:prstDash val="solid"/>
              <a:miter/>
            </a:ln>
          </p:spPr>
          <p:txBody>
            <a:bodyPr rtlCol="0" anchor="ctr"/>
            <a:lstStyle/>
            <a:p>
              <a:endParaRPr lang="en-GB"/>
            </a:p>
          </p:txBody>
        </p:sp>
        <p:sp>
          <p:nvSpPr>
            <p:cNvPr id="265" name="Freeform 264"/>
            <p:cNvSpPr/>
            <p:nvPr/>
          </p:nvSpPr>
          <p:spPr>
            <a:xfrm>
              <a:off x="9190989" y="2444750"/>
              <a:ext cx="159483" cy="82550"/>
            </a:xfrm>
            <a:custGeom>
              <a:avLst/>
              <a:gdLst>
                <a:gd name="connsiteX0" fmla="*/ 23365 w 159483"/>
                <a:gd name="connsiteY0" fmla="*/ 17734 h 82550"/>
                <a:gd name="connsiteX1" fmla="*/ 23365 w 159483"/>
                <a:gd name="connsiteY1" fmla="*/ 17734 h 82550"/>
                <a:gd name="connsiteX2" fmla="*/ 24001 w 159483"/>
                <a:gd name="connsiteY2" fmla="*/ 36784 h 82550"/>
                <a:gd name="connsiteX3" fmla="*/ 130681 w 159483"/>
                <a:gd name="connsiteY3" fmla="*/ 36149 h 82550"/>
                <a:gd name="connsiteX4" fmla="*/ 133856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1 w 159483"/>
                <a:gd name="connsiteY9" fmla="*/ -681 h 82550"/>
                <a:gd name="connsiteX10" fmla="*/ 156715 w 159483"/>
                <a:gd name="connsiteY10" fmla="*/ 13289 h 82550"/>
                <a:gd name="connsiteX11" fmla="*/ 156715 w 159483"/>
                <a:gd name="connsiteY11" fmla="*/ 41229 h 82550"/>
                <a:gd name="connsiteX12" fmla="*/ 135761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1" y="36784"/>
                  </a:cubicBezTo>
                  <a:cubicBezTo>
                    <a:pt x="59561" y="36149"/>
                    <a:pt x="95120" y="36784"/>
                    <a:pt x="130681" y="36149"/>
                  </a:cubicBezTo>
                  <a:cubicBezTo>
                    <a:pt x="137031" y="32339"/>
                    <a:pt x="132586" y="24084"/>
                    <a:pt x="133856" y="17734"/>
                  </a:cubicBezTo>
                  <a:cubicBezTo>
                    <a:pt x="97026" y="17099"/>
                    <a:pt x="60195" y="18369"/>
                    <a:pt x="23365" y="17734"/>
                  </a:cubicBezTo>
                  <a:close/>
                  <a:moveTo>
                    <a:pt x="-2035" y="81869"/>
                  </a:moveTo>
                  <a:lnTo>
                    <a:pt x="-2035" y="81869"/>
                  </a:lnTo>
                  <a:cubicBezTo>
                    <a:pt x="-2035" y="54564"/>
                    <a:pt x="-2035" y="26624"/>
                    <a:pt x="-2035" y="-681"/>
                  </a:cubicBezTo>
                  <a:cubicBezTo>
                    <a:pt x="44320" y="-681"/>
                    <a:pt x="90040" y="-681"/>
                    <a:pt x="135761" y="-681"/>
                  </a:cubicBezTo>
                  <a:cubicBezTo>
                    <a:pt x="144651" y="-681"/>
                    <a:pt x="155445" y="3764"/>
                    <a:pt x="156715" y="13289"/>
                  </a:cubicBezTo>
                  <a:cubicBezTo>
                    <a:pt x="157986" y="22179"/>
                    <a:pt x="157351" y="32339"/>
                    <a:pt x="156715" y="41229"/>
                  </a:cubicBezTo>
                  <a:cubicBezTo>
                    <a:pt x="156081" y="51389"/>
                    <a:pt x="145286" y="57739"/>
                    <a:pt x="135761" y="57104"/>
                  </a:cubicBezTo>
                  <a:cubicBezTo>
                    <a:pt x="98295" y="57104"/>
                    <a:pt x="60831" y="57104"/>
                    <a:pt x="23365" y="57104"/>
                  </a:cubicBezTo>
                  <a:cubicBezTo>
                    <a:pt x="23365" y="65359"/>
                    <a:pt x="23365" y="73614"/>
                    <a:pt x="23365" y="81869"/>
                  </a:cubicBezTo>
                  <a:cubicBezTo>
                    <a:pt x="15111" y="81869"/>
                    <a:pt x="6856" y="81869"/>
                    <a:pt x="-2035" y="81869"/>
                  </a:cubicBezTo>
                  <a:close/>
                </a:path>
              </a:pathLst>
            </a:custGeom>
            <a:solidFill>
              <a:srgbClr val="002733"/>
            </a:solidFill>
            <a:ln w="6350" cap="flat">
              <a:noFill/>
              <a:prstDash val="solid"/>
              <a:miter/>
            </a:ln>
          </p:spPr>
          <p:txBody>
            <a:bodyPr rtlCol="0" anchor="ctr"/>
            <a:lstStyle/>
            <a:p>
              <a:endParaRPr lang="en-GB"/>
            </a:p>
          </p:txBody>
        </p:sp>
        <p:sp>
          <p:nvSpPr>
            <p:cNvPr id="266" name="Freeform 265"/>
            <p:cNvSpPr/>
            <p:nvPr/>
          </p:nvSpPr>
          <p:spPr>
            <a:xfrm>
              <a:off x="88328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1 w 156844"/>
                <a:gd name="connsiteY5" fmla="*/ 22179 h 82005"/>
                <a:gd name="connsiteX6" fmla="*/ 20826 w 156844"/>
                <a:gd name="connsiteY6" fmla="*/ 24719 h 82005"/>
                <a:gd name="connsiteX7" fmla="*/ 20826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79" y="3764"/>
                    <a:pt x="13204" y="-681"/>
                    <a:pt x="21460" y="-681"/>
                  </a:cubicBezTo>
                  <a:cubicBezTo>
                    <a:pt x="65910" y="-681"/>
                    <a:pt x="110360" y="-681"/>
                    <a:pt x="154810" y="-681"/>
                  </a:cubicBezTo>
                  <a:cubicBezTo>
                    <a:pt x="154810" y="6939"/>
                    <a:pt x="154810" y="14559"/>
                    <a:pt x="154810" y="22179"/>
                  </a:cubicBezTo>
                  <a:cubicBezTo>
                    <a:pt x="110995" y="22179"/>
                    <a:pt x="67815" y="21544"/>
                    <a:pt x="24001" y="22179"/>
                  </a:cubicBezTo>
                  <a:cubicBezTo>
                    <a:pt x="23365" y="22814"/>
                    <a:pt x="21460" y="24084"/>
                    <a:pt x="20826" y="24719"/>
                  </a:cubicBezTo>
                  <a:cubicBezTo>
                    <a:pt x="20190" y="35514"/>
                    <a:pt x="20826" y="46309"/>
                    <a:pt x="20826" y="57104"/>
                  </a:cubicBezTo>
                  <a:cubicBezTo>
                    <a:pt x="24635" y="57739"/>
                    <a:pt x="28445" y="59009"/>
                    <a:pt x="32890" y="59009"/>
                  </a:cubicBezTo>
                  <a:cubicBezTo>
                    <a:pt x="73529" y="59009"/>
                    <a:pt x="114170" y="59009"/>
                    <a:pt x="154810" y="59009"/>
                  </a:cubicBezTo>
                  <a:cubicBezTo>
                    <a:pt x="154810" y="65994"/>
                    <a:pt x="154810" y="73614"/>
                    <a:pt x="154810" y="80599"/>
                  </a:cubicBezTo>
                  <a:cubicBezTo>
                    <a:pt x="112265" y="81869"/>
                    <a:pt x="69720" y="80599"/>
                    <a:pt x="26540" y="81234"/>
                  </a:cubicBezTo>
                  <a:cubicBezTo>
                    <a:pt x="16379" y="81869"/>
                    <a:pt x="3045" y="79329"/>
                    <a:pt x="-765" y="68534"/>
                  </a:cubicBezTo>
                  <a:cubicBezTo>
                    <a:pt x="-2671" y="59009"/>
                    <a:pt x="-1399" y="48849"/>
                    <a:pt x="-2035" y="38689"/>
                  </a:cubicBezTo>
                  <a:cubicBezTo>
                    <a:pt x="-1399" y="30434"/>
                    <a:pt x="-2671" y="20909"/>
                    <a:pt x="-130" y="12019"/>
                  </a:cubicBezTo>
                  <a:close/>
                </a:path>
              </a:pathLst>
            </a:custGeom>
            <a:solidFill>
              <a:srgbClr val="002733"/>
            </a:solidFill>
            <a:ln w="6350" cap="flat">
              <a:noFill/>
              <a:prstDash val="solid"/>
              <a:miter/>
            </a:ln>
          </p:spPr>
          <p:txBody>
            <a:bodyPr rtlCol="0" anchor="ctr"/>
            <a:lstStyle/>
            <a:p>
              <a:endParaRPr lang="en-GB"/>
            </a:p>
          </p:txBody>
        </p:sp>
        <p:sp>
          <p:nvSpPr>
            <p:cNvPr id="267" name="Freeform 266"/>
            <p:cNvSpPr/>
            <p:nvPr/>
          </p:nvSpPr>
          <p:spPr>
            <a:xfrm>
              <a:off x="9011876" y="2444115"/>
              <a:ext cx="160063" cy="82733"/>
            </a:xfrm>
            <a:custGeom>
              <a:avLst/>
              <a:gdLst>
                <a:gd name="connsiteX0" fmla="*/ -1991 w 160063"/>
                <a:gd name="connsiteY0" fmla="*/ 61549 h 82733"/>
                <a:gd name="connsiteX1" fmla="*/ -1991 w 160063"/>
                <a:gd name="connsiteY1" fmla="*/ 61549 h 82733"/>
                <a:gd name="connsiteX2" fmla="*/ -1991 w 160063"/>
                <a:gd name="connsiteY2" fmla="*/ -681 h 82733"/>
                <a:gd name="connsiteX3" fmla="*/ 25950 w 160063"/>
                <a:gd name="connsiteY3" fmla="*/ -681 h 82733"/>
                <a:gd name="connsiteX4" fmla="*/ 26584 w 160063"/>
                <a:gd name="connsiteY4" fmla="*/ 59009 h 82733"/>
                <a:gd name="connsiteX5" fmla="*/ 129453 w 160063"/>
                <a:gd name="connsiteY5" fmla="*/ 59009 h 82733"/>
                <a:gd name="connsiteX6" fmla="*/ 130089 w 160063"/>
                <a:gd name="connsiteY6" fmla="*/ -681 h 82733"/>
                <a:gd name="connsiteX7" fmla="*/ 158028 w 160063"/>
                <a:gd name="connsiteY7" fmla="*/ -681 h 82733"/>
                <a:gd name="connsiteX8" fmla="*/ 158028 w 160063"/>
                <a:gd name="connsiteY8" fmla="*/ 61549 h 82733"/>
                <a:gd name="connsiteX9" fmla="*/ 136439 w 160063"/>
                <a:gd name="connsiteY9" fmla="*/ 81869 h 82733"/>
                <a:gd name="connsiteX10" fmla="*/ 39919 w 160063"/>
                <a:gd name="connsiteY10" fmla="*/ 81869 h 82733"/>
                <a:gd name="connsiteX11" fmla="*/ 11978 w 160063"/>
                <a:gd name="connsiteY11" fmla="*/ 79964 h 82733"/>
                <a:gd name="connsiteX12" fmla="*/ -1991 w 160063"/>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3" h="82733">
                  <a:moveTo>
                    <a:pt x="-1991" y="61549"/>
                  </a:moveTo>
                  <a:lnTo>
                    <a:pt x="-1991" y="61549"/>
                  </a:lnTo>
                  <a:cubicBezTo>
                    <a:pt x="-1991" y="41229"/>
                    <a:pt x="-1991" y="20274"/>
                    <a:pt x="-1991" y="-681"/>
                  </a:cubicBezTo>
                  <a:cubicBezTo>
                    <a:pt x="7534" y="-681"/>
                    <a:pt x="16425" y="-681"/>
                    <a:pt x="25950" y="-681"/>
                  </a:cubicBezTo>
                  <a:cubicBezTo>
                    <a:pt x="26584" y="19004"/>
                    <a:pt x="25314" y="39324"/>
                    <a:pt x="26584" y="59009"/>
                  </a:cubicBezTo>
                  <a:cubicBezTo>
                    <a:pt x="60875" y="59644"/>
                    <a:pt x="95164" y="59009"/>
                    <a:pt x="129453" y="59009"/>
                  </a:cubicBezTo>
                  <a:cubicBezTo>
                    <a:pt x="130725" y="39324"/>
                    <a:pt x="130089" y="19004"/>
                    <a:pt x="130089" y="-681"/>
                  </a:cubicBezTo>
                  <a:cubicBezTo>
                    <a:pt x="139614" y="-681"/>
                    <a:pt x="148503" y="-681"/>
                    <a:pt x="158028" y="-681"/>
                  </a:cubicBezTo>
                  <a:cubicBezTo>
                    <a:pt x="158028" y="19639"/>
                    <a:pt x="158028" y="40594"/>
                    <a:pt x="158028" y="61549"/>
                  </a:cubicBezTo>
                  <a:cubicBezTo>
                    <a:pt x="158028" y="72344"/>
                    <a:pt x="147234" y="81869"/>
                    <a:pt x="136439" y="81869"/>
                  </a:cubicBezTo>
                  <a:cubicBezTo>
                    <a:pt x="104053" y="82504"/>
                    <a:pt x="72303" y="81234"/>
                    <a:pt x="39919" y="81869"/>
                  </a:cubicBezTo>
                  <a:cubicBezTo>
                    <a:pt x="30394" y="81869"/>
                    <a:pt x="20869" y="82504"/>
                    <a:pt x="11978" y="79964"/>
                  </a:cubicBezTo>
                  <a:cubicBezTo>
                    <a:pt x="3725" y="77424"/>
                    <a:pt x="-2625" y="70439"/>
                    <a:pt x="-1991" y="61549"/>
                  </a:cubicBezTo>
                  <a:close/>
                </a:path>
              </a:pathLst>
            </a:custGeom>
            <a:solidFill>
              <a:srgbClr val="002733"/>
            </a:solidFill>
            <a:ln w="6350" cap="flat">
              <a:noFill/>
              <a:prstDash val="solid"/>
              <a:miter/>
            </a:ln>
          </p:spPr>
          <p:txBody>
            <a:bodyPr rtlCol="0" anchor="ctr"/>
            <a:lstStyle/>
            <a:p>
              <a:endParaRPr lang="en-GB"/>
            </a:p>
          </p:txBody>
        </p:sp>
        <p:sp>
          <p:nvSpPr>
            <p:cNvPr id="268" name="Freeform 267"/>
            <p:cNvSpPr/>
            <p:nvPr/>
          </p:nvSpPr>
          <p:spPr>
            <a:xfrm>
              <a:off x="9371330"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4 w 158114"/>
                <a:gd name="connsiteY3" fmla="*/ 37419 h 83026"/>
                <a:gd name="connsiteX4" fmla="*/ 132585 w 158114"/>
                <a:gd name="connsiteY4" fmla="*/ 34879 h 83026"/>
                <a:gd name="connsiteX5" fmla="*/ 128774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4 w 158114"/>
                <a:gd name="connsiteY10" fmla="*/ 13924 h 83026"/>
                <a:gd name="connsiteX11" fmla="*/ 154174 w 158114"/>
                <a:gd name="connsiteY11" fmla="*/ 41864 h 83026"/>
                <a:gd name="connsiteX12" fmla="*/ 139570 w 158114"/>
                <a:gd name="connsiteY12" fmla="*/ 57104 h 83026"/>
                <a:gd name="connsiteX13" fmla="*/ 156079 w 158114"/>
                <a:gd name="connsiteY13" fmla="*/ 81234 h 83026"/>
                <a:gd name="connsiteX14" fmla="*/ 122424 w 158114"/>
                <a:gd name="connsiteY14" fmla="*/ 74884 h 83026"/>
                <a:gd name="connsiteX15" fmla="*/ 111629 w 158114"/>
                <a:gd name="connsiteY15" fmla="*/ 57104 h 83026"/>
                <a:gd name="connsiteX16" fmla="*/ 23999 w 158114"/>
                <a:gd name="connsiteY16" fmla="*/ 57104 h 83026"/>
                <a:gd name="connsiteX17" fmla="*/ 23999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4" y="37419"/>
                  </a:cubicBezTo>
                  <a:cubicBezTo>
                    <a:pt x="130045" y="36784"/>
                    <a:pt x="131315" y="35514"/>
                    <a:pt x="132585" y="34879"/>
                  </a:cubicBezTo>
                  <a:cubicBezTo>
                    <a:pt x="131949" y="29164"/>
                    <a:pt x="135760" y="20909"/>
                    <a:pt x="128774" y="17734"/>
                  </a:cubicBezTo>
                  <a:cubicBezTo>
                    <a:pt x="93849" y="16464"/>
                    <a:pt x="60195" y="17734"/>
                    <a:pt x="25904" y="17099"/>
                  </a:cubicBezTo>
                  <a:close/>
                  <a:moveTo>
                    <a:pt x="-765" y="-681"/>
                  </a:moveTo>
                  <a:lnTo>
                    <a:pt x="-765" y="-681"/>
                  </a:lnTo>
                  <a:cubicBezTo>
                    <a:pt x="43049" y="-681"/>
                    <a:pt x="87499" y="-681"/>
                    <a:pt x="131315" y="-681"/>
                  </a:cubicBezTo>
                  <a:cubicBezTo>
                    <a:pt x="140840" y="-681"/>
                    <a:pt x="152270" y="4399"/>
                    <a:pt x="154174" y="13924"/>
                  </a:cubicBezTo>
                  <a:cubicBezTo>
                    <a:pt x="154810" y="23449"/>
                    <a:pt x="154810" y="32339"/>
                    <a:pt x="154174" y="41864"/>
                  </a:cubicBezTo>
                  <a:cubicBezTo>
                    <a:pt x="152904" y="49484"/>
                    <a:pt x="145920" y="53929"/>
                    <a:pt x="139570" y="57104"/>
                  </a:cubicBezTo>
                  <a:cubicBezTo>
                    <a:pt x="145285" y="64724"/>
                    <a:pt x="150999" y="72979"/>
                    <a:pt x="156079" y="81234"/>
                  </a:cubicBezTo>
                  <a:cubicBezTo>
                    <a:pt x="145285" y="80599"/>
                    <a:pt x="128774" y="86949"/>
                    <a:pt x="122424" y="74884"/>
                  </a:cubicBezTo>
                  <a:cubicBezTo>
                    <a:pt x="118615" y="69169"/>
                    <a:pt x="115440" y="62819"/>
                    <a:pt x="111629" y="57104"/>
                  </a:cubicBezTo>
                  <a:cubicBezTo>
                    <a:pt x="82420" y="57104"/>
                    <a:pt x="53210" y="57104"/>
                    <a:pt x="23999" y="57104"/>
                  </a:cubicBezTo>
                  <a:cubicBezTo>
                    <a:pt x="23999" y="65359"/>
                    <a:pt x="23999" y="72979"/>
                    <a:pt x="23999" y="81234"/>
                  </a:cubicBezTo>
                  <a:cubicBezTo>
                    <a:pt x="15110" y="81869"/>
                    <a:pt x="6854" y="81869"/>
                    <a:pt x="-2035" y="81234"/>
                  </a:cubicBezTo>
                  <a:cubicBezTo>
                    <a:pt x="-765" y="54564"/>
                    <a:pt x="-765" y="26624"/>
                    <a:pt x="-765" y="-681"/>
                  </a:cubicBezTo>
                  <a:close/>
                </a:path>
              </a:pathLst>
            </a:custGeom>
            <a:solidFill>
              <a:srgbClr val="002733"/>
            </a:solidFill>
            <a:ln w="6350" cap="flat">
              <a:noFill/>
              <a:prstDash val="solid"/>
              <a:miter/>
            </a:ln>
          </p:spPr>
          <p:txBody>
            <a:bodyPr rtlCol="0" anchor="ctr"/>
            <a:lstStyle/>
            <a:p>
              <a:endParaRPr lang="en-GB"/>
            </a:p>
          </p:txBody>
        </p:sp>
        <p:sp>
          <p:nvSpPr>
            <p:cNvPr id="269" name="Freeform 268"/>
            <p:cNvSpPr/>
            <p:nvPr/>
          </p:nvSpPr>
          <p:spPr>
            <a:xfrm>
              <a:off x="9552127" y="2442812"/>
              <a:ext cx="157305" cy="84487"/>
            </a:xfrm>
            <a:custGeom>
              <a:avLst/>
              <a:gdLst>
                <a:gd name="connsiteX0" fmla="*/ 24177 w 157305"/>
                <a:gd name="connsiteY0" fmla="*/ 18401 h 84487"/>
                <a:gd name="connsiteX1" fmla="*/ 24177 w 157305"/>
                <a:gd name="connsiteY1" fmla="*/ 18401 h 84487"/>
                <a:gd name="connsiteX2" fmla="*/ 24177 w 157305"/>
                <a:gd name="connsiteY2" fmla="*/ 37451 h 84487"/>
                <a:gd name="connsiteX3" fmla="*/ 130223 w 157305"/>
                <a:gd name="connsiteY3" fmla="*/ 37451 h 84487"/>
                <a:gd name="connsiteX4" fmla="*/ 130223 w 157305"/>
                <a:gd name="connsiteY4" fmla="*/ 18401 h 84487"/>
                <a:gd name="connsiteX5" fmla="*/ 24177 w 157305"/>
                <a:gd name="connsiteY5" fmla="*/ 18401 h 84487"/>
                <a:gd name="connsiteX6" fmla="*/ -1857 w 157305"/>
                <a:gd name="connsiteY6" fmla="*/ 20306 h 84487"/>
                <a:gd name="connsiteX7" fmla="*/ -1857 w 157305"/>
                <a:gd name="connsiteY7" fmla="*/ 20306 h 84487"/>
                <a:gd name="connsiteX8" fmla="*/ 22908 w 157305"/>
                <a:gd name="connsiteY8" fmla="*/ -649 h 84487"/>
                <a:gd name="connsiteX9" fmla="*/ 154988 w 157305"/>
                <a:gd name="connsiteY9" fmla="*/ -649 h 84487"/>
                <a:gd name="connsiteX10" fmla="*/ 154988 w 157305"/>
                <a:gd name="connsiteY10" fmla="*/ 83171 h 84487"/>
                <a:gd name="connsiteX11" fmla="*/ 132127 w 157305"/>
                <a:gd name="connsiteY11" fmla="*/ 83171 h 84487"/>
                <a:gd name="connsiteX12" fmla="*/ 130858 w 157305"/>
                <a:gd name="connsiteY12" fmla="*/ 58406 h 84487"/>
                <a:gd name="connsiteX13" fmla="*/ 24177 w 157305"/>
                <a:gd name="connsiteY13" fmla="*/ 58406 h 84487"/>
                <a:gd name="connsiteX14" fmla="*/ 24177 w 157305"/>
                <a:gd name="connsiteY14" fmla="*/ 83806 h 84487"/>
                <a:gd name="connsiteX15" fmla="*/ -1223 w 157305"/>
                <a:gd name="connsiteY15" fmla="*/ 83806 h 84487"/>
                <a:gd name="connsiteX16" fmla="*/ -1857 w 157305"/>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5" h="84487">
                  <a:moveTo>
                    <a:pt x="24177" y="18401"/>
                  </a:moveTo>
                  <a:lnTo>
                    <a:pt x="24177" y="18401"/>
                  </a:lnTo>
                  <a:cubicBezTo>
                    <a:pt x="24177" y="24751"/>
                    <a:pt x="24177" y="31101"/>
                    <a:pt x="24177" y="37451"/>
                  </a:cubicBezTo>
                  <a:cubicBezTo>
                    <a:pt x="59738" y="37451"/>
                    <a:pt x="94663" y="37451"/>
                    <a:pt x="130223" y="37451"/>
                  </a:cubicBezTo>
                  <a:cubicBezTo>
                    <a:pt x="130223" y="31101"/>
                    <a:pt x="130223" y="24751"/>
                    <a:pt x="130223" y="18401"/>
                  </a:cubicBezTo>
                  <a:cubicBezTo>
                    <a:pt x="94663" y="18401"/>
                    <a:pt x="59102" y="17766"/>
                    <a:pt x="24177" y="18401"/>
                  </a:cubicBezTo>
                  <a:close/>
                  <a:moveTo>
                    <a:pt x="-1857" y="20306"/>
                  </a:moveTo>
                  <a:lnTo>
                    <a:pt x="-1857" y="20306"/>
                  </a:lnTo>
                  <a:cubicBezTo>
                    <a:pt x="-2492" y="7606"/>
                    <a:pt x="10843" y="-1284"/>
                    <a:pt x="22908" y="-649"/>
                  </a:cubicBezTo>
                  <a:cubicBezTo>
                    <a:pt x="66723" y="-649"/>
                    <a:pt x="111173" y="-649"/>
                    <a:pt x="154988" y="-649"/>
                  </a:cubicBezTo>
                  <a:cubicBezTo>
                    <a:pt x="154988" y="27291"/>
                    <a:pt x="155623" y="55231"/>
                    <a:pt x="154988" y="83171"/>
                  </a:cubicBezTo>
                  <a:cubicBezTo>
                    <a:pt x="147368" y="83171"/>
                    <a:pt x="139748" y="84441"/>
                    <a:pt x="132127" y="83171"/>
                  </a:cubicBezTo>
                  <a:cubicBezTo>
                    <a:pt x="128318" y="76187"/>
                    <a:pt x="131493" y="66662"/>
                    <a:pt x="130858" y="58406"/>
                  </a:cubicBezTo>
                  <a:cubicBezTo>
                    <a:pt x="95298" y="58406"/>
                    <a:pt x="59738" y="58406"/>
                    <a:pt x="24177" y="58406"/>
                  </a:cubicBezTo>
                  <a:cubicBezTo>
                    <a:pt x="24177" y="66662"/>
                    <a:pt x="24177" y="74916"/>
                    <a:pt x="24177" y="83806"/>
                  </a:cubicBezTo>
                  <a:cubicBezTo>
                    <a:pt x="15288" y="83806"/>
                    <a:pt x="7033" y="83806"/>
                    <a:pt x="-1223" y="83806"/>
                  </a:cubicBezTo>
                  <a:cubicBezTo>
                    <a:pt x="-1223" y="62216"/>
                    <a:pt x="-2492" y="41262"/>
                    <a:pt x="-1857" y="20306"/>
                  </a:cubicBezTo>
                  <a:close/>
                </a:path>
              </a:pathLst>
            </a:custGeom>
            <a:solidFill>
              <a:srgbClr val="002733"/>
            </a:solidFill>
            <a:ln w="6350" cap="flat">
              <a:noFill/>
              <a:prstDash val="solid"/>
              <a:miter/>
            </a:ln>
          </p:spPr>
          <p:txBody>
            <a:bodyPr rtlCol="0" anchor="ctr"/>
            <a:lstStyle/>
            <a:p>
              <a:endParaRPr lang="en-GB"/>
            </a:p>
          </p:txBody>
        </p:sp>
      </p:grpSp>
      <p:grpSp>
        <p:nvGrpSpPr>
          <p:cNvPr id="277" name="Graphic 79"/>
          <p:cNvGrpSpPr/>
          <p:nvPr/>
        </p:nvGrpSpPr>
        <p:grpSpPr>
          <a:xfrm>
            <a:off x="7356356" y="3079750"/>
            <a:ext cx="655274" cy="692528"/>
            <a:chOff x="7356356" y="3079750"/>
            <a:chExt cx="655274" cy="692528"/>
          </a:xfrm>
          <a:solidFill>
            <a:srgbClr val="002733"/>
          </a:solidFill>
        </p:grpSpPr>
        <p:sp>
          <p:nvSpPr>
            <p:cNvPr id="278" name="Freeform 277"/>
            <p:cNvSpPr/>
            <p:nvPr/>
          </p:nvSpPr>
          <p:spPr>
            <a:xfrm>
              <a:off x="7356356" y="3079750"/>
              <a:ext cx="655274" cy="692528"/>
            </a:xfrm>
            <a:custGeom>
              <a:avLst/>
              <a:gdLst>
                <a:gd name="connsiteX0" fmla="*/ 323852 w 655274"/>
                <a:gd name="connsiteY0" fmla="*/ -1072 h 692528"/>
                <a:gd name="connsiteX1" fmla="*/ 323852 w 655274"/>
                <a:gd name="connsiteY1" fmla="*/ -1072 h 692528"/>
                <a:gd name="connsiteX2" fmla="*/ 579123 w 655274"/>
                <a:gd name="connsiteY2" fmla="*/ 50363 h 692528"/>
                <a:gd name="connsiteX3" fmla="*/ 615952 w 655274"/>
                <a:gd name="connsiteY3" fmla="*/ 70683 h 692528"/>
                <a:gd name="connsiteX4" fmla="*/ 650877 w 655274"/>
                <a:gd name="connsiteY4" fmla="*/ 138628 h 692528"/>
                <a:gd name="connsiteX5" fmla="*/ 648338 w 655274"/>
                <a:gd name="connsiteY5" fmla="*/ 205303 h 692528"/>
                <a:gd name="connsiteX6" fmla="*/ 610238 w 655274"/>
                <a:gd name="connsiteY6" fmla="*/ 357068 h 692528"/>
                <a:gd name="connsiteX7" fmla="*/ 393702 w 655274"/>
                <a:gd name="connsiteY7" fmla="*/ 661868 h 692528"/>
                <a:gd name="connsiteX8" fmla="*/ 356873 w 655274"/>
                <a:gd name="connsiteY8" fmla="*/ 685998 h 692528"/>
                <a:gd name="connsiteX9" fmla="*/ 273688 w 655274"/>
                <a:gd name="connsiteY9" fmla="*/ 675203 h 692528"/>
                <a:gd name="connsiteX10" fmla="*/ 211457 w 655274"/>
                <a:gd name="connsiteY10" fmla="*/ 620593 h 692528"/>
                <a:gd name="connsiteX11" fmla="*/ 17148 w 655274"/>
                <a:gd name="connsiteY11" fmla="*/ 285313 h 692528"/>
                <a:gd name="connsiteX12" fmla="*/ -1902 w 655274"/>
                <a:gd name="connsiteY12" fmla="*/ 178633 h 692528"/>
                <a:gd name="connsiteX13" fmla="*/ 6988 w 655274"/>
                <a:gd name="connsiteY13" fmla="*/ 105608 h 692528"/>
                <a:gd name="connsiteX14" fmla="*/ 53977 w 655274"/>
                <a:gd name="connsiteY14" fmla="*/ 57348 h 692528"/>
                <a:gd name="connsiteX15" fmla="*/ 195582 w 655274"/>
                <a:gd name="connsiteY15" fmla="*/ 10358 h 692528"/>
                <a:gd name="connsiteX16" fmla="*/ 323852 w 655274"/>
                <a:gd name="connsiteY16" fmla="*/ -1072 h 692528"/>
                <a:gd name="connsiteX17" fmla="*/ 608968 w 655274"/>
                <a:gd name="connsiteY17" fmla="*/ 283408 h 692528"/>
                <a:gd name="connsiteX18" fmla="*/ 608968 w 655274"/>
                <a:gd name="connsiteY18" fmla="*/ 283408 h 692528"/>
                <a:gd name="connsiteX19" fmla="*/ 605157 w 655274"/>
                <a:gd name="connsiteY19" fmla="*/ 283408 h 692528"/>
                <a:gd name="connsiteX20" fmla="*/ 532768 w 655274"/>
                <a:gd name="connsiteY20" fmla="*/ 287853 h 692528"/>
                <a:gd name="connsiteX21" fmla="*/ 420373 w 655274"/>
                <a:gd name="connsiteY21" fmla="*/ 303093 h 692528"/>
                <a:gd name="connsiteX22" fmla="*/ 283848 w 655274"/>
                <a:gd name="connsiteY22" fmla="*/ 336113 h 692528"/>
                <a:gd name="connsiteX23" fmla="*/ 178438 w 655274"/>
                <a:gd name="connsiteY23" fmla="*/ 385008 h 692528"/>
                <a:gd name="connsiteX24" fmla="*/ 134623 w 655274"/>
                <a:gd name="connsiteY24" fmla="*/ 425013 h 692528"/>
                <a:gd name="connsiteX25" fmla="*/ 132082 w 655274"/>
                <a:gd name="connsiteY25" fmla="*/ 491053 h 692528"/>
                <a:gd name="connsiteX26" fmla="*/ 213363 w 655274"/>
                <a:gd name="connsiteY26" fmla="*/ 592653 h 692528"/>
                <a:gd name="connsiteX27" fmla="*/ 285752 w 655274"/>
                <a:gd name="connsiteY27" fmla="*/ 656788 h 692528"/>
                <a:gd name="connsiteX28" fmla="*/ 340363 w 655274"/>
                <a:gd name="connsiteY28" fmla="*/ 666313 h 692528"/>
                <a:gd name="connsiteX29" fmla="*/ 373382 w 655274"/>
                <a:gd name="connsiteY29" fmla="*/ 647898 h 692528"/>
                <a:gd name="connsiteX30" fmla="*/ 598173 w 655274"/>
                <a:gd name="connsiteY30" fmla="*/ 318968 h 692528"/>
                <a:gd name="connsiteX31" fmla="*/ 608968 w 655274"/>
                <a:gd name="connsiteY31" fmla="*/ 283408 h 692528"/>
                <a:gd name="connsiteX32" fmla="*/ 615318 w 655274"/>
                <a:gd name="connsiteY32" fmla="*/ 254833 h 692528"/>
                <a:gd name="connsiteX33" fmla="*/ 615318 w 655274"/>
                <a:gd name="connsiteY33" fmla="*/ 254833 h 692528"/>
                <a:gd name="connsiteX34" fmla="*/ 615952 w 655274"/>
                <a:gd name="connsiteY34" fmla="*/ 250388 h 692528"/>
                <a:gd name="connsiteX35" fmla="*/ 625477 w 655274"/>
                <a:gd name="connsiteY35" fmla="*/ 193238 h 692528"/>
                <a:gd name="connsiteX36" fmla="*/ 626113 w 655274"/>
                <a:gd name="connsiteY36" fmla="*/ 139898 h 692528"/>
                <a:gd name="connsiteX37" fmla="*/ 580393 w 655274"/>
                <a:gd name="connsiteY37" fmla="*/ 76398 h 692528"/>
                <a:gd name="connsiteX38" fmla="*/ 358777 w 655274"/>
                <a:gd name="connsiteY38" fmla="*/ 21788 h 692528"/>
                <a:gd name="connsiteX39" fmla="*/ 219713 w 655274"/>
                <a:gd name="connsiteY39" fmla="*/ 28773 h 692528"/>
                <a:gd name="connsiteX40" fmla="*/ 62868 w 655274"/>
                <a:gd name="connsiteY40" fmla="*/ 77033 h 692528"/>
                <a:gd name="connsiteX41" fmla="*/ 20957 w 655274"/>
                <a:gd name="connsiteY41" fmla="*/ 131643 h 692528"/>
                <a:gd name="connsiteX42" fmla="*/ 20323 w 655274"/>
                <a:gd name="connsiteY42" fmla="*/ 189428 h 692528"/>
                <a:gd name="connsiteX43" fmla="*/ 44452 w 655274"/>
                <a:gd name="connsiteY43" fmla="*/ 304998 h 692528"/>
                <a:gd name="connsiteX44" fmla="*/ 49532 w 655274"/>
                <a:gd name="connsiteY44" fmla="*/ 322778 h 692528"/>
                <a:gd name="connsiteX45" fmla="*/ 95252 w 655274"/>
                <a:gd name="connsiteY45" fmla="*/ 296108 h 692528"/>
                <a:gd name="connsiteX46" fmla="*/ 123193 w 655274"/>
                <a:gd name="connsiteY46" fmla="*/ 287218 h 692528"/>
                <a:gd name="connsiteX47" fmla="*/ 281943 w 655274"/>
                <a:gd name="connsiteY47" fmla="*/ 264358 h 692528"/>
                <a:gd name="connsiteX48" fmla="*/ 384813 w 655274"/>
                <a:gd name="connsiteY48" fmla="*/ 258008 h 692528"/>
                <a:gd name="connsiteX49" fmla="*/ 601348 w 655274"/>
                <a:gd name="connsiteY49" fmla="*/ 254198 h 692528"/>
                <a:gd name="connsiteX50" fmla="*/ 615318 w 655274"/>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4" h="692528">
                  <a:moveTo>
                    <a:pt x="323852" y="-1072"/>
                  </a:moveTo>
                  <a:lnTo>
                    <a:pt x="323852" y="-1072"/>
                  </a:lnTo>
                  <a:cubicBezTo>
                    <a:pt x="412118" y="-1072"/>
                    <a:pt x="497843" y="14168"/>
                    <a:pt x="579123" y="50363"/>
                  </a:cubicBezTo>
                  <a:cubicBezTo>
                    <a:pt x="591823" y="55443"/>
                    <a:pt x="603888" y="61793"/>
                    <a:pt x="615952" y="70683"/>
                  </a:cubicBezTo>
                  <a:cubicBezTo>
                    <a:pt x="636273" y="88463"/>
                    <a:pt x="647068" y="111958"/>
                    <a:pt x="650877" y="138628"/>
                  </a:cubicBezTo>
                  <a:cubicBezTo>
                    <a:pt x="654688" y="160853"/>
                    <a:pt x="651513" y="183078"/>
                    <a:pt x="648338" y="205303"/>
                  </a:cubicBezTo>
                  <a:cubicBezTo>
                    <a:pt x="641352" y="256738"/>
                    <a:pt x="628652" y="307538"/>
                    <a:pt x="610238" y="357068"/>
                  </a:cubicBezTo>
                  <a:cubicBezTo>
                    <a:pt x="563882" y="476448"/>
                    <a:pt x="493398" y="579953"/>
                    <a:pt x="393702" y="661868"/>
                  </a:cubicBezTo>
                  <a:cubicBezTo>
                    <a:pt x="382273" y="671393"/>
                    <a:pt x="371477" y="680283"/>
                    <a:pt x="356873" y="685998"/>
                  </a:cubicBezTo>
                  <a:cubicBezTo>
                    <a:pt x="327663" y="695523"/>
                    <a:pt x="299723" y="692983"/>
                    <a:pt x="273688" y="675203"/>
                  </a:cubicBezTo>
                  <a:cubicBezTo>
                    <a:pt x="251463" y="659328"/>
                    <a:pt x="231143" y="640278"/>
                    <a:pt x="211457" y="620593"/>
                  </a:cubicBezTo>
                  <a:cubicBezTo>
                    <a:pt x="116207" y="527248"/>
                    <a:pt x="51438" y="414853"/>
                    <a:pt x="17148" y="285313"/>
                  </a:cubicBezTo>
                  <a:cubicBezTo>
                    <a:pt x="8257" y="250388"/>
                    <a:pt x="1907" y="214828"/>
                    <a:pt x="-1902" y="178633"/>
                  </a:cubicBezTo>
                  <a:cubicBezTo>
                    <a:pt x="-3807" y="153868"/>
                    <a:pt x="-2537" y="129738"/>
                    <a:pt x="6988" y="105608"/>
                  </a:cubicBezTo>
                  <a:cubicBezTo>
                    <a:pt x="16513" y="84018"/>
                    <a:pt x="33023" y="68143"/>
                    <a:pt x="53977" y="57348"/>
                  </a:cubicBezTo>
                  <a:cubicBezTo>
                    <a:pt x="99698" y="35123"/>
                    <a:pt x="146688" y="19883"/>
                    <a:pt x="195582" y="10358"/>
                  </a:cubicBezTo>
                  <a:cubicBezTo>
                    <a:pt x="238127" y="1468"/>
                    <a:pt x="280673" y="-1072"/>
                    <a:pt x="323852" y="-1072"/>
                  </a:cubicBezTo>
                  <a:close/>
                  <a:moveTo>
                    <a:pt x="608968" y="283408"/>
                  </a:moveTo>
                  <a:lnTo>
                    <a:pt x="608968" y="283408"/>
                  </a:lnTo>
                  <a:cubicBezTo>
                    <a:pt x="607063" y="283408"/>
                    <a:pt x="606427" y="282773"/>
                    <a:pt x="605157" y="283408"/>
                  </a:cubicBezTo>
                  <a:cubicBezTo>
                    <a:pt x="581027" y="284043"/>
                    <a:pt x="556898" y="285313"/>
                    <a:pt x="532768" y="287853"/>
                  </a:cubicBezTo>
                  <a:cubicBezTo>
                    <a:pt x="495302" y="292298"/>
                    <a:pt x="457838" y="296743"/>
                    <a:pt x="420373" y="303093"/>
                  </a:cubicBezTo>
                  <a:cubicBezTo>
                    <a:pt x="374018" y="310078"/>
                    <a:pt x="328298" y="320873"/>
                    <a:pt x="283848" y="336113"/>
                  </a:cubicBezTo>
                  <a:cubicBezTo>
                    <a:pt x="246382" y="348813"/>
                    <a:pt x="211457" y="362783"/>
                    <a:pt x="178438" y="385008"/>
                  </a:cubicBezTo>
                  <a:cubicBezTo>
                    <a:pt x="162563" y="396438"/>
                    <a:pt x="146052" y="409138"/>
                    <a:pt x="134623" y="425013"/>
                  </a:cubicBezTo>
                  <a:cubicBezTo>
                    <a:pt x="117477" y="446603"/>
                    <a:pt x="116843" y="467558"/>
                    <a:pt x="132082" y="491053"/>
                  </a:cubicBezTo>
                  <a:cubicBezTo>
                    <a:pt x="155577" y="527883"/>
                    <a:pt x="182882" y="561538"/>
                    <a:pt x="213363" y="592653"/>
                  </a:cubicBezTo>
                  <a:cubicBezTo>
                    <a:pt x="235588" y="615513"/>
                    <a:pt x="259082" y="638373"/>
                    <a:pt x="285752" y="656788"/>
                  </a:cubicBezTo>
                  <a:cubicBezTo>
                    <a:pt x="301627" y="669488"/>
                    <a:pt x="320677" y="672028"/>
                    <a:pt x="340363" y="666313"/>
                  </a:cubicBezTo>
                  <a:cubicBezTo>
                    <a:pt x="353698" y="663773"/>
                    <a:pt x="363857" y="655518"/>
                    <a:pt x="373382" y="647898"/>
                  </a:cubicBezTo>
                  <a:cubicBezTo>
                    <a:pt x="481332" y="560268"/>
                    <a:pt x="553723" y="449143"/>
                    <a:pt x="598173" y="318968"/>
                  </a:cubicBezTo>
                  <a:cubicBezTo>
                    <a:pt x="601982" y="307538"/>
                    <a:pt x="605793" y="294838"/>
                    <a:pt x="608968" y="283408"/>
                  </a:cubicBezTo>
                  <a:close/>
                  <a:moveTo>
                    <a:pt x="615318" y="254833"/>
                  </a:moveTo>
                  <a:lnTo>
                    <a:pt x="615318" y="254833"/>
                  </a:lnTo>
                  <a:cubicBezTo>
                    <a:pt x="615952" y="252928"/>
                    <a:pt x="615952" y="252293"/>
                    <a:pt x="615952" y="250388"/>
                  </a:cubicBezTo>
                  <a:cubicBezTo>
                    <a:pt x="619763" y="231338"/>
                    <a:pt x="622938" y="212288"/>
                    <a:pt x="625477" y="193238"/>
                  </a:cubicBezTo>
                  <a:cubicBezTo>
                    <a:pt x="628018" y="175458"/>
                    <a:pt x="629923" y="157678"/>
                    <a:pt x="626113" y="139898"/>
                  </a:cubicBezTo>
                  <a:cubicBezTo>
                    <a:pt x="621668" y="110688"/>
                    <a:pt x="607063" y="89733"/>
                    <a:pt x="580393" y="76398"/>
                  </a:cubicBezTo>
                  <a:cubicBezTo>
                    <a:pt x="509907" y="43378"/>
                    <a:pt x="435613" y="25598"/>
                    <a:pt x="358777" y="21788"/>
                  </a:cubicBezTo>
                  <a:cubicBezTo>
                    <a:pt x="312423" y="19248"/>
                    <a:pt x="266068" y="21153"/>
                    <a:pt x="219713" y="28773"/>
                  </a:cubicBezTo>
                  <a:cubicBezTo>
                    <a:pt x="165102" y="37028"/>
                    <a:pt x="112398" y="52903"/>
                    <a:pt x="62868" y="77033"/>
                  </a:cubicBezTo>
                  <a:cubicBezTo>
                    <a:pt x="40643" y="88463"/>
                    <a:pt x="26038" y="106243"/>
                    <a:pt x="20957" y="131643"/>
                  </a:cubicBezTo>
                  <a:cubicBezTo>
                    <a:pt x="16513" y="151328"/>
                    <a:pt x="17148" y="169743"/>
                    <a:pt x="20323" y="189428"/>
                  </a:cubicBezTo>
                  <a:cubicBezTo>
                    <a:pt x="24768" y="228798"/>
                    <a:pt x="33023" y="266898"/>
                    <a:pt x="44452" y="304998"/>
                  </a:cubicBezTo>
                  <a:cubicBezTo>
                    <a:pt x="46357" y="310078"/>
                    <a:pt x="48263" y="316428"/>
                    <a:pt x="49532" y="322778"/>
                  </a:cubicBezTo>
                  <a:cubicBezTo>
                    <a:pt x="62232" y="309443"/>
                    <a:pt x="78107" y="302458"/>
                    <a:pt x="95252" y="296108"/>
                  </a:cubicBezTo>
                  <a:cubicBezTo>
                    <a:pt x="104143" y="292298"/>
                    <a:pt x="113032" y="289758"/>
                    <a:pt x="123193" y="287218"/>
                  </a:cubicBezTo>
                  <a:cubicBezTo>
                    <a:pt x="175263" y="273883"/>
                    <a:pt x="228602" y="267533"/>
                    <a:pt x="281943" y="264358"/>
                  </a:cubicBezTo>
                  <a:cubicBezTo>
                    <a:pt x="316868" y="261818"/>
                    <a:pt x="350523" y="259913"/>
                    <a:pt x="384813" y="258008"/>
                  </a:cubicBezTo>
                  <a:cubicBezTo>
                    <a:pt x="457202" y="255468"/>
                    <a:pt x="529593" y="253563"/>
                    <a:pt x="601348" y="254198"/>
                  </a:cubicBezTo>
                  <a:cubicBezTo>
                    <a:pt x="606427" y="254833"/>
                    <a:pt x="610873" y="254833"/>
                    <a:pt x="615318" y="254833"/>
                  </a:cubicBezTo>
                  <a:close/>
                </a:path>
              </a:pathLst>
            </a:custGeom>
            <a:solidFill>
              <a:srgbClr val="002733"/>
            </a:solidFill>
            <a:ln w="6350" cap="flat">
              <a:noFill/>
              <a:prstDash val="solid"/>
              <a:miter/>
            </a:ln>
          </p:spPr>
          <p:txBody>
            <a:bodyPr rtlCol="0" anchor="ctr"/>
            <a:lstStyle/>
            <a:p>
              <a:endParaRPr lang="en-GB"/>
            </a:p>
          </p:txBody>
        </p:sp>
        <p:sp>
          <p:nvSpPr>
            <p:cNvPr id="279" name="Freeform 278"/>
            <p:cNvSpPr/>
            <p:nvPr/>
          </p:nvSpPr>
          <p:spPr>
            <a:xfrm>
              <a:off x="7428864" y="3201669"/>
              <a:ext cx="100990" cy="87630"/>
            </a:xfrm>
            <a:custGeom>
              <a:avLst/>
              <a:gdLst>
                <a:gd name="connsiteX0" fmla="*/ -2656 w 100990"/>
                <a:gd name="connsiteY0" fmla="*/ 86558 h 87630"/>
                <a:gd name="connsiteX1" fmla="*/ -2656 w 100990"/>
                <a:gd name="connsiteY1" fmla="*/ 86558 h 87630"/>
                <a:gd name="connsiteX2" fmla="*/ 4330 w 100990"/>
                <a:gd name="connsiteY2" fmla="*/ 50364 h 87630"/>
                <a:gd name="connsiteX3" fmla="*/ 15124 w 100990"/>
                <a:gd name="connsiteY3" fmla="*/ 1468 h 87630"/>
                <a:gd name="connsiteX4" fmla="*/ 18935 w 100990"/>
                <a:gd name="connsiteY4" fmla="*/ -1072 h 87630"/>
                <a:gd name="connsiteX5" fmla="*/ 67194 w 100990"/>
                <a:gd name="connsiteY5" fmla="*/ -436 h 87630"/>
                <a:gd name="connsiteX6" fmla="*/ 75449 w 100990"/>
                <a:gd name="connsiteY6" fmla="*/ 198 h 87630"/>
                <a:gd name="connsiteX7" fmla="*/ 98310 w 100990"/>
                <a:gd name="connsiteY7" fmla="*/ 24964 h 87630"/>
                <a:gd name="connsiteX8" fmla="*/ 58305 w 100990"/>
                <a:gd name="connsiteY8" fmla="*/ 84653 h 87630"/>
                <a:gd name="connsiteX9" fmla="*/ 48144 w 100990"/>
                <a:gd name="connsiteY9" fmla="*/ 86558 h 87630"/>
                <a:gd name="connsiteX10" fmla="*/ -2656 w 100990"/>
                <a:gd name="connsiteY10" fmla="*/ 86558 h 87630"/>
                <a:gd name="connsiteX11" fmla="*/ 46240 w 100990"/>
                <a:gd name="connsiteY11" fmla="*/ 18614 h 87630"/>
                <a:gd name="connsiteX12" fmla="*/ 46240 w 100990"/>
                <a:gd name="connsiteY12" fmla="*/ 18614 h 87630"/>
                <a:gd name="connsiteX13" fmla="*/ 36080 w 100990"/>
                <a:gd name="connsiteY13" fmla="*/ 65603 h 87630"/>
                <a:gd name="connsiteX14" fmla="*/ 55130 w 100990"/>
                <a:gd name="connsiteY14" fmla="*/ 54808 h 87630"/>
                <a:gd name="connsiteX15" fmla="*/ 60844 w 100990"/>
                <a:gd name="connsiteY15" fmla="*/ 32583 h 87630"/>
                <a:gd name="connsiteX16" fmla="*/ 46240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5" y="73858"/>
                    <a:pt x="1790" y="62428"/>
                    <a:pt x="4330" y="50364"/>
                  </a:cubicBezTo>
                  <a:cubicBezTo>
                    <a:pt x="8140" y="34489"/>
                    <a:pt x="11315" y="17978"/>
                    <a:pt x="15124" y="1468"/>
                  </a:cubicBezTo>
                  <a:cubicBezTo>
                    <a:pt x="15124" y="-436"/>
                    <a:pt x="15760" y="-1072"/>
                    <a:pt x="18935" y="-1072"/>
                  </a:cubicBezTo>
                  <a:cubicBezTo>
                    <a:pt x="35444" y="-1072"/>
                    <a:pt x="50685" y="-1072"/>
                    <a:pt x="67194" y="-436"/>
                  </a:cubicBezTo>
                  <a:cubicBezTo>
                    <a:pt x="69735" y="-436"/>
                    <a:pt x="72910" y="-436"/>
                    <a:pt x="75449" y="198"/>
                  </a:cubicBezTo>
                  <a:cubicBezTo>
                    <a:pt x="90055" y="4008"/>
                    <a:pt x="97040" y="11628"/>
                    <a:pt x="98310" y="24964"/>
                  </a:cubicBezTo>
                  <a:cubicBezTo>
                    <a:pt x="98944" y="49093"/>
                    <a:pt x="87515" y="76398"/>
                    <a:pt x="58305" y="84653"/>
                  </a:cubicBezTo>
                  <a:cubicBezTo>
                    <a:pt x="54494" y="85289"/>
                    <a:pt x="51319" y="86558"/>
                    <a:pt x="48144" y="86558"/>
                  </a:cubicBezTo>
                  <a:cubicBezTo>
                    <a:pt x="30999" y="86558"/>
                    <a:pt x="14490" y="86558"/>
                    <a:pt x="-2656" y="86558"/>
                  </a:cubicBezTo>
                  <a:close/>
                  <a:moveTo>
                    <a:pt x="46240" y="18614"/>
                  </a:moveTo>
                  <a:lnTo>
                    <a:pt x="46240" y="18614"/>
                  </a:lnTo>
                  <a:cubicBezTo>
                    <a:pt x="43699" y="34489"/>
                    <a:pt x="39890" y="49728"/>
                    <a:pt x="36080" y="65603"/>
                  </a:cubicBezTo>
                  <a:cubicBezTo>
                    <a:pt x="46240" y="66239"/>
                    <a:pt x="52590" y="63698"/>
                    <a:pt x="55130" y="54808"/>
                  </a:cubicBezTo>
                  <a:cubicBezTo>
                    <a:pt x="57669" y="47823"/>
                    <a:pt x="59574" y="39568"/>
                    <a:pt x="60844" y="32583"/>
                  </a:cubicBezTo>
                  <a:cubicBezTo>
                    <a:pt x="62749" y="22423"/>
                    <a:pt x="58305" y="17978"/>
                    <a:pt x="46240" y="18614"/>
                  </a:cubicBezTo>
                  <a:close/>
                </a:path>
              </a:pathLst>
            </a:custGeom>
            <a:solidFill>
              <a:srgbClr val="002733"/>
            </a:solidFill>
            <a:ln w="6350" cap="flat">
              <a:noFill/>
              <a:prstDash val="solid"/>
              <a:miter/>
            </a:ln>
          </p:spPr>
          <p:txBody>
            <a:bodyPr rtlCol="0" anchor="ctr"/>
            <a:lstStyle/>
            <a:p>
              <a:endParaRPr lang="en-GB"/>
            </a:p>
          </p:txBody>
        </p:sp>
        <p:sp>
          <p:nvSpPr>
            <p:cNvPr id="280" name="Freeform 279"/>
            <p:cNvSpPr/>
            <p:nvPr/>
          </p:nvSpPr>
          <p:spPr>
            <a:xfrm>
              <a:off x="7531821" y="3201034"/>
              <a:ext cx="97067" cy="90523"/>
            </a:xfrm>
            <a:custGeom>
              <a:avLst/>
              <a:gdLst>
                <a:gd name="connsiteX0" fmla="*/ 11862 w 97067"/>
                <a:gd name="connsiteY0" fmla="*/ -1072 h 90523"/>
                <a:gd name="connsiteX1" fmla="*/ 11862 w 97067"/>
                <a:gd name="connsiteY1" fmla="*/ -1072 h 90523"/>
                <a:gd name="connsiteX2" fmla="*/ 46152 w 97067"/>
                <a:gd name="connsiteY2" fmla="*/ -1072 h 90523"/>
                <a:gd name="connsiteX3" fmla="*/ 42342 w 97067"/>
                <a:gd name="connsiteY3" fmla="*/ 14803 h 90523"/>
                <a:gd name="connsiteX4" fmla="*/ 33452 w 97067"/>
                <a:gd name="connsiteY4" fmla="*/ 56078 h 90523"/>
                <a:gd name="connsiteX5" fmla="*/ 37262 w 97067"/>
                <a:gd name="connsiteY5" fmla="*/ 65603 h 90523"/>
                <a:gd name="connsiteX6" fmla="*/ 46787 w 97067"/>
                <a:gd name="connsiteY6" fmla="*/ 59253 h 90523"/>
                <a:gd name="connsiteX7" fmla="*/ 51867 w 97067"/>
                <a:gd name="connsiteY7" fmla="*/ 36393 h 90523"/>
                <a:gd name="connsiteX8" fmla="*/ 58852 w 97067"/>
                <a:gd name="connsiteY8" fmla="*/ 1468 h 90523"/>
                <a:gd name="connsiteX9" fmla="*/ 61392 w 97067"/>
                <a:gd name="connsiteY9" fmla="*/ -1072 h 90523"/>
                <a:gd name="connsiteX10" fmla="*/ 94412 w 97067"/>
                <a:gd name="connsiteY10" fmla="*/ -1072 h 90523"/>
                <a:gd name="connsiteX11" fmla="*/ 89967 w 97067"/>
                <a:gd name="connsiteY11" fmla="*/ 21153 h 90523"/>
                <a:gd name="connsiteX12" fmla="*/ 81712 w 97067"/>
                <a:gd name="connsiteY12" fmla="*/ 56713 h 90523"/>
                <a:gd name="connsiteX13" fmla="*/ 45517 w 97067"/>
                <a:gd name="connsiteY13" fmla="*/ 89098 h 90523"/>
                <a:gd name="connsiteX14" fmla="*/ 15672 w 97067"/>
                <a:gd name="connsiteY14" fmla="*/ 87193 h 90523"/>
                <a:gd name="connsiteX15" fmla="*/ -2108 w 97067"/>
                <a:gd name="connsiteY15" fmla="*/ 59253 h 90523"/>
                <a:gd name="connsiteX16" fmla="*/ 10592 w 97067"/>
                <a:gd name="connsiteY16" fmla="*/ 198 h 90523"/>
                <a:gd name="connsiteX17" fmla="*/ 11862 w 97067"/>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7"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8"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002733"/>
            </a:solidFill>
            <a:ln w="6350" cap="flat">
              <a:noFill/>
              <a:prstDash val="solid"/>
              <a:miter/>
            </a:ln>
          </p:spPr>
          <p:txBody>
            <a:bodyPr rtlCol="0" anchor="ctr"/>
            <a:lstStyle/>
            <a:p>
              <a:endParaRPr lang="en-GB"/>
            </a:p>
          </p:txBody>
        </p:sp>
        <p:sp>
          <p:nvSpPr>
            <p:cNvPr id="281" name="Freeform 280"/>
            <p:cNvSpPr/>
            <p:nvPr/>
          </p:nvSpPr>
          <p:spPr>
            <a:xfrm>
              <a:off x="7707630"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2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3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3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3" y="88463"/>
                    <a:pt x="27189" y="90368"/>
                    <a:pt x="17664" y="89098"/>
                  </a:cubicBezTo>
                  <a:cubicBezTo>
                    <a:pt x="11314" y="88463"/>
                    <a:pt x="4328" y="89098"/>
                    <a:pt x="-2656" y="89098"/>
                  </a:cubicBezTo>
                  <a:cubicBezTo>
                    <a:pt x="-2656" y="87193"/>
                    <a:pt x="-2022" y="86558"/>
                    <a:pt x="-2022"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3"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3" y="52268"/>
                  </a:cubicBezTo>
                  <a:lnTo>
                    <a:pt x="60844" y="52268"/>
                  </a:lnTo>
                  <a:close/>
                </a:path>
              </a:pathLst>
            </a:custGeom>
            <a:solidFill>
              <a:srgbClr val="002733"/>
            </a:solidFill>
            <a:ln w="6350" cap="flat">
              <a:noFill/>
              <a:prstDash val="solid"/>
              <a:miter/>
            </a:ln>
          </p:spPr>
          <p:txBody>
            <a:bodyPr rtlCol="0" anchor="ctr"/>
            <a:lstStyle/>
            <a:p>
              <a:endParaRPr lang="en-GB"/>
            </a:p>
          </p:txBody>
        </p:sp>
        <p:sp>
          <p:nvSpPr>
            <p:cNvPr id="282" name="Freeform 281"/>
            <p:cNvSpPr/>
            <p:nvPr/>
          </p:nvSpPr>
          <p:spPr>
            <a:xfrm>
              <a:off x="7627524" y="3199102"/>
              <a:ext cx="92085" cy="91730"/>
            </a:xfrm>
            <a:custGeom>
              <a:avLst/>
              <a:gdLst>
                <a:gd name="connsiteX0" fmla="*/ 84434 w 92085"/>
                <a:gd name="connsiteY0" fmla="*/ 57376 h 91730"/>
                <a:gd name="connsiteX1" fmla="*/ 84434 w 92085"/>
                <a:gd name="connsiteY1" fmla="*/ 57376 h 91730"/>
                <a:gd name="connsiteX2" fmla="*/ 76181 w 92085"/>
                <a:gd name="connsiteY2" fmla="*/ 73886 h 91730"/>
                <a:gd name="connsiteX3" fmla="*/ 38081 w 92085"/>
                <a:gd name="connsiteY3" fmla="*/ 90395 h 91730"/>
                <a:gd name="connsiteX4" fmla="*/ 20934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6 w 92085"/>
                <a:gd name="connsiteY8" fmla="*/ 861 h 91730"/>
                <a:gd name="connsiteX9" fmla="*/ 88245 w 92085"/>
                <a:gd name="connsiteY9" fmla="*/ 33881 h 91730"/>
                <a:gd name="connsiteX10" fmla="*/ 73006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6 w 92085"/>
                <a:gd name="connsiteY17" fmla="*/ 64995 h 91730"/>
                <a:gd name="connsiteX18" fmla="*/ 47606 w 92085"/>
                <a:gd name="connsiteY18" fmla="*/ 64361 h 91730"/>
                <a:gd name="connsiteX19" fmla="*/ 59034 w 92085"/>
                <a:gd name="connsiteY19" fmla="*/ 57376 h 91730"/>
                <a:gd name="connsiteX20" fmla="*/ 81259 w 92085"/>
                <a:gd name="connsiteY20" fmla="*/ 57376 h 91730"/>
                <a:gd name="connsiteX21" fmla="*/ 84434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4" y="57376"/>
                  </a:moveTo>
                  <a:lnTo>
                    <a:pt x="84434" y="57376"/>
                  </a:lnTo>
                  <a:cubicBezTo>
                    <a:pt x="82531" y="63726"/>
                    <a:pt x="79990" y="68806"/>
                    <a:pt x="76181" y="73886"/>
                  </a:cubicBezTo>
                  <a:cubicBezTo>
                    <a:pt x="66020" y="85316"/>
                    <a:pt x="52684" y="90395"/>
                    <a:pt x="38081" y="90395"/>
                  </a:cubicBezTo>
                  <a:cubicBezTo>
                    <a:pt x="32365" y="91031"/>
                    <a:pt x="26650" y="90395"/>
                    <a:pt x="20934" y="89761"/>
                  </a:cubicBezTo>
                  <a:cubicBezTo>
                    <a:pt x="6331" y="85951"/>
                    <a:pt x="-1291" y="76426"/>
                    <a:pt x="-2560" y="62456"/>
                  </a:cubicBezTo>
                  <a:cubicBezTo>
                    <a:pt x="-3194" y="49756"/>
                    <a:pt x="-655" y="38326"/>
                    <a:pt x="4425" y="28166"/>
                  </a:cubicBezTo>
                  <a:cubicBezTo>
                    <a:pt x="13315" y="8481"/>
                    <a:pt x="34270" y="-1680"/>
                    <a:pt x="57765" y="-1044"/>
                  </a:cubicBezTo>
                  <a:cubicBezTo>
                    <a:pt x="61575" y="-409"/>
                    <a:pt x="64115" y="-409"/>
                    <a:pt x="66656" y="861"/>
                  </a:cubicBezTo>
                  <a:cubicBezTo>
                    <a:pt x="84434" y="4670"/>
                    <a:pt x="92690" y="16101"/>
                    <a:pt x="88245" y="33881"/>
                  </a:cubicBezTo>
                  <a:lnTo>
                    <a:pt x="73006" y="33881"/>
                  </a:lnTo>
                  <a:lnTo>
                    <a:pt x="56495" y="33881"/>
                  </a:lnTo>
                  <a:lnTo>
                    <a:pt x="56495" y="30070"/>
                  </a:lnTo>
                  <a:cubicBezTo>
                    <a:pt x="56495" y="23086"/>
                    <a:pt x="50781" y="19276"/>
                    <a:pt x="45700" y="23086"/>
                  </a:cubicBezTo>
                  <a:cubicBezTo>
                    <a:pt x="43159" y="24991"/>
                    <a:pt x="39984" y="27531"/>
                    <a:pt x="39350" y="29436"/>
                  </a:cubicBezTo>
                  <a:cubicBezTo>
                    <a:pt x="36809" y="40231"/>
                    <a:pt x="34906" y="50391"/>
                    <a:pt x="33000" y="60551"/>
                  </a:cubicBezTo>
                  <a:cubicBezTo>
                    <a:pt x="32365" y="64361"/>
                    <a:pt x="33000" y="67536"/>
                    <a:pt x="37445" y="69441"/>
                  </a:cubicBezTo>
                  <a:cubicBezTo>
                    <a:pt x="41256" y="70076"/>
                    <a:pt x="44431" y="68806"/>
                    <a:pt x="47606" y="64995"/>
                  </a:cubicBezTo>
                  <a:lnTo>
                    <a:pt x="47606" y="64361"/>
                  </a:lnTo>
                  <a:cubicBezTo>
                    <a:pt x="49509" y="57376"/>
                    <a:pt x="53956" y="57376"/>
                    <a:pt x="59034" y="57376"/>
                  </a:cubicBezTo>
                  <a:cubicBezTo>
                    <a:pt x="67290" y="58011"/>
                    <a:pt x="74275" y="57376"/>
                    <a:pt x="81259" y="57376"/>
                  </a:cubicBezTo>
                  <a:lnTo>
                    <a:pt x="84434" y="57376"/>
                  </a:lnTo>
                  <a:close/>
                </a:path>
              </a:pathLst>
            </a:custGeom>
            <a:solidFill>
              <a:srgbClr val="002733"/>
            </a:solidFill>
            <a:ln w="6350" cap="flat">
              <a:noFill/>
              <a:prstDash val="solid"/>
              <a:miter/>
            </a:ln>
          </p:spPr>
          <p:txBody>
            <a:bodyPr rtlCol="0" anchor="ctr"/>
            <a:lstStyle/>
            <a:p>
              <a:endParaRPr lang="en-GB"/>
            </a:p>
          </p:txBody>
        </p:sp>
        <p:sp>
          <p:nvSpPr>
            <p:cNvPr id="283" name="Freeform 282"/>
            <p:cNvSpPr/>
            <p:nvPr/>
          </p:nvSpPr>
          <p:spPr>
            <a:xfrm>
              <a:off x="7811135" y="3201034"/>
              <a:ext cx="82550" cy="88265"/>
            </a:xfrm>
            <a:custGeom>
              <a:avLst/>
              <a:gdLst>
                <a:gd name="connsiteX0" fmla="*/ 39889 w 82550"/>
                <a:gd name="connsiteY0" fmla="*/ 87193 h 88265"/>
                <a:gd name="connsiteX1" fmla="*/ 39889 w 82550"/>
                <a:gd name="connsiteY1" fmla="*/ 87193 h 88265"/>
                <a:gd name="connsiteX2" fmla="*/ 5598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3 w 82550"/>
                <a:gd name="connsiteY6" fmla="*/ -1072 h 88265"/>
                <a:gd name="connsiteX7" fmla="*/ 54494 w 82550"/>
                <a:gd name="connsiteY7" fmla="*/ -1072 h 88265"/>
                <a:gd name="connsiteX8" fmla="*/ 79894 w 82550"/>
                <a:gd name="connsiteY8" fmla="*/ -1072 h 88265"/>
                <a:gd name="connsiteX9" fmla="*/ 75448 w 82550"/>
                <a:gd name="connsiteY9" fmla="*/ 21153 h 88265"/>
                <a:gd name="connsiteX10" fmla="*/ 71639 w 82550"/>
                <a:gd name="connsiteY10" fmla="*/ 21788 h 88265"/>
                <a:gd name="connsiteX11" fmla="*/ 56398 w 82550"/>
                <a:gd name="connsiteY11" fmla="*/ 21788 h 88265"/>
                <a:gd name="connsiteX12" fmla="*/ 51953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8" y="87193"/>
                  </a:lnTo>
                  <a:cubicBezTo>
                    <a:pt x="10044" y="65603"/>
                    <a:pt x="14489" y="44648"/>
                    <a:pt x="19569" y="23058"/>
                  </a:cubicBezTo>
                  <a:lnTo>
                    <a:pt x="-2656" y="23058"/>
                  </a:lnTo>
                  <a:cubicBezTo>
                    <a:pt x="-752" y="14803"/>
                    <a:pt x="-117" y="7818"/>
                    <a:pt x="1789" y="833"/>
                  </a:cubicBezTo>
                  <a:cubicBezTo>
                    <a:pt x="2423" y="198"/>
                    <a:pt x="4328" y="-1072"/>
                    <a:pt x="6233" y="-1072"/>
                  </a:cubicBezTo>
                  <a:cubicBezTo>
                    <a:pt x="22108" y="-1072"/>
                    <a:pt x="37983" y="-1072"/>
                    <a:pt x="54494" y="-1072"/>
                  </a:cubicBezTo>
                  <a:lnTo>
                    <a:pt x="79894" y="-1072"/>
                  </a:lnTo>
                  <a:cubicBezTo>
                    <a:pt x="77989" y="7183"/>
                    <a:pt x="76083" y="14168"/>
                    <a:pt x="75448" y="21153"/>
                  </a:cubicBezTo>
                  <a:lnTo>
                    <a:pt x="71639" y="21788"/>
                  </a:lnTo>
                  <a:cubicBezTo>
                    <a:pt x="66558" y="21788"/>
                    <a:pt x="62114" y="22423"/>
                    <a:pt x="56398" y="21788"/>
                  </a:cubicBezTo>
                  <a:cubicBezTo>
                    <a:pt x="53858" y="21788"/>
                    <a:pt x="52589" y="22423"/>
                    <a:pt x="51953" y="25598"/>
                  </a:cubicBezTo>
                  <a:cubicBezTo>
                    <a:pt x="48144" y="45283"/>
                    <a:pt x="44333" y="63698"/>
                    <a:pt x="39889" y="83383"/>
                  </a:cubicBezTo>
                  <a:cubicBezTo>
                    <a:pt x="41158" y="84653"/>
                    <a:pt x="41158" y="85288"/>
                    <a:pt x="39889" y="87193"/>
                  </a:cubicBezTo>
                  <a:close/>
                </a:path>
              </a:pathLst>
            </a:custGeom>
            <a:solidFill>
              <a:srgbClr val="002733"/>
            </a:solidFill>
            <a:ln w="6350" cap="flat">
              <a:noFill/>
              <a:prstDash val="solid"/>
              <a:miter/>
            </a:ln>
          </p:spPr>
          <p:txBody>
            <a:bodyPr rtlCol="0" anchor="ctr"/>
            <a:lstStyle/>
            <a:p>
              <a:endParaRPr lang="en-GB"/>
            </a:p>
          </p:txBody>
        </p:sp>
        <p:sp>
          <p:nvSpPr>
            <p:cNvPr id="284" name="Freeform 283"/>
            <p:cNvSpPr/>
            <p:nvPr/>
          </p:nvSpPr>
          <p:spPr>
            <a:xfrm>
              <a:off x="7882889" y="3200400"/>
              <a:ext cx="52705" cy="88900"/>
            </a:xfrm>
            <a:custGeom>
              <a:avLst/>
              <a:gdLst>
                <a:gd name="connsiteX0" fmla="*/ 50049 w 52705"/>
                <a:gd name="connsiteY0" fmla="*/ -437 h 88900"/>
                <a:gd name="connsiteX1" fmla="*/ 50049 w 52705"/>
                <a:gd name="connsiteY1" fmla="*/ -437 h 88900"/>
                <a:gd name="connsiteX2" fmla="*/ 31635 w 52705"/>
                <a:gd name="connsiteY2" fmla="*/ 87828 h 88900"/>
                <a:gd name="connsiteX3" fmla="*/ -2656 w 52705"/>
                <a:gd name="connsiteY3" fmla="*/ 87828 h 88900"/>
                <a:gd name="connsiteX4" fmla="*/ 3694 w 52705"/>
                <a:gd name="connsiteY4" fmla="*/ 55443 h 88900"/>
                <a:gd name="connsiteX5" fmla="*/ 15124 w 52705"/>
                <a:gd name="connsiteY5" fmla="*/ 2738 h 88900"/>
                <a:gd name="connsiteX6" fmla="*/ 17665 w 52705"/>
                <a:gd name="connsiteY6" fmla="*/ -1072 h 88900"/>
                <a:gd name="connsiteX7" fmla="*/ 50049 w 52705"/>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5" h="88900">
                  <a:moveTo>
                    <a:pt x="50049" y="-437"/>
                  </a:moveTo>
                  <a:lnTo>
                    <a:pt x="50049" y="-437"/>
                  </a:lnTo>
                  <a:cubicBezTo>
                    <a:pt x="43699" y="28773"/>
                    <a:pt x="37985" y="58618"/>
                    <a:pt x="31635" y="87828"/>
                  </a:cubicBezTo>
                  <a:lnTo>
                    <a:pt x="-2656" y="87828"/>
                  </a:lnTo>
                  <a:cubicBezTo>
                    <a:pt x="-751" y="77033"/>
                    <a:pt x="1790" y="66238"/>
                    <a:pt x="3694" y="55443"/>
                  </a:cubicBezTo>
                  <a:cubicBezTo>
                    <a:pt x="6869" y="37663"/>
                    <a:pt x="10680" y="19883"/>
                    <a:pt x="15124" y="2738"/>
                  </a:cubicBezTo>
                  <a:cubicBezTo>
                    <a:pt x="15124" y="833"/>
                    <a:pt x="17030" y="-1072"/>
                    <a:pt x="17665" y="-1072"/>
                  </a:cubicBezTo>
                  <a:cubicBezTo>
                    <a:pt x="28460" y="-437"/>
                    <a:pt x="38619" y="-437"/>
                    <a:pt x="50049" y="-437"/>
                  </a:cubicBezTo>
                  <a:close/>
                </a:path>
              </a:pathLst>
            </a:custGeom>
            <a:solidFill>
              <a:srgbClr val="002733"/>
            </a:solidFill>
            <a:ln w="6350" cap="flat">
              <a:noFill/>
              <a:prstDash val="solid"/>
              <a:miter/>
            </a:ln>
          </p:spPr>
          <p:txBody>
            <a:bodyPr rtlCol="0" anchor="ctr"/>
            <a:lstStyle/>
            <a:p>
              <a:endParaRPr lang="en-GB"/>
            </a:p>
          </p:txBody>
        </p:sp>
      </p:grpSp>
      <p:grpSp>
        <p:nvGrpSpPr>
          <p:cNvPr id="293" name="Graphic 79"/>
          <p:cNvGrpSpPr/>
          <p:nvPr/>
        </p:nvGrpSpPr>
        <p:grpSpPr>
          <a:xfrm>
            <a:off x="5760719" y="3049904"/>
            <a:ext cx="670560" cy="757554"/>
            <a:chOff x="5760719" y="3049904"/>
            <a:chExt cx="670560" cy="757554"/>
          </a:xfrm>
        </p:grpSpPr>
        <p:sp>
          <p:nvSpPr>
            <p:cNvPr id="294" name="Freeform 293"/>
            <p:cNvSpPr/>
            <p:nvPr/>
          </p:nvSpPr>
          <p:spPr>
            <a:xfrm>
              <a:off x="5760719" y="3049904"/>
              <a:ext cx="670560" cy="757554"/>
            </a:xfrm>
            <a:custGeom>
              <a:avLst/>
              <a:gdLst>
                <a:gd name="connsiteX0" fmla="*/ -434 w 670560"/>
                <a:gd name="connsiteY0" fmla="*/ 108284 h 757554"/>
                <a:gd name="connsiteX1" fmla="*/ 33856 w 670560"/>
                <a:gd name="connsiteY1" fmla="*/ 52404 h 757554"/>
                <a:gd name="connsiteX2" fmla="*/ 334846 w 670560"/>
                <a:gd name="connsiteY2" fmla="*/ -301 h 757554"/>
                <a:gd name="connsiteX3" fmla="*/ 635836 w 670560"/>
                <a:gd name="connsiteY3" fmla="*/ 52404 h 757554"/>
                <a:gd name="connsiteX4" fmla="*/ 670127 w 670560"/>
                <a:gd name="connsiteY4" fmla="*/ 108284 h 757554"/>
                <a:gd name="connsiteX5" fmla="*/ 362786 w 670560"/>
                <a:gd name="connsiteY5" fmla="*/ 745824 h 757554"/>
                <a:gd name="connsiteX6" fmla="*/ 335481 w 670560"/>
                <a:gd name="connsiteY6" fmla="*/ 757254 h 757554"/>
                <a:gd name="connsiteX7" fmla="*/ 308177 w 670560"/>
                <a:gd name="connsiteY7" fmla="*/ 745824 h 757554"/>
                <a:gd name="connsiteX8" fmla="*/ -434 w 670560"/>
                <a:gd name="connsiteY8" fmla="*/ 108284 h 75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0560" h="757554">
                  <a:moveTo>
                    <a:pt x="-434" y="108284"/>
                  </a:moveTo>
                  <a:cubicBezTo>
                    <a:pt x="-434" y="80979"/>
                    <a:pt x="12266" y="61929"/>
                    <a:pt x="33856" y="52404"/>
                  </a:cubicBezTo>
                  <a:cubicBezTo>
                    <a:pt x="134821" y="7954"/>
                    <a:pt x="252296" y="-301"/>
                    <a:pt x="334846" y="-301"/>
                  </a:cubicBezTo>
                  <a:cubicBezTo>
                    <a:pt x="417396" y="-301"/>
                    <a:pt x="534871" y="8589"/>
                    <a:pt x="635836" y="52404"/>
                  </a:cubicBezTo>
                  <a:cubicBezTo>
                    <a:pt x="657427" y="61929"/>
                    <a:pt x="670127" y="80344"/>
                    <a:pt x="670127" y="108284"/>
                  </a:cubicBezTo>
                  <a:cubicBezTo>
                    <a:pt x="670127" y="416894"/>
                    <a:pt x="550746" y="610569"/>
                    <a:pt x="362786" y="745824"/>
                  </a:cubicBezTo>
                  <a:cubicBezTo>
                    <a:pt x="353896" y="752174"/>
                    <a:pt x="344371" y="757254"/>
                    <a:pt x="335481" y="757254"/>
                  </a:cubicBezTo>
                  <a:cubicBezTo>
                    <a:pt x="326591" y="757254"/>
                    <a:pt x="317066" y="752174"/>
                    <a:pt x="308177" y="745824"/>
                  </a:cubicBezTo>
                  <a:cubicBezTo>
                    <a:pt x="118946" y="611204"/>
                    <a:pt x="-434" y="417529"/>
                    <a:pt x="-434" y="108284"/>
                  </a:cubicBezTo>
                  <a:close/>
                </a:path>
              </a:pathLst>
            </a:custGeom>
            <a:solidFill>
              <a:srgbClr val="002733"/>
            </a:solidFill>
            <a:ln w="6350" cap="flat">
              <a:noFill/>
              <a:prstDash val="solid"/>
              <a:miter/>
            </a:ln>
          </p:spPr>
          <p:txBody>
            <a:bodyPr rtlCol="0" anchor="ctr"/>
            <a:lstStyle/>
            <a:p>
              <a:endParaRPr lang="en-GB"/>
            </a:p>
          </p:txBody>
        </p:sp>
        <p:sp>
          <p:nvSpPr>
            <p:cNvPr id="295" name="Freeform 294"/>
            <p:cNvSpPr/>
            <p:nvPr/>
          </p:nvSpPr>
          <p:spPr>
            <a:xfrm>
              <a:off x="5782944" y="3072765"/>
              <a:ext cx="626110" cy="713104"/>
            </a:xfrm>
            <a:custGeom>
              <a:avLst/>
              <a:gdLst>
                <a:gd name="connsiteX0" fmla="*/ 298016 w 626110"/>
                <a:gd name="connsiteY0" fmla="*/ 705184 h 713104"/>
                <a:gd name="connsiteX1" fmla="*/ -434 w 626110"/>
                <a:gd name="connsiteY1" fmla="*/ 86059 h 713104"/>
                <a:gd name="connsiteX2" fmla="*/ 20521 w 626110"/>
                <a:gd name="connsiteY2" fmla="*/ 50499 h 713104"/>
                <a:gd name="connsiteX3" fmla="*/ 312621 w 626110"/>
                <a:gd name="connsiteY3" fmla="*/ -301 h 713104"/>
                <a:gd name="connsiteX4" fmla="*/ 604721 w 626110"/>
                <a:gd name="connsiteY4" fmla="*/ 50499 h 713104"/>
                <a:gd name="connsiteX5" fmla="*/ 625677 w 626110"/>
                <a:gd name="connsiteY5" fmla="*/ 86059 h 713104"/>
                <a:gd name="connsiteX6" fmla="*/ 327227 w 626110"/>
                <a:gd name="connsiteY6" fmla="*/ 705184 h 713104"/>
                <a:gd name="connsiteX7" fmla="*/ 312621 w 626110"/>
                <a:gd name="connsiteY7" fmla="*/ 712804 h 713104"/>
                <a:gd name="connsiteX8" fmla="*/ 298016 w 626110"/>
                <a:gd name="connsiteY8" fmla="*/ 705184 h 713104"/>
                <a:gd name="connsiteX9" fmla="*/ 298016 w 626110"/>
                <a:gd name="connsiteY9" fmla="*/ 705184 h 713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6110" h="713104">
                  <a:moveTo>
                    <a:pt x="298016" y="705184"/>
                  </a:moveTo>
                  <a:cubicBezTo>
                    <a:pt x="115136" y="574374"/>
                    <a:pt x="-434" y="387684"/>
                    <a:pt x="-434" y="86059"/>
                  </a:cubicBezTo>
                  <a:cubicBezTo>
                    <a:pt x="-434" y="67009"/>
                    <a:pt x="7821" y="56214"/>
                    <a:pt x="20521" y="50499"/>
                  </a:cubicBezTo>
                  <a:cubicBezTo>
                    <a:pt x="117041" y="7954"/>
                    <a:pt x="230706" y="-301"/>
                    <a:pt x="312621" y="-301"/>
                  </a:cubicBezTo>
                  <a:cubicBezTo>
                    <a:pt x="393902" y="-301"/>
                    <a:pt x="507566" y="8589"/>
                    <a:pt x="604721" y="50499"/>
                  </a:cubicBezTo>
                  <a:cubicBezTo>
                    <a:pt x="617421" y="56214"/>
                    <a:pt x="625677" y="66374"/>
                    <a:pt x="625677" y="86059"/>
                  </a:cubicBezTo>
                  <a:cubicBezTo>
                    <a:pt x="625677" y="387684"/>
                    <a:pt x="510106" y="574374"/>
                    <a:pt x="327227" y="705184"/>
                  </a:cubicBezTo>
                  <a:cubicBezTo>
                    <a:pt x="318971" y="711534"/>
                    <a:pt x="313891" y="712804"/>
                    <a:pt x="312621" y="712804"/>
                  </a:cubicBezTo>
                  <a:cubicBezTo>
                    <a:pt x="311352" y="712169"/>
                    <a:pt x="306271" y="710899"/>
                    <a:pt x="298016" y="705184"/>
                  </a:cubicBezTo>
                  <a:lnTo>
                    <a:pt x="298016" y="705184"/>
                  </a:lnTo>
                  <a:close/>
                </a:path>
              </a:pathLst>
            </a:custGeom>
            <a:solidFill>
              <a:srgbClr val="FFFFFF"/>
            </a:solidFill>
            <a:ln w="6350" cap="flat">
              <a:noFill/>
              <a:prstDash val="solid"/>
              <a:miter/>
            </a:ln>
          </p:spPr>
          <p:txBody>
            <a:bodyPr rtlCol="0" anchor="ctr"/>
            <a:lstStyle/>
            <a:p>
              <a:endParaRPr lang="en-GB"/>
            </a:p>
          </p:txBody>
        </p:sp>
        <p:sp>
          <p:nvSpPr>
            <p:cNvPr id="296" name="Freeform 295"/>
            <p:cNvSpPr/>
            <p:nvPr/>
          </p:nvSpPr>
          <p:spPr>
            <a:xfrm>
              <a:off x="5929822" y="3197185"/>
              <a:ext cx="368996" cy="425850"/>
            </a:xfrm>
            <a:custGeom>
              <a:avLst/>
              <a:gdLst>
                <a:gd name="connsiteX0" fmla="*/ 130184 w 368996"/>
                <a:gd name="connsiteY0" fmla="*/ 325493 h 425850"/>
                <a:gd name="connsiteX1" fmla="*/ 125738 w 368996"/>
                <a:gd name="connsiteY1" fmla="*/ 324223 h 425850"/>
                <a:gd name="connsiteX2" fmla="*/ 121293 w 368996"/>
                <a:gd name="connsiteY2" fmla="*/ 331208 h 425850"/>
                <a:gd name="connsiteX3" fmla="*/ 118753 w 368996"/>
                <a:gd name="connsiteY3" fmla="*/ 337558 h 425850"/>
                <a:gd name="connsiteX4" fmla="*/ 130184 w 368996"/>
                <a:gd name="connsiteY4" fmla="*/ 325493 h 425850"/>
                <a:gd name="connsiteX5" fmla="*/ 130184 w 368996"/>
                <a:gd name="connsiteY5" fmla="*/ 325493 h 425850"/>
                <a:gd name="connsiteX6" fmla="*/ 58428 w 368996"/>
                <a:gd name="connsiteY6" fmla="*/ 335653 h 425850"/>
                <a:gd name="connsiteX7" fmla="*/ 55888 w 368996"/>
                <a:gd name="connsiteY7" fmla="*/ 330573 h 425850"/>
                <a:gd name="connsiteX8" fmla="*/ 50174 w 368996"/>
                <a:gd name="connsiteY8" fmla="*/ 342003 h 425850"/>
                <a:gd name="connsiteX9" fmla="*/ 46363 w 368996"/>
                <a:gd name="connsiteY9" fmla="*/ 353433 h 425850"/>
                <a:gd name="connsiteX10" fmla="*/ 46999 w 368996"/>
                <a:gd name="connsiteY10" fmla="*/ 353433 h 425850"/>
                <a:gd name="connsiteX11" fmla="*/ 58428 w 368996"/>
                <a:gd name="connsiteY11" fmla="*/ 335653 h 425850"/>
                <a:gd name="connsiteX12" fmla="*/ 58428 w 368996"/>
                <a:gd name="connsiteY12" fmla="*/ 335653 h 425850"/>
                <a:gd name="connsiteX13" fmla="*/ 125738 w 368996"/>
                <a:gd name="connsiteY13" fmla="*/ 169283 h 425850"/>
                <a:gd name="connsiteX14" fmla="*/ 123199 w 368996"/>
                <a:gd name="connsiteY14" fmla="*/ 162933 h 425850"/>
                <a:gd name="connsiteX15" fmla="*/ 119388 w 368996"/>
                <a:gd name="connsiteY15" fmla="*/ 173728 h 425850"/>
                <a:gd name="connsiteX16" fmla="*/ 111768 w 368996"/>
                <a:gd name="connsiteY16" fmla="*/ 188968 h 425850"/>
                <a:gd name="connsiteX17" fmla="*/ 120024 w 368996"/>
                <a:gd name="connsiteY17" fmla="*/ 197858 h 425850"/>
                <a:gd name="connsiteX18" fmla="*/ 143518 w 368996"/>
                <a:gd name="connsiteY18" fmla="*/ 195953 h 425850"/>
                <a:gd name="connsiteX19" fmla="*/ 143518 w 368996"/>
                <a:gd name="connsiteY19" fmla="*/ 194048 h 425850"/>
                <a:gd name="connsiteX20" fmla="*/ 125738 w 368996"/>
                <a:gd name="connsiteY20" fmla="*/ 169283 h 425850"/>
                <a:gd name="connsiteX21" fmla="*/ 125738 w 368996"/>
                <a:gd name="connsiteY21" fmla="*/ 169283 h 425850"/>
                <a:gd name="connsiteX22" fmla="*/ 202574 w 368996"/>
                <a:gd name="connsiteY22" fmla="*/ 141978 h 425850"/>
                <a:gd name="connsiteX23" fmla="*/ 204478 w 368996"/>
                <a:gd name="connsiteY23" fmla="*/ 145153 h 425850"/>
                <a:gd name="connsiteX24" fmla="*/ 217813 w 368996"/>
                <a:gd name="connsiteY24" fmla="*/ 155948 h 425850"/>
                <a:gd name="connsiteX25" fmla="*/ 227974 w 368996"/>
                <a:gd name="connsiteY25" fmla="*/ 154043 h 425850"/>
                <a:gd name="connsiteX26" fmla="*/ 198763 w 368996"/>
                <a:gd name="connsiteY26" fmla="*/ 127373 h 425850"/>
                <a:gd name="connsiteX27" fmla="*/ 191778 w 368996"/>
                <a:gd name="connsiteY27" fmla="*/ 127373 h 425850"/>
                <a:gd name="connsiteX28" fmla="*/ 185428 w 368996"/>
                <a:gd name="connsiteY28" fmla="*/ 140708 h 425850"/>
                <a:gd name="connsiteX29" fmla="*/ 202574 w 368996"/>
                <a:gd name="connsiteY29" fmla="*/ 141978 h 425850"/>
                <a:gd name="connsiteX30" fmla="*/ 202574 w 368996"/>
                <a:gd name="connsiteY30" fmla="*/ 141978 h 425850"/>
                <a:gd name="connsiteX31" fmla="*/ 205113 w 368996"/>
                <a:gd name="connsiteY31" fmla="*/ 88003 h 425850"/>
                <a:gd name="connsiteX32" fmla="*/ 209559 w 368996"/>
                <a:gd name="connsiteY32" fmla="*/ 86733 h 425850"/>
                <a:gd name="connsiteX33" fmla="*/ 201938 w 368996"/>
                <a:gd name="connsiteY33" fmla="*/ 77843 h 425850"/>
                <a:gd name="connsiteX34" fmla="*/ 198128 w 368996"/>
                <a:gd name="connsiteY34" fmla="*/ 79113 h 425850"/>
                <a:gd name="connsiteX35" fmla="*/ 205113 w 368996"/>
                <a:gd name="connsiteY35" fmla="*/ 88003 h 425850"/>
                <a:gd name="connsiteX36" fmla="*/ 196224 w 368996"/>
                <a:gd name="connsiteY36" fmla="*/ 18153 h 425850"/>
                <a:gd name="connsiteX37" fmla="*/ 184159 w 368996"/>
                <a:gd name="connsiteY37" fmla="*/ 13073 h 425850"/>
                <a:gd name="connsiteX38" fmla="*/ 181618 w 368996"/>
                <a:gd name="connsiteY38" fmla="*/ 16883 h 425850"/>
                <a:gd name="connsiteX39" fmla="*/ 196224 w 368996"/>
                <a:gd name="connsiteY39" fmla="*/ 18153 h 425850"/>
                <a:gd name="connsiteX40" fmla="*/ 196224 w 368996"/>
                <a:gd name="connsiteY40" fmla="*/ 18153 h 425850"/>
                <a:gd name="connsiteX41" fmla="*/ 226068 w 368996"/>
                <a:gd name="connsiteY41" fmla="*/ 279138 h 425850"/>
                <a:gd name="connsiteX42" fmla="*/ 222259 w 368996"/>
                <a:gd name="connsiteY42" fmla="*/ 282313 h 425850"/>
                <a:gd name="connsiteX43" fmla="*/ 214638 w 368996"/>
                <a:gd name="connsiteY43" fmla="*/ 277233 h 425850"/>
                <a:gd name="connsiteX44" fmla="*/ 214638 w 368996"/>
                <a:gd name="connsiteY44" fmla="*/ 266438 h 425850"/>
                <a:gd name="connsiteX45" fmla="*/ 215909 w 368996"/>
                <a:gd name="connsiteY45" fmla="*/ 265803 h 425850"/>
                <a:gd name="connsiteX46" fmla="*/ 226068 w 368996"/>
                <a:gd name="connsiteY46" fmla="*/ 279138 h 425850"/>
                <a:gd name="connsiteX47" fmla="*/ 226068 w 368996"/>
                <a:gd name="connsiteY47" fmla="*/ 279138 h 425850"/>
                <a:gd name="connsiteX48" fmla="*/ 294013 w 368996"/>
                <a:gd name="connsiteY48" fmla="*/ 243578 h 425850"/>
                <a:gd name="connsiteX49" fmla="*/ 308618 w 368996"/>
                <a:gd name="connsiteY49" fmla="*/ 253738 h 425850"/>
                <a:gd name="connsiteX50" fmla="*/ 314968 w 368996"/>
                <a:gd name="connsiteY50" fmla="*/ 288663 h 425850"/>
                <a:gd name="connsiteX51" fmla="*/ 310524 w 368996"/>
                <a:gd name="connsiteY51" fmla="*/ 321683 h 425850"/>
                <a:gd name="connsiteX52" fmla="*/ 313063 w 368996"/>
                <a:gd name="connsiteY52" fmla="*/ 345813 h 425850"/>
                <a:gd name="connsiteX53" fmla="*/ 315603 w 368996"/>
                <a:gd name="connsiteY53" fmla="*/ 367403 h 425850"/>
                <a:gd name="connsiteX54" fmla="*/ 307349 w 368996"/>
                <a:gd name="connsiteY54" fmla="*/ 373753 h 425850"/>
                <a:gd name="connsiteX55" fmla="*/ 304174 w 368996"/>
                <a:gd name="connsiteY55" fmla="*/ 366133 h 425850"/>
                <a:gd name="connsiteX56" fmla="*/ 301634 w 368996"/>
                <a:gd name="connsiteY56" fmla="*/ 373753 h 425850"/>
                <a:gd name="connsiteX57" fmla="*/ 288934 w 368996"/>
                <a:gd name="connsiteY57" fmla="*/ 363593 h 425850"/>
                <a:gd name="connsiteX58" fmla="*/ 294013 w 368996"/>
                <a:gd name="connsiteY58" fmla="*/ 342003 h 425850"/>
                <a:gd name="connsiteX59" fmla="*/ 295284 w 368996"/>
                <a:gd name="connsiteY59" fmla="*/ 315333 h 425850"/>
                <a:gd name="connsiteX60" fmla="*/ 277503 w 368996"/>
                <a:gd name="connsiteY60" fmla="*/ 286123 h 425850"/>
                <a:gd name="connsiteX61" fmla="*/ 269249 w 368996"/>
                <a:gd name="connsiteY61" fmla="*/ 291838 h 425850"/>
                <a:gd name="connsiteX62" fmla="*/ 262899 w 368996"/>
                <a:gd name="connsiteY62" fmla="*/ 297553 h 425850"/>
                <a:gd name="connsiteX63" fmla="*/ 254643 w 368996"/>
                <a:gd name="connsiteY63" fmla="*/ 306443 h 425850"/>
                <a:gd name="connsiteX64" fmla="*/ 247024 w 368996"/>
                <a:gd name="connsiteY64" fmla="*/ 325493 h 425850"/>
                <a:gd name="connsiteX65" fmla="*/ 247659 w 368996"/>
                <a:gd name="connsiteY65" fmla="*/ 336288 h 425850"/>
                <a:gd name="connsiteX66" fmla="*/ 245753 w 368996"/>
                <a:gd name="connsiteY66" fmla="*/ 342003 h 425850"/>
                <a:gd name="connsiteX67" fmla="*/ 240038 w 368996"/>
                <a:gd name="connsiteY67" fmla="*/ 347083 h 425850"/>
                <a:gd name="connsiteX68" fmla="*/ 234959 w 368996"/>
                <a:gd name="connsiteY68" fmla="*/ 354068 h 425850"/>
                <a:gd name="connsiteX69" fmla="*/ 204478 w 368996"/>
                <a:gd name="connsiteY69" fmla="*/ 355338 h 425850"/>
                <a:gd name="connsiteX70" fmla="*/ 192413 w 368996"/>
                <a:gd name="connsiteY70" fmla="*/ 352163 h 425850"/>
                <a:gd name="connsiteX71" fmla="*/ 185428 w 368996"/>
                <a:gd name="connsiteY71" fmla="*/ 335653 h 425850"/>
                <a:gd name="connsiteX72" fmla="*/ 182888 w 368996"/>
                <a:gd name="connsiteY72" fmla="*/ 327398 h 425850"/>
                <a:gd name="connsiteX73" fmla="*/ 179713 w 368996"/>
                <a:gd name="connsiteY73" fmla="*/ 322318 h 425850"/>
                <a:gd name="connsiteX74" fmla="*/ 175903 w 368996"/>
                <a:gd name="connsiteY74" fmla="*/ 321048 h 425850"/>
                <a:gd name="connsiteX75" fmla="*/ 172093 w 368996"/>
                <a:gd name="connsiteY75" fmla="*/ 328668 h 425850"/>
                <a:gd name="connsiteX76" fmla="*/ 172093 w 368996"/>
                <a:gd name="connsiteY76" fmla="*/ 334383 h 425850"/>
                <a:gd name="connsiteX77" fmla="*/ 169553 w 368996"/>
                <a:gd name="connsiteY77" fmla="*/ 347718 h 425850"/>
                <a:gd name="connsiteX78" fmla="*/ 165743 w 368996"/>
                <a:gd name="connsiteY78" fmla="*/ 350258 h 425850"/>
                <a:gd name="connsiteX79" fmla="*/ 162568 w 368996"/>
                <a:gd name="connsiteY79" fmla="*/ 366133 h 425850"/>
                <a:gd name="connsiteX80" fmla="*/ 141613 w 368996"/>
                <a:gd name="connsiteY80" fmla="*/ 374388 h 425850"/>
                <a:gd name="connsiteX81" fmla="*/ 137803 w 368996"/>
                <a:gd name="connsiteY81" fmla="*/ 374388 h 425850"/>
                <a:gd name="connsiteX82" fmla="*/ 135899 w 368996"/>
                <a:gd name="connsiteY82" fmla="*/ 366768 h 425850"/>
                <a:gd name="connsiteX83" fmla="*/ 126374 w 368996"/>
                <a:gd name="connsiteY83" fmla="*/ 369308 h 425850"/>
                <a:gd name="connsiteX84" fmla="*/ 128278 w 368996"/>
                <a:gd name="connsiteY84" fmla="*/ 362958 h 425850"/>
                <a:gd name="connsiteX85" fmla="*/ 141613 w 368996"/>
                <a:gd name="connsiteY85" fmla="*/ 345178 h 425850"/>
                <a:gd name="connsiteX86" fmla="*/ 147328 w 368996"/>
                <a:gd name="connsiteY86" fmla="*/ 336288 h 425850"/>
                <a:gd name="connsiteX87" fmla="*/ 152409 w 368996"/>
                <a:gd name="connsiteY87" fmla="*/ 329303 h 425850"/>
                <a:gd name="connsiteX88" fmla="*/ 153678 w 368996"/>
                <a:gd name="connsiteY88" fmla="*/ 319143 h 425850"/>
                <a:gd name="connsiteX89" fmla="*/ 137803 w 368996"/>
                <a:gd name="connsiteY89" fmla="*/ 330573 h 425850"/>
                <a:gd name="connsiteX90" fmla="*/ 125103 w 368996"/>
                <a:gd name="connsiteY90" fmla="*/ 347083 h 425850"/>
                <a:gd name="connsiteX91" fmla="*/ 106053 w 368996"/>
                <a:gd name="connsiteY91" fmla="*/ 379468 h 425850"/>
                <a:gd name="connsiteX92" fmla="*/ 102243 w 368996"/>
                <a:gd name="connsiteY92" fmla="*/ 382008 h 425850"/>
                <a:gd name="connsiteX93" fmla="*/ 99068 w 368996"/>
                <a:gd name="connsiteY93" fmla="*/ 392803 h 425850"/>
                <a:gd name="connsiteX94" fmla="*/ 74303 w 368996"/>
                <a:gd name="connsiteY94" fmla="*/ 399788 h 425850"/>
                <a:gd name="connsiteX95" fmla="*/ 73668 w 368996"/>
                <a:gd name="connsiteY95" fmla="*/ 391533 h 425850"/>
                <a:gd name="connsiteX96" fmla="*/ 66049 w 368996"/>
                <a:gd name="connsiteY96" fmla="*/ 395978 h 425850"/>
                <a:gd name="connsiteX97" fmla="*/ 66049 w 368996"/>
                <a:gd name="connsiteY97" fmla="*/ 371213 h 425850"/>
                <a:gd name="connsiteX98" fmla="*/ 80018 w 368996"/>
                <a:gd name="connsiteY98" fmla="*/ 359783 h 425850"/>
                <a:gd name="connsiteX99" fmla="*/ 100338 w 368996"/>
                <a:gd name="connsiteY99" fmla="*/ 345178 h 425850"/>
                <a:gd name="connsiteX100" fmla="*/ 103513 w 368996"/>
                <a:gd name="connsiteY100" fmla="*/ 332478 h 425850"/>
                <a:gd name="connsiteX101" fmla="*/ 109228 w 368996"/>
                <a:gd name="connsiteY101" fmla="*/ 320413 h 425850"/>
                <a:gd name="connsiteX102" fmla="*/ 103513 w 368996"/>
                <a:gd name="connsiteY102" fmla="*/ 318508 h 425850"/>
                <a:gd name="connsiteX103" fmla="*/ 96528 w 368996"/>
                <a:gd name="connsiteY103" fmla="*/ 284853 h 425850"/>
                <a:gd name="connsiteX104" fmla="*/ 80018 w 368996"/>
                <a:gd name="connsiteY104" fmla="*/ 307078 h 425850"/>
                <a:gd name="connsiteX105" fmla="*/ 67318 w 368996"/>
                <a:gd name="connsiteY105" fmla="*/ 330573 h 425850"/>
                <a:gd name="connsiteX106" fmla="*/ 49538 w 368996"/>
                <a:gd name="connsiteY106" fmla="*/ 366768 h 425850"/>
                <a:gd name="connsiteX107" fmla="*/ 39378 w 368996"/>
                <a:gd name="connsiteY107" fmla="*/ 401693 h 425850"/>
                <a:gd name="connsiteX108" fmla="*/ 34299 w 368996"/>
                <a:gd name="connsiteY108" fmla="*/ 419473 h 425850"/>
                <a:gd name="connsiteX109" fmla="*/ 8263 w 368996"/>
                <a:gd name="connsiteY109" fmla="*/ 424553 h 425850"/>
                <a:gd name="connsiteX110" fmla="*/ 11438 w 368996"/>
                <a:gd name="connsiteY110" fmla="*/ 413123 h 425850"/>
                <a:gd name="connsiteX111" fmla="*/ 643 w 368996"/>
                <a:gd name="connsiteY111" fmla="*/ 421378 h 425850"/>
                <a:gd name="connsiteX112" fmla="*/ 10803 w 368996"/>
                <a:gd name="connsiteY112" fmla="*/ 396613 h 425850"/>
                <a:gd name="connsiteX113" fmla="*/ 12709 w 368996"/>
                <a:gd name="connsiteY113" fmla="*/ 392803 h 425850"/>
                <a:gd name="connsiteX114" fmla="*/ 33028 w 368996"/>
                <a:gd name="connsiteY114" fmla="*/ 361688 h 425850"/>
                <a:gd name="connsiteX115" fmla="*/ 43188 w 368996"/>
                <a:gd name="connsiteY115" fmla="*/ 328033 h 425850"/>
                <a:gd name="connsiteX116" fmla="*/ 45093 w 368996"/>
                <a:gd name="connsiteY116" fmla="*/ 293743 h 425850"/>
                <a:gd name="connsiteX117" fmla="*/ 57793 w 368996"/>
                <a:gd name="connsiteY117" fmla="*/ 241673 h 425850"/>
                <a:gd name="connsiteX118" fmla="*/ 67953 w 368996"/>
                <a:gd name="connsiteY118" fmla="*/ 204208 h 425850"/>
                <a:gd name="connsiteX119" fmla="*/ 91449 w 368996"/>
                <a:gd name="connsiteY119" fmla="*/ 155948 h 425850"/>
                <a:gd name="connsiteX120" fmla="*/ 116849 w 368996"/>
                <a:gd name="connsiteY120" fmla="*/ 109593 h 425850"/>
                <a:gd name="connsiteX121" fmla="*/ 142249 w 368996"/>
                <a:gd name="connsiteY121" fmla="*/ 96258 h 425850"/>
                <a:gd name="connsiteX122" fmla="*/ 176538 w 368996"/>
                <a:gd name="connsiteY122" fmla="*/ 69588 h 425850"/>
                <a:gd name="connsiteX123" fmla="*/ 197493 w 368996"/>
                <a:gd name="connsiteY123" fmla="*/ 65143 h 425850"/>
                <a:gd name="connsiteX124" fmla="*/ 240038 w 368996"/>
                <a:gd name="connsiteY124" fmla="*/ 79748 h 425850"/>
                <a:gd name="connsiteX125" fmla="*/ 260993 w 368996"/>
                <a:gd name="connsiteY125" fmla="*/ 84193 h 425850"/>
                <a:gd name="connsiteX126" fmla="*/ 242578 w 368996"/>
                <a:gd name="connsiteY126" fmla="*/ 46728 h 425850"/>
                <a:gd name="connsiteX127" fmla="*/ 182888 w 368996"/>
                <a:gd name="connsiteY127" fmla="*/ 46093 h 425850"/>
                <a:gd name="connsiteX128" fmla="*/ 130184 w 368996"/>
                <a:gd name="connsiteY128" fmla="*/ 16248 h 425850"/>
                <a:gd name="connsiteX129" fmla="*/ 240038 w 368996"/>
                <a:gd name="connsiteY129" fmla="*/ 14978 h 425850"/>
                <a:gd name="connsiteX130" fmla="*/ 208924 w 368996"/>
                <a:gd name="connsiteY130" fmla="*/ 13708 h 425850"/>
                <a:gd name="connsiteX131" fmla="*/ 197493 w 368996"/>
                <a:gd name="connsiteY131" fmla="*/ 14978 h 425850"/>
                <a:gd name="connsiteX132" fmla="*/ 212099 w 368996"/>
                <a:gd name="connsiteY132" fmla="*/ 19423 h 425850"/>
                <a:gd name="connsiteX133" fmla="*/ 216543 w 368996"/>
                <a:gd name="connsiteY133" fmla="*/ 24503 h 425850"/>
                <a:gd name="connsiteX134" fmla="*/ 152409 w 368996"/>
                <a:gd name="connsiteY134" fmla="*/ 11803 h 425850"/>
                <a:gd name="connsiteX135" fmla="*/ 142884 w 368996"/>
                <a:gd name="connsiteY135" fmla="*/ 32123 h 425850"/>
                <a:gd name="connsiteX136" fmla="*/ 257818 w 368996"/>
                <a:gd name="connsiteY136" fmla="*/ 39108 h 425850"/>
                <a:gd name="connsiteX137" fmla="*/ 289568 w 368996"/>
                <a:gd name="connsiteY137" fmla="*/ 63238 h 425850"/>
                <a:gd name="connsiteX138" fmla="*/ 285124 w 368996"/>
                <a:gd name="connsiteY138" fmla="*/ 91178 h 425850"/>
                <a:gd name="connsiteX139" fmla="*/ 300999 w 368996"/>
                <a:gd name="connsiteY139" fmla="*/ 120388 h 425850"/>
                <a:gd name="connsiteX140" fmla="*/ 318143 w 368996"/>
                <a:gd name="connsiteY140" fmla="*/ 159758 h 425850"/>
                <a:gd name="connsiteX141" fmla="*/ 314968 w 368996"/>
                <a:gd name="connsiteY141" fmla="*/ 189603 h 425850"/>
                <a:gd name="connsiteX142" fmla="*/ 316874 w 368996"/>
                <a:gd name="connsiteY142" fmla="*/ 220718 h 425850"/>
                <a:gd name="connsiteX143" fmla="*/ 307349 w 368996"/>
                <a:gd name="connsiteY143" fmla="*/ 219448 h 425850"/>
                <a:gd name="connsiteX144" fmla="*/ 308618 w 368996"/>
                <a:gd name="connsiteY144" fmla="*/ 206113 h 425850"/>
                <a:gd name="connsiteX145" fmla="*/ 304174 w 368996"/>
                <a:gd name="connsiteY145" fmla="*/ 185793 h 425850"/>
                <a:gd name="connsiteX146" fmla="*/ 309253 w 368996"/>
                <a:gd name="connsiteY146" fmla="*/ 154043 h 425850"/>
                <a:gd name="connsiteX147" fmla="*/ 300999 w 368996"/>
                <a:gd name="connsiteY147" fmla="*/ 133723 h 425850"/>
                <a:gd name="connsiteX148" fmla="*/ 294649 w 368996"/>
                <a:gd name="connsiteY148" fmla="*/ 122293 h 425850"/>
                <a:gd name="connsiteX149" fmla="*/ 284488 w 368996"/>
                <a:gd name="connsiteY149" fmla="*/ 103243 h 425850"/>
                <a:gd name="connsiteX150" fmla="*/ 276234 w 368996"/>
                <a:gd name="connsiteY150" fmla="*/ 96258 h 425850"/>
                <a:gd name="connsiteX151" fmla="*/ 266074 w 368996"/>
                <a:gd name="connsiteY151" fmla="*/ 98163 h 425850"/>
                <a:gd name="connsiteX152" fmla="*/ 255913 w 368996"/>
                <a:gd name="connsiteY152" fmla="*/ 101973 h 425850"/>
                <a:gd name="connsiteX153" fmla="*/ 255913 w 368996"/>
                <a:gd name="connsiteY153" fmla="*/ 108323 h 425850"/>
                <a:gd name="connsiteX154" fmla="*/ 264803 w 368996"/>
                <a:gd name="connsiteY154" fmla="*/ 117213 h 425850"/>
                <a:gd name="connsiteX155" fmla="*/ 262899 w 368996"/>
                <a:gd name="connsiteY155" fmla="*/ 141343 h 425850"/>
                <a:gd name="connsiteX156" fmla="*/ 246388 w 368996"/>
                <a:gd name="connsiteY156" fmla="*/ 132453 h 425850"/>
                <a:gd name="connsiteX157" fmla="*/ 222893 w 368996"/>
                <a:gd name="connsiteY157" fmla="*/ 100068 h 425850"/>
                <a:gd name="connsiteX158" fmla="*/ 210193 w 368996"/>
                <a:gd name="connsiteY158" fmla="*/ 96258 h 425850"/>
                <a:gd name="connsiteX159" fmla="*/ 210193 w 368996"/>
                <a:gd name="connsiteY159" fmla="*/ 98798 h 425850"/>
                <a:gd name="connsiteX160" fmla="*/ 233688 w 368996"/>
                <a:gd name="connsiteY160" fmla="*/ 138803 h 425850"/>
                <a:gd name="connsiteX161" fmla="*/ 251468 w 368996"/>
                <a:gd name="connsiteY161" fmla="*/ 180713 h 425850"/>
                <a:gd name="connsiteX162" fmla="*/ 251468 w 368996"/>
                <a:gd name="connsiteY162" fmla="*/ 188968 h 425850"/>
                <a:gd name="connsiteX163" fmla="*/ 245753 w 368996"/>
                <a:gd name="connsiteY163" fmla="*/ 178808 h 425850"/>
                <a:gd name="connsiteX164" fmla="*/ 242578 w 368996"/>
                <a:gd name="connsiteY164" fmla="*/ 170553 h 425850"/>
                <a:gd name="connsiteX165" fmla="*/ 223528 w 368996"/>
                <a:gd name="connsiteY165" fmla="*/ 172458 h 425850"/>
                <a:gd name="connsiteX166" fmla="*/ 213368 w 368996"/>
                <a:gd name="connsiteY166" fmla="*/ 174998 h 425850"/>
                <a:gd name="connsiteX167" fmla="*/ 216543 w 368996"/>
                <a:gd name="connsiteY167" fmla="*/ 180713 h 425850"/>
                <a:gd name="connsiteX168" fmla="*/ 235593 w 368996"/>
                <a:gd name="connsiteY168" fmla="*/ 188968 h 425850"/>
                <a:gd name="connsiteX169" fmla="*/ 234324 w 368996"/>
                <a:gd name="connsiteY169" fmla="*/ 190873 h 425850"/>
                <a:gd name="connsiteX170" fmla="*/ 227338 w 368996"/>
                <a:gd name="connsiteY170" fmla="*/ 186428 h 425850"/>
                <a:gd name="connsiteX171" fmla="*/ 218449 w 368996"/>
                <a:gd name="connsiteY171" fmla="*/ 190238 h 425850"/>
                <a:gd name="connsiteX172" fmla="*/ 221624 w 368996"/>
                <a:gd name="connsiteY172" fmla="*/ 195318 h 425850"/>
                <a:gd name="connsiteX173" fmla="*/ 245118 w 368996"/>
                <a:gd name="connsiteY173" fmla="*/ 205478 h 425850"/>
                <a:gd name="connsiteX174" fmla="*/ 250199 w 368996"/>
                <a:gd name="connsiteY174" fmla="*/ 210558 h 425850"/>
                <a:gd name="connsiteX175" fmla="*/ 259088 w 368996"/>
                <a:gd name="connsiteY175" fmla="*/ 210558 h 425850"/>
                <a:gd name="connsiteX176" fmla="*/ 304174 w 368996"/>
                <a:gd name="connsiteY176" fmla="*/ 228338 h 425850"/>
                <a:gd name="connsiteX177" fmla="*/ 342274 w 368996"/>
                <a:gd name="connsiteY177" fmla="*/ 251833 h 425850"/>
                <a:gd name="connsiteX178" fmla="*/ 362593 w 368996"/>
                <a:gd name="connsiteY178" fmla="*/ 252468 h 425850"/>
                <a:gd name="connsiteX179" fmla="*/ 363863 w 368996"/>
                <a:gd name="connsiteY179" fmla="*/ 256913 h 425850"/>
                <a:gd name="connsiteX180" fmla="*/ 295284 w 368996"/>
                <a:gd name="connsiteY180" fmla="*/ 241673 h 425850"/>
                <a:gd name="connsiteX181" fmla="*/ 294649 w 368996"/>
                <a:gd name="connsiteY181" fmla="*/ 226433 h 425850"/>
                <a:gd name="connsiteX182" fmla="*/ 285759 w 368996"/>
                <a:gd name="connsiteY182" fmla="*/ 221988 h 425850"/>
                <a:gd name="connsiteX183" fmla="*/ 275599 w 368996"/>
                <a:gd name="connsiteY183" fmla="*/ 221353 h 425850"/>
                <a:gd name="connsiteX184" fmla="*/ 267978 w 368996"/>
                <a:gd name="connsiteY184" fmla="*/ 216908 h 425850"/>
                <a:gd name="connsiteX185" fmla="*/ 263534 w 368996"/>
                <a:gd name="connsiteY185" fmla="*/ 217543 h 425850"/>
                <a:gd name="connsiteX186" fmla="*/ 261628 w 368996"/>
                <a:gd name="connsiteY186" fmla="*/ 221353 h 425850"/>
                <a:gd name="connsiteX187" fmla="*/ 262899 w 368996"/>
                <a:gd name="connsiteY187" fmla="*/ 226433 h 425850"/>
                <a:gd name="connsiteX188" fmla="*/ 271153 w 368996"/>
                <a:gd name="connsiteY188" fmla="*/ 230243 h 425850"/>
                <a:gd name="connsiteX189" fmla="*/ 271788 w 368996"/>
                <a:gd name="connsiteY189" fmla="*/ 232783 h 425850"/>
                <a:gd name="connsiteX190" fmla="*/ 256549 w 368996"/>
                <a:gd name="connsiteY190" fmla="*/ 230878 h 425850"/>
                <a:gd name="connsiteX191" fmla="*/ 256549 w 368996"/>
                <a:gd name="connsiteY191" fmla="*/ 221353 h 425850"/>
                <a:gd name="connsiteX192" fmla="*/ 246388 w 368996"/>
                <a:gd name="connsiteY192" fmla="*/ 214368 h 425850"/>
                <a:gd name="connsiteX193" fmla="*/ 245753 w 368996"/>
                <a:gd name="connsiteY193" fmla="*/ 217543 h 425850"/>
                <a:gd name="connsiteX194" fmla="*/ 243849 w 368996"/>
                <a:gd name="connsiteY194" fmla="*/ 229608 h 425850"/>
                <a:gd name="connsiteX195" fmla="*/ 243213 w 368996"/>
                <a:gd name="connsiteY195" fmla="*/ 245483 h 425850"/>
                <a:gd name="connsiteX196" fmla="*/ 276234 w 368996"/>
                <a:gd name="connsiteY196" fmla="*/ 245483 h 425850"/>
                <a:gd name="connsiteX197" fmla="*/ 275599 w 368996"/>
                <a:gd name="connsiteY197" fmla="*/ 249293 h 425850"/>
                <a:gd name="connsiteX198" fmla="*/ 264168 w 368996"/>
                <a:gd name="connsiteY198" fmla="*/ 255643 h 425850"/>
                <a:gd name="connsiteX199" fmla="*/ 254643 w 368996"/>
                <a:gd name="connsiteY199" fmla="*/ 257548 h 425850"/>
                <a:gd name="connsiteX200" fmla="*/ 210193 w 368996"/>
                <a:gd name="connsiteY200" fmla="*/ 234053 h 425850"/>
                <a:gd name="connsiteX201" fmla="*/ 235593 w 368996"/>
                <a:gd name="connsiteY201" fmla="*/ 211193 h 425850"/>
                <a:gd name="connsiteX202" fmla="*/ 236863 w 368996"/>
                <a:gd name="connsiteY202" fmla="*/ 211193 h 425850"/>
                <a:gd name="connsiteX203" fmla="*/ 235593 w 368996"/>
                <a:gd name="connsiteY203" fmla="*/ 205478 h 425850"/>
                <a:gd name="connsiteX204" fmla="*/ 220988 w 368996"/>
                <a:gd name="connsiteY204" fmla="*/ 202303 h 425850"/>
                <a:gd name="connsiteX205" fmla="*/ 208924 w 368996"/>
                <a:gd name="connsiteY205" fmla="*/ 209288 h 425850"/>
                <a:gd name="connsiteX206" fmla="*/ 204478 w 368996"/>
                <a:gd name="connsiteY206" fmla="*/ 206748 h 425850"/>
                <a:gd name="connsiteX207" fmla="*/ 185428 w 368996"/>
                <a:gd name="connsiteY207" fmla="*/ 204843 h 425850"/>
                <a:gd name="connsiteX208" fmla="*/ 185428 w 368996"/>
                <a:gd name="connsiteY208" fmla="*/ 214368 h 425850"/>
                <a:gd name="connsiteX209" fmla="*/ 195588 w 368996"/>
                <a:gd name="connsiteY209" fmla="*/ 230878 h 425850"/>
                <a:gd name="connsiteX210" fmla="*/ 203209 w 368996"/>
                <a:gd name="connsiteY210" fmla="*/ 236593 h 425850"/>
                <a:gd name="connsiteX211" fmla="*/ 208288 w 368996"/>
                <a:gd name="connsiteY211" fmla="*/ 250563 h 425850"/>
                <a:gd name="connsiteX212" fmla="*/ 201938 w 368996"/>
                <a:gd name="connsiteY212" fmla="*/ 262628 h 425850"/>
                <a:gd name="connsiteX213" fmla="*/ 190509 w 368996"/>
                <a:gd name="connsiteY213" fmla="*/ 284218 h 425850"/>
                <a:gd name="connsiteX214" fmla="*/ 187968 w 368996"/>
                <a:gd name="connsiteY214" fmla="*/ 295013 h 425850"/>
                <a:gd name="connsiteX215" fmla="*/ 189874 w 368996"/>
                <a:gd name="connsiteY215" fmla="*/ 306443 h 425850"/>
                <a:gd name="connsiteX216" fmla="*/ 210193 w 368996"/>
                <a:gd name="connsiteY216" fmla="*/ 289298 h 425850"/>
                <a:gd name="connsiteX217" fmla="*/ 205749 w 368996"/>
                <a:gd name="connsiteY217" fmla="*/ 306443 h 425850"/>
                <a:gd name="connsiteX218" fmla="*/ 202574 w 368996"/>
                <a:gd name="connsiteY218" fmla="*/ 314698 h 425850"/>
                <a:gd name="connsiteX219" fmla="*/ 198763 w 368996"/>
                <a:gd name="connsiteY219" fmla="*/ 326763 h 425850"/>
                <a:gd name="connsiteX220" fmla="*/ 197493 w 368996"/>
                <a:gd name="connsiteY220" fmla="*/ 338193 h 425850"/>
                <a:gd name="connsiteX221" fmla="*/ 199399 w 368996"/>
                <a:gd name="connsiteY221" fmla="*/ 344543 h 425850"/>
                <a:gd name="connsiteX222" fmla="*/ 203843 w 368996"/>
                <a:gd name="connsiteY222" fmla="*/ 343273 h 425850"/>
                <a:gd name="connsiteX223" fmla="*/ 205749 w 368996"/>
                <a:gd name="connsiteY223" fmla="*/ 337558 h 425850"/>
                <a:gd name="connsiteX224" fmla="*/ 212734 w 368996"/>
                <a:gd name="connsiteY224" fmla="*/ 340098 h 425850"/>
                <a:gd name="connsiteX225" fmla="*/ 212099 w 368996"/>
                <a:gd name="connsiteY225" fmla="*/ 344543 h 425850"/>
                <a:gd name="connsiteX226" fmla="*/ 207653 w 368996"/>
                <a:gd name="connsiteY226" fmla="*/ 347718 h 425850"/>
                <a:gd name="connsiteX227" fmla="*/ 213368 w 368996"/>
                <a:gd name="connsiteY227" fmla="*/ 352163 h 425850"/>
                <a:gd name="connsiteX228" fmla="*/ 227338 w 368996"/>
                <a:gd name="connsiteY228" fmla="*/ 351528 h 425850"/>
                <a:gd name="connsiteX229" fmla="*/ 236863 w 368996"/>
                <a:gd name="connsiteY229" fmla="*/ 350258 h 425850"/>
                <a:gd name="connsiteX230" fmla="*/ 240674 w 368996"/>
                <a:gd name="connsiteY230" fmla="*/ 344543 h 425850"/>
                <a:gd name="connsiteX231" fmla="*/ 243849 w 368996"/>
                <a:gd name="connsiteY231" fmla="*/ 341368 h 425850"/>
                <a:gd name="connsiteX232" fmla="*/ 245118 w 368996"/>
                <a:gd name="connsiteY232" fmla="*/ 333113 h 425850"/>
                <a:gd name="connsiteX233" fmla="*/ 245753 w 368996"/>
                <a:gd name="connsiteY233" fmla="*/ 324223 h 425850"/>
                <a:gd name="connsiteX234" fmla="*/ 248293 w 368996"/>
                <a:gd name="connsiteY234" fmla="*/ 315333 h 425850"/>
                <a:gd name="connsiteX235" fmla="*/ 252738 w 368996"/>
                <a:gd name="connsiteY235" fmla="*/ 306443 h 425850"/>
                <a:gd name="connsiteX236" fmla="*/ 258453 w 368996"/>
                <a:gd name="connsiteY236" fmla="*/ 298823 h 425850"/>
                <a:gd name="connsiteX237" fmla="*/ 265438 w 368996"/>
                <a:gd name="connsiteY237" fmla="*/ 291838 h 425850"/>
                <a:gd name="connsiteX238" fmla="*/ 271153 w 368996"/>
                <a:gd name="connsiteY238" fmla="*/ 287393 h 425850"/>
                <a:gd name="connsiteX239" fmla="*/ 278138 w 368996"/>
                <a:gd name="connsiteY239" fmla="*/ 282948 h 425850"/>
                <a:gd name="connsiteX240" fmla="*/ 287028 w 368996"/>
                <a:gd name="connsiteY240" fmla="*/ 277868 h 425850"/>
                <a:gd name="connsiteX241" fmla="*/ 294013 w 368996"/>
                <a:gd name="connsiteY241" fmla="*/ 243578 h 425850"/>
                <a:gd name="connsiteX242" fmla="*/ 294013 w 368996"/>
                <a:gd name="connsiteY242" fmla="*/ 243578 h 425850"/>
                <a:gd name="connsiteX243" fmla="*/ 293378 w 368996"/>
                <a:gd name="connsiteY243" fmla="*/ 269613 h 425850"/>
                <a:gd name="connsiteX244" fmla="*/ 287028 w 368996"/>
                <a:gd name="connsiteY244" fmla="*/ 280408 h 425850"/>
                <a:gd name="connsiteX245" fmla="*/ 297824 w 368996"/>
                <a:gd name="connsiteY245" fmla="*/ 298188 h 425850"/>
                <a:gd name="connsiteX246" fmla="*/ 303538 w 368996"/>
                <a:gd name="connsiteY246" fmla="*/ 296283 h 425850"/>
                <a:gd name="connsiteX247" fmla="*/ 304809 w 368996"/>
                <a:gd name="connsiteY247" fmla="*/ 284853 h 425850"/>
                <a:gd name="connsiteX248" fmla="*/ 303538 w 368996"/>
                <a:gd name="connsiteY248" fmla="*/ 270883 h 425850"/>
                <a:gd name="connsiteX249" fmla="*/ 297824 w 368996"/>
                <a:gd name="connsiteY249" fmla="*/ 261358 h 425850"/>
                <a:gd name="connsiteX250" fmla="*/ 293378 w 368996"/>
                <a:gd name="connsiteY250" fmla="*/ 269613 h 425850"/>
                <a:gd name="connsiteX251" fmla="*/ 180984 w 368996"/>
                <a:gd name="connsiteY251" fmla="*/ 221988 h 425850"/>
                <a:gd name="connsiteX252" fmla="*/ 173363 w 368996"/>
                <a:gd name="connsiteY252" fmla="*/ 203573 h 425850"/>
                <a:gd name="connsiteX253" fmla="*/ 163203 w 368996"/>
                <a:gd name="connsiteY253" fmla="*/ 197223 h 425850"/>
                <a:gd name="connsiteX254" fmla="*/ 153043 w 368996"/>
                <a:gd name="connsiteY254" fmla="*/ 202303 h 425850"/>
                <a:gd name="connsiteX255" fmla="*/ 146059 w 368996"/>
                <a:gd name="connsiteY255" fmla="*/ 211828 h 425850"/>
                <a:gd name="connsiteX256" fmla="*/ 130818 w 368996"/>
                <a:gd name="connsiteY256" fmla="*/ 216908 h 425850"/>
                <a:gd name="connsiteX257" fmla="*/ 112403 w 368996"/>
                <a:gd name="connsiteY257" fmla="*/ 209923 h 425850"/>
                <a:gd name="connsiteX258" fmla="*/ 102878 w 368996"/>
                <a:gd name="connsiteY258" fmla="*/ 220718 h 425850"/>
                <a:gd name="connsiteX259" fmla="*/ 90813 w 368996"/>
                <a:gd name="connsiteY259" fmla="*/ 225798 h 425850"/>
                <a:gd name="connsiteX260" fmla="*/ 80018 w 368996"/>
                <a:gd name="connsiteY260" fmla="*/ 221988 h 425850"/>
                <a:gd name="connsiteX261" fmla="*/ 70493 w 368996"/>
                <a:gd name="connsiteY261" fmla="*/ 249928 h 425850"/>
                <a:gd name="connsiteX262" fmla="*/ 59063 w 368996"/>
                <a:gd name="connsiteY262" fmla="*/ 279138 h 425850"/>
                <a:gd name="connsiteX263" fmla="*/ 57159 w 368996"/>
                <a:gd name="connsiteY263" fmla="*/ 287393 h 425850"/>
                <a:gd name="connsiteX264" fmla="*/ 58428 w 368996"/>
                <a:gd name="connsiteY264" fmla="*/ 307713 h 425850"/>
                <a:gd name="connsiteX265" fmla="*/ 79384 w 368996"/>
                <a:gd name="connsiteY265" fmla="*/ 288663 h 425850"/>
                <a:gd name="connsiteX266" fmla="*/ 90178 w 368996"/>
                <a:gd name="connsiteY266" fmla="*/ 273423 h 425850"/>
                <a:gd name="connsiteX267" fmla="*/ 100974 w 368996"/>
                <a:gd name="connsiteY267" fmla="*/ 269613 h 425850"/>
                <a:gd name="connsiteX268" fmla="*/ 116849 w 368996"/>
                <a:gd name="connsiteY268" fmla="*/ 271518 h 425850"/>
                <a:gd name="connsiteX269" fmla="*/ 130818 w 368996"/>
                <a:gd name="connsiteY269" fmla="*/ 274693 h 425850"/>
                <a:gd name="connsiteX270" fmla="*/ 131453 w 368996"/>
                <a:gd name="connsiteY270" fmla="*/ 277868 h 425850"/>
                <a:gd name="connsiteX271" fmla="*/ 121928 w 368996"/>
                <a:gd name="connsiteY271" fmla="*/ 280408 h 425850"/>
                <a:gd name="connsiteX272" fmla="*/ 116213 w 368996"/>
                <a:gd name="connsiteY272" fmla="*/ 284853 h 425850"/>
                <a:gd name="connsiteX273" fmla="*/ 112403 w 368996"/>
                <a:gd name="connsiteY273" fmla="*/ 296283 h 425850"/>
                <a:gd name="connsiteX274" fmla="*/ 113038 w 368996"/>
                <a:gd name="connsiteY274" fmla="*/ 308983 h 425850"/>
                <a:gd name="connsiteX275" fmla="*/ 125103 w 368996"/>
                <a:gd name="connsiteY275" fmla="*/ 312158 h 425850"/>
                <a:gd name="connsiteX276" fmla="*/ 149868 w 368996"/>
                <a:gd name="connsiteY276" fmla="*/ 310253 h 425850"/>
                <a:gd name="connsiteX277" fmla="*/ 163838 w 368996"/>
                <a:gd name="connsiteY277" fmla="*/ 310253 h 425850"/>
                <a:gd name="connsiteX278" fmla="*/ 176538 w 368996"/>
                <a:gd name="connsiteY278" fmla="*/ 305808 h 425850"/>
                <a:gd name="connsiteX279" fmla="*/ 170188 w 368996"/>
                <a:gd name="connsiteY279" fmla="*/ 291203 h 425850"/>
                <a:gd name="connsiteX280" fmla="*/ 160028 w 368996"/>
                <a:gd name="connsiteY280" fmla="*/ 273423 h 425850"/>
                <a:gd name="connsiteX281" fmla="*/ 160028 w 368996"/>
                <a:gd name="connsiteY281" fmla="*/ 261993 h 425850"/>
                <a:gd name="connsiteX282" fmla="*/ 170188 w 368996"/>
                <a:gd name="connsiteY282" fmla="*/ 248023 h 425850"/>
                <a:gd name="connsiteX283" fmla="*/ 180984 w 368996"/>
                <a:gd name="connsiteY283" fmla="*/ 221988 h 425850"/>
                <a:gd name="connsiteX284" fmla="*/ 180984 w 368996"/>
                <a:gd name="connsiteY284" fmla="*/ 221988 h 42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68996" h="425850">
                  <a:moveTo>
                    <a:pt x="130184" y="325493"/>
                  </a:moveTo>
                  <a:cubicBezTo>
                    <a:pt x="128913" y="323588"/>
                    <a:pt x="128278" y="322953"/>
                    <a:pt x="125738" y="324223"/>
                  </a:cubicBezTo>
                  <a:cubicBezTo>
                    <a:pt x="123834" y="326763"/>
                    <a:pt x="121928" y="328668"/>
                    <a:pt x="121293" y="331208"/>
                  </a:cubicBezTo>
                  <a:cubicBezTo>
                    <a:pt x="120024" y="333748"/>
                    <a:pt x="116849" y="335018"/>
                    <a:pt x="118753" y="337558"/>
                  </a:cubicBezTo>
                  <a:cubicBezTo>
                    <a:pt x="128913" y="338193"/>
                    <a:pt x="127643" y="331843"/>
                    <a:pt x="130184" y="325493"/>
                  </a:cubicBezTo>
                  <a:lnTo>
                    <a:pt x="130184" y="325493"/>
                  </a:lnTo>
                  <a:close/>
                  <a:moveTo>
                    <a:pt x="58428" y="335653"/>
                  </a:moveTo>
                  <a:cubicBezTo>
                    <a:pt x="58428" y="333748"/>
                    <a:pt x="55888" y="330573"/>
                    <a:pt x="55888" y="330573"/>
                  </a:cubicBezTo>
                  <a:cubicBezTo>
                    <a:pt x="52078" y="333113"/>
                    <a:pt x="52078" y="337558"/>
                    <a:pt x="50174" y="342003"/>
                  </a:cubicBezTo>
                  <a:cubicBezTo>
                    <a:pt x="48268" y="345813"/>
                    <a:pt x="45728" y="348988"/>
                    <a:pt x="46363" y="353433"/>
                  </a:cubicBezTo>
                  <a:lnTo>
                    <a:pt x="46999" y="353433"/>
                  </a:lnTo>
                  <a:cubicBezTo>
                    <a:pt x="52078" y="349623"/>
                    <a:pt x="59063" y="345178"/>
                    <a:pt x="58428" y="335653"/>
                  </a:cubicBezTo>
                  <a:lnTo>
                    <a:pt x="58428" y="335653"/>
                  </a:lnTo>
                  <a:close/>
                  <a:moveTo>
                    <a:pt x="125738" y="169283"/>
                  </a:moveTo>
                  <a:cubicBezTo>
                    <a:pt x="124468" y="166743"/>
                    <a:pt x="127009" y="162933"/>
                    <a:pt x="123199" y="162933"/>
                  </a:cubicBezTo>
                  <a:cubicBezTo>
                    <a:pt x="118753" y="164838"/>
                    <a:pt x="120024" y="169918"/>
                    <a:pt x="119388" y="173728"/>
                  </a:cubicBezTo>
                  <a:cubicBezTo>
                    <a:pt x="115578" y="178173"/>
                    <a:pt x="110499" y="182618"/>
                    <a:pt x="111768" y="188968"/>
                  </a:cubicBezTo>
                  <a:cubicBezTo>
                    <a:pt x="112403" y="193413"/>
                    <a:pt x="116213" y="195953"/>
                    <a:pt x="120024" y="197858"/>
                  </a:cubicBezTo>
                  <a:cubicBezTo>
                    <a:pt x="127643" y="199128"/>
                    <a:pt x="135263" y="198493"/>
                    <a:pt x="143518" y="195953"/>
                  </a:cubicBezTo>
                  <a:lnTo>
                    <a:pt x="143518" y="194048"/>
                  </a:lnTo>
                  <a:cubicBezTo>
                    <a:pt x="136534" y="187698"/>
                    <a:pt x="127643" y="180078"/>
                    <a:pt x="125738" y="169283"/>
                  </a:cubicBezTo>
                  <a:lnTo>
                    <a:pt x="125738" y="169283"/>
                  </a:lnTo>
                  <a:close/>
                  <a:moveTo>
                    <a:pt x="202574" y="141978"/>
                  </a:moveTo>
                  <a:cubicBezTo>
                    <a:pt x="203209" y="142613"/>
                    <a:pt x="203843" y="143883"/>
                    <a:pt x="204478" y="145153"/>
                  </a:cubicBezTo>
                  <a:cubicBezTo>
                    <a:pt x="204478" y="152138"/>
                    <a:pt x="213368" y="150233"/>
                    <a:pt x="217813" y="155948"/>
                  </a:cubicBezTo>
                  <a:cubicBezTo>
                    <a:pt x="221624" y="157853"/>
                    <a:pt x="224163" y="154043"/>
                    <a:pt x="227974" y="154043"/>
                  </a:cubicBezTo>
                  <a:cubicBezTo>
                    <a:pt x="231149" y="118483"/>
                    <a:pt x="191143" y="112133"/>
                    <a:pt x="198763" y="127373"/>
                  </a:cubicBezTo>
                  <a:cubicBezTo>
                    <a:pt x="200034" y="131818"/>
                    <a:pt x="194318" y="126738"/>
                    <a:pt x="191778" y="127373"/>
                  </a:cubicBezTo>
                  <a:cubicBezTo>
                    <a:pt x="181618" y="129278"/>
                    <a:pt x="180984" y="137533"/>
                    <a:pt x="185428" y="140708"/>
                  </a:cubicBezTo>
                  <a:cubicBezTo>
                    <a:pt x="194318" y="144518"/>
                    <a:pt x="196859" y="135628"/>
                    <a:pt x="202574" y="141978"/>
                  </a:cubicBezTo>
                  <a:lnTo>
                    <a:pt x="202574" y="141978"/>
                  </a:lnTo>
                  <a:close/>
                  <a:moveTo>
                    <a:pt x="205113" y="88003"/>
                  </a:moveTo>
                  <a:cubicBezTo>
                    <a:pt x="207653" y="88638"/>
                    <a:pt x="207018" y="86098"/>
                    <a:pt x="209559" y="86733"/>
                  </a:cubicBezTo>
                  <a:cubicBezTo>
                    <a:pt x="210193" y="85463"/>
                    <a:pt x="206384" y="79113"/>
                    <a:pt x="201938" y="77843"/>
                  </a:cubicBezTo>
                  <a:cubicBezTo>
                    <a:pt x="200668" y="77843"/>
                    <a:pt x="198763" y="77208"/>
                    <a:pt x="198128" y="79113"/>
                  </a:cubicBezTo>
                  <a:cubicBezTo>
                    <a:pt x="200668" y="81653"/>
                    <a:pt x="203209" y="88638"/>
                    <a:pt x="205113" y="88003"/>
                  </a:cubicBezTo>
                  <a:close/>
                  <a:moveTo>
                    <a:pt x="196224" y="18153"/>
                  </a:moveTo>
                  <a:cubicBezTo>
                    <a:pt x="192413" y="15613"/>
                    <a:pt x="187334" y="13073"/>
                    <a:pt x="184159" y="13073"/>
                  </a:cubicBezTo>
                  <a:cubicBezTo>
                    <a:pt x="182888" y="13708"/>
                    <a:pt x="181618" y="15613"/>
                    <a:pt x="181618" y="16883"/>
                  </a:cubicBezTo>
                  <a:cubicBezTo>
                    <a:pt x="186063" y="20693"/>
                    <a:pt x="193049" y="20058"/>
                    <a:pt x="196224" y="18153"/>
                  </a:cubicBezTo>
                  <a:lnTo>
                    <a:pt x="196224" y="18153"/>
                  </a:lnTo>
                  <a:close/>
                  <a:moveTo>
                    <a:pt x="226068" y="279138"/>
                  </a:moveTo>
                  <a:cubicBezTo>
                    <a:pt x="226068" y="281043"/>
                    <a:pt x="224163" y="282313"/>
                    <a:pt x="222259" y="282313"/>
                  </a:cubicBezTo>
                  <a:cubicBezTo>
                    <a:pt x="219084" y="282948"/>
                    <a:pt x="216543" y="279773"/>
                    <a:pt x="214638" y="277233"/>
                  </a:cubicBezTo>
                  <a:cubicBezTo>
                    <a:pt x="212734" y="274058"/>
                    <a:pt x="213368" y="270248"/>
                    <a:pt x="214638" y="266438"/>
                  </a:cubicBezTo>
                  <a:lnTo>
                    <a:pt x="215909" y="265803"/>
                  </a:lnTo>
                  <a:cubicBezTo>
                    <a:pt x="217813" y="270883"/>
                    <a:pt x="219718" y="277868"/>
                    <a:pt x="226068" y="279138"/>
                  </a:cubicBezTo>
                  <a:lnTo>
                    <a:pt x="226068" y="279138"/>
                  </a:lnTo>
                  <a:close/>
                  <a:moveTo>
                    <a:pt x="294013" y="243578"/>
                  </a:moveTo>
                  <a:cubicBezTo>
                    <a:pt x="296553" y="245483"/>
                    <a:pt x="306713" y="252468"/>
                    <a:pt x="308618" y="253738"/>
                  </a:cubicBezTo>
                  <a:cubicBezTo>
                    <a:pt x="309888" y="263263"/>
                    <a:pt x="315603" y="284853"/>
                    <a:pt x="314968" y="288663"/>
                  </a:cubicBezTo>
                  <a:cubicBezTo>
                    <a:pt x="313063" y="298823"/>
                    <a:pt x="309888" y="310253"/>
                    <a:pt x="310524" y="321683"/>
                  </a:cubicBezTo>
                  <a:cubicBezTo>
                    <a:pt x="313699" y="329303"/>
                    <a:pt x="314968" y="337558"/>
                    <a:pt x="313063" y="345813"/>
                  </a:cubicBezTo>
                  <a:cubicBezTo>
                    <a:pt x="315603" y="352163"/>
                    <a:pt x="321318" y="361053"/>
                    <a:pt x="315603" y="367403"/>
                  </a:cubicBezTo>
                  <a:cubicBezTo>
                    <a:pt x="312428" y="369308"/>
                    <a:pt x="310524" y="373118"/>
                    <a:pt x="307349" y="373753"/>
                  </a:cubicBezTo>
                  <a:cubicBezTo>
                    <a:pt x="306078" y="372483"/>
                    <a:pt x="308618" y="364228"/>
                    <a:pt x="304174" y="366133"/>
                  </a:cubicBezTo>
                  <a:cubicBezTo>
                    <a:pt x="302903" y="368038"/>
                    <a:pt x="303538" y="372483"/>
                    <a:pt x="301634" y="373753"/>
                  </a:cubicBezTo>
                  <a:cubicBezTo>
                    <a:pt x="295918" y="372483"/>
                    <a:pt x="291474" y="368038"/>
                    <a:pt x="288934" y="363593"/>
                  </a:cubicBezTo>
                  <a:cubicBezTo>
                    <a:pt x="287663" y="355338"/>
                    <a:pt x="296553" y="350258"/>
                    <a:pt x="294013" y="342003"/>
                  </a:cubicBezTo>
                  <a:cubicBezTo>
                    <a:pt x="289568" y="332478"/>
                    <a:pt x="300363" y="324858"/>
                    <a:pt x="295284" y="315333"/>
                  </a:cubicBezTo>
                  <a:cubicBezTo>
                    <a:pt x="292109" y="307078"/>
                    <a:pt x="283853" y="293108"/>
                    <a:pt x="277503" y="286123"/>
                  </a:cubicBezTo>
                  <a:cubicBezTo>
                    <a:pt x="275599" y="287393"/>
                    <a:pt x="273059" y="288663"/>
                    <a:pt x="269249" y="291838"/>
                  </a:cubicBezTo>
                  <a:cubicBezTo>
                    <a:pt x="267343" y="293108"/>
                    <a:pt x="264168" y="295648"/>
                    <a:pt x="262899" y="297553"/>
                  </a:cubicBezTo>
                  <a:cubicBezTo>
                    <a:pt x="259724" y="300093"/>
                    <a:pt x="255913" y="304538"/>
                    <a:pt x="254643" y="306443"/>
                  </a:cubicBezTo>
                  <a:cubicBezTo>
                    <a:pt x="250834" y="312158"/>
                    <a:pt x="248293" y="317238"/>
                    <a:pt x="247024" y="325493"/>
                  </a:cubicBezTo>
                  <a:cubicBezTo>
                    <a:pt x="246388" y="329303"/>
                    <a:pt x="247024" y="330573"/>
                    <a:pt x="247659" y="336288"/>
                  </a:cubicBezTo>
                  <a:cubicBezTo>
                    <a:pt x="247659" y="338193"/>
                    <a:pt x="247024" y="340733"/>
                    <a:pt x="245753" y="342003"/>
                  </a:cubicBezTo>
                  <a:cubicBezTo>
                    <a:pt x="243849" y="344543"/>
                    <a:pt x="242578" y="343908"/>
                    <a:pt x="240038" y="347083"/>
                  </a:cubicBezTo>
                  <a:cubicBezTo>
                    <a:pt x="238768" y="348988"/>
                    <a:pt x="236863" y="353433"/>
                    <a:pt x="234959" y="354068"/>
                  </a:cubicBezTo>
                  <a:cubicBezTo>
                    <a:pt x="226703" y="355973"/>
                    <a:pt x="214638" y="352163"/>
                    <a:pt x="204478" y="355338"/>
                  </a:cubicBezTo>
                  <a:cubicBezTo>
                    <a:pt x="200668" y="355973"/>
                    <a:pt x="195588" y="354703"/>
                    <a:pt x="192413" y="352163"/>
                  </a:cubicBezTo>
                  <a:cubicBezTo>
                    <a:pt x="187968" y="348988"/>
                    <a:pt x="186699" y="342003"/>
                    <a:pt x="185428" y="335653"/>
                  </a:cubicBezTo>
                  <a:cubicBezTo>
                    <a:pt x="184793" y="331208"/>
                    <a:pt x="184159" y="329938"/>
                    <a:pt x="182888" y="327398"/>
                  </a:cubicBezTo>
                  <a:cubicBezTo>
                    <a:pt x="182253" y="325493"/>
                    <a:pt x="180984" y="324223"/>
                    <a:pt x="179713" y="322318"/>
                  </a:cubicBezTo>
                  <a:cubicBezTo>
                    <a:pt x="177809" y="321048"/>
                    <a:pt x="175903" y="321048"/>
                    <a:pt x="175903" y="321048"/>
                  </a:cubicBezTo>
                  <a:cubicBezTo>
                    <a:pt x="173999" y="321048"/>
                    <a:pt x="172728" y="327398"/>
                    <a:pt x="172093" y="328668"/>
                  </a:cubicBezTo>
                  <a:cubicBezTo>
                    <a:pt x="172093" y="328668"/>
                    <a:pt x="171459" y="333113"/>
                    <a:pt x="172093" y="334383"/>
                  </a:cubicBezTo>
                  <a:cubicBezTo>
                    <a:pt x="172728" y="337558"/>
                    <a:pt x="173363" y="343908"/>
                    <a:pt x="169553" y="347718"/>
                  </a:cubicBezTo>
                  <a:cubicBezTo>
                    <a:pt x="168284" y="348988"/>
                    <a:pt x="168918" y="348988"/>
                    <a:pt x="165743" y="350258"/>
                  </a:cubicBezTo>
                  <a:cubicBezTo>
                    <a:pt x="165109" y="357243"/>
                    <a:pt x="164474" y="361688"/>
                    <a:pt x="162568" y="366133"/>
                  </a:cubicBezTo>
                  <a:cubicBezTo>
                    <a:pt x="161299" y="368673"/>
                    <a:pt x="148599" y="374388"/>
                    <a:pt x="141613" y="374388"/>
                  </a:cubicBezTo>
                  <a:cubicBezTo>
                    <a:pt x="139709" y="374388"/>
                    <a:pt x="139074" y="374388"/>
                    <a:pt x="137803" y="374388"/>
                  </a:cubicBezTo>
                  <a:cubicBezTo>
                    <a:pt x="134628" y="371848"/>
                    <a:pt x="137168" y="368038"/>
                    <a:pt x="135899" y="366768"/>
                  </a:cubicBezTo>
                  <a:cubicBezTo>
                    <a:pt x="133359" y="368038"/>
                    <a:pt x="129549" y="371848"/>
                    <a:pt x="126374" y="369308"/>
                  </a:cubicBezTo>
                  <a:cubicBezTo>
                    <a:pt x="125103" y="367403"/>
                    <a:pt x="127009" y="365498"/>
                    <a:pt x="128278" y="362958"/>
                  </a:cubicBezTo>
                  <a:cubicBezTo>
                    <a:pt x="132088" y="355338"/>
                    <a:pt x="133359" y="348988"/>
                    <a:pt x="141613" y="345178"/>
                  </a:cubicBezTo>
                  <a:cubicBezTo>
                    <a:pt x="142884" y="343273"/>
                    <a:pt x="145424" y="339463"/>
                    <a:pt x="147328" y="336288"/>
                  </a:cubicBezTo>
                  <a:cubicBezTo>
                    <a:pt x="149234" y="333748"/>
                    <a:pt x="151138" y="331843"/>
                    <a:pt x="152409" y="329303"/>
                  </a:cubicBezTo>
                  <a:cubicBezTo>
                    <a:pt x="154313" y="325493"/>
                    <a:pt x="154949" y="319778"/>
                    <a:pt x="153678" y="319143"/>
                  </a:cubicBezTo>
                  <a:cubicBezTo>
                    <a:pt x="147328" y="315968"/>
                    <a:pt x="140343" y="321048"/>
                    <a:pt x="137803" y="330573"/>
                  </a:cubicBezTo>
                  <a:cubicBezTo>
                    <a:pt x="135263" y="339463"/>
                    <a:pt x="132724" y="342638"/>
                    <a:pt x="125103" y="347083"/>
                  </a:cubicBezTo>
                  <a:cubicBezTo>
                    <a:pt x="114943" y="355973"/>
                    <a:pt x="109228" y="369943"/>
                    <a:pt x="106053" y="379468"/>
                  </a:cubicBezTo>
                  <a:cubicBezTo>
                    <a:pt x="105418" y="380738"/>
                    <a:pt x="102878" y="380738"/>
                    <a:pt x="102243" y="382008"/>
                  </a:cubicBezTo>
                  <a:cubicBezTo>
                    <a:pt x="102243" y="384548"/>
                    <a:pt x="102878" y="389628"/>
                    <a:pt x="99068" y="392803"/>
                  </a:cubicBezTo>
                  <a:cubicBezTo>
                    <a:pt x="93353" y="398518"/>
                    <a:pt x="79384" y="402963"/>
                    <a:pt x="74303" y="399788"/>
                  </a:cubicBezTo>
                  <a:cubicBezTo>
                    <a:pt x="71763" y="398518"/>
                    <a:pt x="79384" y="390898"/>
                    <a:pt x="73668" y="391533"/>
                  </a:cubicBezTo>
                  <a:cubicBezTo>
                    <a:pt x="71128" y="392168"/>
                    <a:pt x="68588" y="397248"/>
                    <a:pt x="66049" y="395978"/>
                  </a:cubicBezTo>
                  <a:cubicBezTo>
                    <a:pt x="61603" y="394708"/>
                    <a:pt x="63509" y="378198"/>
                    <a:pt x="66049" y="371213"/>
                  </a:cubicBezTo>
                  <a:cubicBezTo>
                    <a:pt x="69224" y="367403"/>
                    <a:pt x="78749" y="368038"/>
                    <a:pt x="80018" y="359783"/>
                  </a:cubicBezTo>
                  <a:cubicBezTo>
                    <a:pt x="90178" y="356608"/>
                    <a:pt x="95893" y="352798"/>
                    <a:pt x="100338" y="345178"/>
                  </a:cubicBezTo>
                  <a:cubicBezTo>
                    <a:pt x="102878" y="341368"/>
                    <a:pt x="102243" y="336923"/>
                    <a:pt x="103513" y="332478"/>
                  </a:cubicBezTo>
                  <a:cubicBezTo>
                    <a:pt x="104784" y="327398"/>
                    <a:pt x="107324" y="323588"/>
                    <a:pt x="109228" y="320413"/>
                  </a:cubicBezTo>
                  <a:cubicBezTo>
                    <a:pt x="107324" y="320413"/>
                    <a:pt x="104149" y="319778"/>
                    <a:pt x="103513" y="318508"/>
                  </a:cubicBezTo>
                  <a:cubicBezTo>
                    <a:pt x="98434" y="310253"/>
                    <a:pt x="111134" y="291838"/>
                    <a:pt x="96528" y="284853"/>
                  </a:cubicBezTo>
                  <a:cubicBezTo>
                    <a:pt x="90813" y="289298"/>
                    <a:pt x="83828" y="301363"/>
                    <a:pt x="80018" y="307078"/>
                  </a:cubicBezTo>
                  <a:cubicBezTo>
                    <a:pt x="76843" y="315333"/>
                    <a:pt x="70493" y="322318"/>
                    <a:pt x="67318" y="330573"/>
                  </a:cubicBezTo>
                  <a:cubicBezTo>
                    <a:pt x="65413" y="345178"/>
                    <a:pt x="59699" y="356608"/>
                    <a:pt x="49538" y="366768"/>
                  </a:cubicBezTo>
                  <a:cubicBezTo>
                    <a:pt x="41284" y="377563"/>
                    <a:pt x="51443" y="393438"/>
                    <a:pt x="39378" y="401693"/>
                  </a:cubicBezTo>
                  <a:cubicBezTo>
                    <a:pt x="38743" y="408043"/>
                    <a:pt x="36838" y="413758"/>
                    <a:pt x="34299" y="419473"/>
                  </a:cubicBezTo>
                  <a:cubicBezTo>
                    <a:pt x="26678" y="424553"/>
                    <a:pt x="16518" y="427093"/>
                    <a:pt x="8263" y="424553"/>
                  </a:cubicBezTo>
                  <a:lnTo>
                    <a:pt x="11438" y="413123"/>
                  </a:lnTo>
                  <a:cubicBezTo>
                    <a:pt x="3818" y="412488"/>
                    <a:pt x="7628" y="423283"/>
                    <a:pt x="643" y="421378"/>
                  </a:cubicBezTo>
                  <a:cubicBezTo>
                    <a:pt x="-3166" y="411218"/>
                    <a:pt x="3818" y="402328"/>
                    <a:pt x="10803" y="396613"/>
                  </a:cubicBezTo>
                  <a:cubicBezTo>
                    <a:pt x="12709" y="395978"/>
                    <a:pt x="12709" y="394073"/>
                    <a:pt x="12709" y="392803"/>
                  </a:cubicBezTo>
                  <a:cubicBezTo>
                    <a:pt x="15884" y="379468"/>
                    <a:pt x="30488" y="375023"/>
                    <a:pt x="33028" y="361688"/>
                  </a:cubicBezTo>
                  <a:cubicBezTo>
                    <a:pt x="33663" y="349623"/>
                    <a:pt x="34934" y="337558"/>
                    <a:pt x="43188" y="328033"/>
                  </a:cubicBezTo>
                  <a:cubicBezTo>
                    <a:pt x="47634" y="317873"/>
                    <a:pt x="43824" y="305173"/>
                    <a:pt x="45093" y="293743"/>
                  </a:cubicBezTo>
                  <a:cubicBezTo>
                    <a:pt x="45093" y="275963"/>
                    <a:pt x="60334" y="260723"/>
                    <a:pt x="57793" y="241673"/>
                  </a:cubicBezTo>
                  <a:cubicBezTo>
                    <a:pt x="56524" y="228338"/>
                    <a:pt x="61603" y="214368"/>
                    <a:pt x="67953" y="204208"/>
                  </a:cubicBezTo>
                  <a:cubicBezTo>
                    <a:pt x="75574" y="187698"/>
                    <a:pt x="92718" y="175633"/>
                    <a:pt x="91449" y="155948"/>
                  </a:cubicBezTo>
                  <a:cubicBezTo>
                    <a:pt x="93353" y="138168"/>
                    <a:pt x="99068" y="118483"/>
                    <a:pt x="116849" y="109593"/>
                  </a:cubicBezTo>
                  <a:cubicBezTo>
                    <a:pt x="125103" y="104513"/>
                    <a:pt x="133993" y="100703"/>
                    <a:pt x="142249" y="96258"/>
                  </a:cubicBezTo>
                  <a:cubicBezTo>
                    <a:pt x="153678" y="88638"/>
                    <a:pt x="166378" y="79113"/>
                    <a:pt x="176538" y="69588"/>
                  </a:cubicBezTo>
                  <a:cubicBezTo>
                    <a:pt x="181618" y="65143"/>
                    <a:pt x="191143" y="63873"/>
                    <a:pt x="197493" y="65143"/>
                  </a:cubicBezTo>
                  <a:cubicBezTo>
                    <a:pt x="211463" y="70223"/>
                    <a:pt x="224799" y="76573"/>
                    <a:pt x="240038" y="79748"/>
                  </a:cubicBezTo>
                  <a:cubicBezTo>
                    <a:pt x="248928" y="80383"/>
                    <a:pt x="254009" y="81653"/>
                    <a:pt x="260993" y="84193"/>
                  </a:cubicBezTo>
                  <a:cubicBezTo>
                    <a:pt x="276868" y="89908"/>
                    <a:pt x="291474" y="49268"/>
                    <a:pt x="242578" y="46728"/>
                  </a:cubicBezTo>
                  <a:lnTo>
                    <a:pt x="182888" y="46093"/>
                  </a:lnTo>
                  <a:cubicBezTo>
                    <a:pt x="132088" y="43553"/>
                    <a:pt x="116849" y="34028"/>
                    <a:pt x="130184" y="16248"/>
                  </a:cubicBezTo>
                  <a:cubicBezTo>
                    <a:pt x="165109" y="-15502"/>
                    <a:pt x="230513" y="6723"/>
                    <a:pt x="240038" y="14978"/>
                  </a:cubicBezTo>
                  <a:cubicBezTo>
                    <a:pt x="241309" y="16248"/>
                    <a:pt x="235593" y="21963"/>
                    <a:pt x="208924" y="13708"/>
                  </a:cubicBezTo>
                  <a:cubicBezTo>
                    <a:pt x="204478" y="13073"/>
                    <a:pt x="201303" y="13073"/>
                    <a:pt x="197493" y="14978"/>
                  </a:cubicBezTo>
                  <a:cubicBezTo>
                    <a:pt x="197493" y="14978"/>
                    <a:pt x="203843" y="20693"/>
                    <a:pt x="212099" y="19423"/>
                  </a:cubicBezTo>
                  <a:cubicBezTo>
                    <a:pt x="214003" y="19423"/>
                    <a:pt x="224799" y="21328"/>
                    <a:pt x="216543" y="24503"/>
                  </a:cubicBezTo>
                  <a:cubicBezTo>
                    <a:pt x="184793" y="35298"/>
                    <a:pt x="166378" y="13073"/>
                    <a:pt x="152409" y="11803"/>
                  </a:cubicBezTo>
                  <a:cubicBezTo>
                    <a:pt x="145424" y="10533"/>
                    <a:pt x="127009" y="27678"/>
                    <a:pt x="142884" y="32123"/>
                  </a:cubicBezTo>
                  <a:cubicBezTo>
                    <a:pt x="184159" y="42918"/>
                    <a:pt x="222259" y="34028"/>
                    <a:pt x="257818" y="39108"/>
                  </a:cubicBezTo>
                  <a:cubicBezTo>
                    <a:pt x="271153" y="41013"/>
                    <a:pt x="284488" y="49903"/>
                    <a:pt x="289568" y="63238"/>
                  </a:cubicBezTo>
                  <a:cubicBezTo>
                    <a:pt x="293378" y="76573"/>
                    <a:pt x="290203" y="81018"/>
                    <a:pt x="285124" y="91178"/>
                  </a:cubicBezTo>
                  <a:cubicBezTo>
                    <a:pt x="292743" y="101973"/>
                    <a:pt x="297188" y="108323"/>
                    <a:pt x="300999" y="120388"/>
                  </a:cubicBezTo>
                  <a:cubicBezTo>
                    <a:pt x="311793" y="131818"/>
                    <a:pt x="317509" y="145788"/>
                    <a:pt x="318143" y="159758"/>
                  </a:cubicBezTo>
                  <a:cubicBezTo>
                    <a:pt x="318143" y="175633"/>
                    <a:pt x="313063" y="181348"/>
                    <a:pt x="314968" y="189603"/>
                  </a:cubicBezTo>
                  <a:cubicBezTo>
                    <a:pt x="318778" y="205478"/>
                    <a:pt x="321318" y="203573"/>
                    <a:pt x="316874" y="220718"/>
                  </a:cubicBezTo>
                  <a:cubicBezTo>
                    <a:pt x="311159" y="219448"/>
                    <a:pt x="307349" y="219448"/>
                    <a:pt x="307349" y="219448"/>
                  </a:cubicBezTo>
                  <a:cubicBezTo>
                    <a:pt x="307984" y="215003"/>
                    <a:pt x="309253" y="208018"/>
                    <a:pt x="308618" y="206113"/>
                  </a:cubicBezTo>
                  <a:cubicBezTo>
                    <a:pt x="307984" y="202938"/>
                    <a:pt x="302903" y="192778"/>
                    <a:pt x="304174" y="185793"/>
                  </a:cubicBezTo>
                  <a:cubicBezTo>
                    <a:pt x="305443" y="176268"/>
                    <a:pt x="311159" y="164203"/>
                    <a:pt x="309253" y="154043"/>
                  </a:cubicBezTo>
                  <a:cubicBezTo>
                    <a:pt x="307349" y="145153"/>
                    <a:pt x="305443" y="138168"/>
                    <a:pt x="300999" y="133723"/>
                  </a:cubicBezTo>
                  <a:cubicBezTo>
                    <a:pt x="298459" y="129913"/>
                    <a:pt x="295284" y="126103"/>
                    <a:pt x="294649" y="122293"/>
                  </a:cubicBezTo>
                  <a:cubicBezTo>
                    <a:pt x="292109" y="112768"/>
                    <a:pt x="286393" y="106418"/>
                    <a:pt x="284488" y="103243"/>
                  </a:cubicBezTo>
                  <a:cubicBezTo>
                    <a:pt x="280678" y="96258"/>
                    <a:pt x="280678" y="95623"/>
                    <a:pt x="276234" y="96258"/>
                  </a:cubicBezTo>
                  <a:cubicBezTo>
                    <a:pt x="273059" y="96893"/>
                    <a:pt x="266074" y="98163"/>
                    <a:pt x="266074" y="98163"/>
                  </a:cubicBezTo>
                  <a:cubicBezTo>
                    <a:pt x="261628" y="99433"/>
                    <a:pt x="259088" y="99433"/>
                    <a:pt x="255913" y="101973"/>
                  </a:cubicBezTo>
                  <a:cubicBezTo>
                    <a:pt x="254009" y="103878"/>
                    <a:pt x="254009" y="106418"/>
                    <a:pt x="255913" y="108323"/>
                  </a:cubicBezTo>
                  <a:cubicBezTo>
                    <a:pt x="259088" y="111498"/>
                    <a:pt x="264803" y="111498"/>
                    <a:pt x="264803" y="117213"/>
                  </a:cubicBezTo>
                  <a:cubicBezTo>
                    <a:pt x="261628" y="128643"/>
                    <a:pt x="277503" y="137533"/>
                    <a:pt x="262899" y="141343"/>
                  </a:cubicBezTo>
                  <a:cubicBezTo>
                    <a:pt x="255913" y="141978"/>
                    <a:pt x="252103" y="138168"/>
                    <a:pt x="246388" y="132453"/>
                  </a:cubicBezTo>
                  <a:cubicBezTo>
                    <a:pt x="238768" y="117213"/>
                    <a:pt x="233053" y="110863"/>
                    <a:pt x="222893" y="100068"/>
                  </a:cubicBezTo>
                  <a:cubicBezTo>
                    <a:pt x="219718" y="98798"/>
                    <a:pt x="213368" y="94353"/>
                    <a:pt x="210193" y="96258"/>
                  </a:cubicBezTo>
                  <a:lnTo>
                    <a:pt x="210193" y="98798"/>
                  </a:lnTo>
                  <a:cubicBezTo>
                    <a:pt x="219718" y="115943"/>
                    <a:pt x="225434" y="122293"/>
                    <a:pt x="233688" y="138803"/>
                  </a:cubicBezTo>
                  <a:cubicBezTo>
                    <a:pt x="242578" y="157218"/>
                    <a:pt x="245118" y="163568"/>
                    <a:pt x="251468" y="180713"/>
                  </a:cubicBezTo>
                  <a:cubicBezTo>
                    <a:pt x="252738" y="184523"/>
                    <a:pt x="252738" y="187698"/>
                    <a:pt x="251468" y="188968"/>
                  </a:cubicBezTo>
                  <a:cubicBezTo>
                    <a:pt x="249563" y="188968"/>
                    <a:pt x="247659" y="181983"/>
                    <a:pt x="245753" y="178808"/>
                  </a:cubicBezTo>
                  <a:cubicBezTo>
                    <a:pt x="243849" y="174998"/>
                    <a:pt x="243849" y="173093"/>
                    <a:pt x="242578" y="170553"/>
                  </a:cubicBezTo>
                  <a:cubicBezTo>
                    <a:pt x="234324" y="155948"/>
                    <a:pt x="231784" y="171188"/>
                    <a:pt x="223528" y="172458"/>
                  </a:cubicBezTo>
                  <a:cubicBezTo>
                    <a:pt x="219718" y="173728"/>
                    <a:pt x="214003" y="168013"/>
                    <a:pt x="213368" y="174998"/>
                  </a:cubicBezTo>
                  <a:cubicBezTo>
                    <a:pt x="212099" y="177538"/>
                    <a:pt x="214003" y="180713"/>
                    <a:pt x="216543" y="180713"/>
                  </a:cubicBezTo>
                  <a:cubicBezTo>
                    <a:pt x="223528" y="180713"/>
                    <a:pt x="231149" y="183253"/>
                    <a:pt x="235593" y="188968"/>
                  </a:cubicBezTo>
                  <a:cubicBezTo>
                    <a:pt x="235593" y="189603"/>
                    <a:pt x="235593" y="190873"/>
                    <a:pt x="234324" y="190873"/>
                  </a:cubicBezTo>
                  <a:cubicBezTo>
                    <a:pt x="231149" y="189603"/>
                    <a:pt x="231149" y="186428"/>
                    <a:pt x="227338" y="186428"/>
                  </a:cubicBezTo>
                  <a:cubicBezTo>
                    <a:pt x="224799" y="187063"/>
                    <a:pt x="217813" y="186428"/>
                    <a:pt x="218449" y="190238"/>
                  </a:cubicBezTo>
                  <a:cubicBezTo>
                    <a:pt x="219718" y="193413"/>
                    <a:pt x="218449" y="194048"/>
                    <a:pt x="221624" y="195318"/>
                  </a:cubicBezTo>
                  <a:cubicBezTo>
                    <a:pt x="230513" y="195318"/>
                    <a:pt x="239403" y="197223"/>
                    <a:pt x="245118" y="205478"/>
                  </a:cubicBezTo>
                  <a:cubicBezTo>
                    <a:pt x="246388" y="208018"/>
                    <a:pt x="247024" y="210558"/>
                    <a:pt x="250199" y="210558"/>
                  </a:cubicBezTo>
                  <a:lnTo>
                    <a:pt x="259088" y="210558"/>
                  </a:lnTo>
                  <a:cubicBezTo>
                    <a:pt x="283853" y="209288"/>
                    <a:pt x="303538" y="223893"/>
                    <a:pt x="304174" y="228338"/>
                  </a:cubicBezTo>
                  <a:cubicBezTo>
                    <a:pt x="322588" y="224528"/>
                    <a:pt x="328303" y="246118"/>
                    <a:pt x="342274" y="251833"/>
                  </a:cubicBezTo>
                  <a:cubicBezTo>
                    <a:pt x="348624" y="254373"/>
                    <a:pt x="355609" y="255643"/>
                    <a:pt x="362593" y="252468"/>
                  </a:cubicBezTo>
                  <a:cubicBezTo>
                    <a:pt x="368943" y="249928"/>
                    <a:pt x="371484" y="251198"/>
                    <a:pt x="363863" y="256913"/>
                  </a:cubicBezTo>
                  <a:cubicBezTo>
                    <a:pt x="329574" y="280408"/>
                    <a:pt x="307984" y="242943"/>
                    <a:pt x="295284" y="241673"/>
                  </a:cubicBezTo>
                  <a:cubicBezTo>
                    <a:pt x="295918" y="237863"/>
                    <a:pt x="300363" y="230243"/>
                    <a:pt x="294649" y="226433"/>
                  </a:cubicBezTo>
                  <a:cubicBezTo>
                    <a:pt x="292743" y="225163"/>
                    <a:pt x="290203" y="229608"/>
                    <a:pt x="285759" y="221988"/>
                  </a:cubicBezTo>
                  <a:cubicBezTo>
                    <a:pt x="283218" y="217543"/>
                    <a:pt x="279409" y="224528"/>
                    <a:pt x="275599" y="221353"/>
                  </a:cubicBezTo>
                  <a:cubicBezTo>
                    <a:pt x="273059" y="219448"/>
                    <a:pt x="271153" y="216273"/>
                    <a:pt x="267978" y="216908"/>
                  </a:cubicBezTo>
                  <a:cubicBezTo>
                    <a:pt x="265438" y="216908"/>
                    <a:pt x="264803" y="216273"/>
                    <a:pt x="263534" y="217543"/>
                  </a:cubicBezTo>
                  <a:cubicBezTo>
                    <a:pt x="262263" y="218178"/>
                    <a:pt x="262263" y="218813"/>
                    <a:pt x="261628" y="221353"/>
                  </a:cubicBezTo>
                  <a:cubicBezTo>
                    <a:pt x="260993" y="222623"/>
                    <a:pt x="260993" y="225798"/>
                    <a:pt x="262899" y="226433"/>
                  </a:cubicBezTo>
                  <a:cubicBezTo>
                    <a:pt x="264168" y="227068"/>
                    <a:pt x="266074" y="228973"/>
                    <a:pt x="271153" y="230243"/>
                  </a:cubicBezTo>
                  <a:cubicBezTo>
                    <a:pt x="272424" y="230243"/>
                    <a:pt x="271788" y="231513"/>
                    <a:pt x="271788" y="232783"/>
                  </a:cubicBezTo>
                  <a:cubicBezTo>
                    <a:pt x="266709" y="235958"/>
                    <a:pt x="260993" y="233418"/>
                    <a:pt x="256549" y="230878"/>
                  </a:cubicBezTo>
                  <a:cubicBezTo>
                    <a:pt x="257818" y="227068"/>
                    <a:pt x="257818" y="225163"/>
                    <a:pt x="256549" y="221353"/>
                  </a:cubicBezTo>
                  <a:cubicBezTo>
                    <a:pt x="255278" y="216908"/>
                    <a:pt x="250199" y="215003"/>
                    <a:pt x="246388" y="214368"/>
                  </a:cubicBezTo>
                  <a:cubicBezTo>
                    <a:pt x="245118" y="215638"/>
                    <a:pt x="245753" y="216273"/>
                    <a:pt x="245753" y="217543"/>
                  </a:cubicBezTo>
                  <a:cubicBezTo>
                    <a:pt x="249563" y="222623"/>
                    <a:pt x="247024" y="230243"/>
                    <a:pt x="243849" y="229608"/>
                  </a:cubicBezTo>
                  <a:cubicBezTo>
                    <a:pt x="227338" y="226433"/>
                    <a:pt x="231149" y="241673"/>
                    <a:pt x="243213" y="245483"/>
                  </a:cubicBezTo>
                  <a:cubicBezTo>
                    <a:pt x="255913" y="249928"/>
                    <a:pt x="264803" y="250563"/>
                    <a:pt x="276234" y="245483"/>
                  </a:cubicBezTo>
                  <a:cubicBezTo>
                    <a:pt x="278138" y="244213"/>
                    <a:pt x="278774" y="245483"/>
                    <a:pt x="275599" y="249293"/>
                  </a:cubicBezTo>
                  <a:cubicBezTo>
                    <a:pt x="272424" y="251833"/>
                    <a:pt x="267978" y="254373"/>
                    <a:pt x="264168" y="255643"/>
                  </a:cubicBezTo>
                  <a:cubicBezTo>
                    <a:pt x="260993" y="256913"/>
                    <a:pt x="257818" y="256913"/>
                    <a:pt x="254643" y="257548"/>
                  </a:cubicBezTo>
                  <a:cubicBezTo>
                    <a:pt x="254643" y="257548"/>
                    <a:pt x="222893" y="260723"/>
                    <a:pt x="210193" y="234053"/>
                  </a:cubicBezTo>
                  <a:cubicBezTo>
                    <a:pt x="202574" y="211828"/>
                    <a:pt x="231149" y="211193"/>
                    <a:pt x="235593" y="211193"/>
                  </a:cubicBezTo>
                  <a:cubicBezTo>
                    <a:pt x="236228" y="211193"/>
                    <a:pt x="236863" y="211193"/>
                    <a:pt x="236863" y="211193"/>
                  </a:cubicBezTo>
                  <a:cubicBezTo>
                    <a:pt x="239403" y="209288"/>
                    <a:pt x="237499" y="206748"/>
                    <a:pt x="235593" y="205478"/>
                  </a:cubicBezTo>
                  <a:cubicBezTo>
                    <a:pt x="231784" y="201033"/>
                    <a:pt x="226068" y="202938"/>
                    <a:pt x="220988" y="202303"/>
                  </a:cubicBezTo>
                  <a:cubicBezTo>
                    <a:pt x="215909" y="203573"/>
                    <a:pt x="212734" y="207383"/>
                    <a:pt x="208924" y="209288"/>
                  </a:cubicBezTo>
                  <a:cubicBezTo>
                    <a:pt x="207018" y="209288"/>
                    <a:pt x="206384" y="208018"/>
                    <a:pt x="204478" y="206748"/>
                  </a:cubicBezTo>
                  <a:cubicBezTo>
                    <a:pt x="198763" y="204208"/>
                    <a:pt x="191143" y="203573"/>
                    <a:pt x="185428" y="204843"/>
                  </a:cubicBezTo>
                  <a:cubicBezTo>
                    <a:pt x="182253" y="207383"/>
                    <a:pt x="185428" y="211193"/>
                    <a:pt x="185428" y="214368"/>
                  </a:cubicBezTo>
                  <a:cubicBezTo>
                    <a:pt x="187968" y="220083"/>
                    <a:pt x="189874" y="227068"/>
                    <a:pt x="195588" y="230878"/>
                  </a:cubicBezTo>
                  <a:cubicBezTo>
                    <a:pt x="197493" y="232783"/>
                    <a:pt x="200668" y="234688"/>
                    <a:pt x="203209" y="236593"/>
                  </a:cubicBezTo>
                  <a:cubicBezTo>
                    <a:pt x="207653" y="240403"/>
                    <a:pt x="208288" y="248658"/>
                    <a:pt x="208288" y="250563"/>
                  </a:cubicBezTo>
                  <a:cubicBezTo>
                    <a:pt x="207018" y="253103"/>
                    <a:pt x="202574" y="261358"/>
                    <a:pt x="201938" y="262628"/>
                  </a:cubicBezTo>
                  <a:cubicBezTo>
                    <a:pt x="197493" y="269613"/>
                    <a:pt x="193684" y="274693"/>
                    <a:pt x="190509" y="284218"/>
                  </a:cubicBezTo>
                  <a:cubicBezTo>
                    <a:pt x="188603" y="289933"/>
                    <a:pt x="187968" y="292473"/>
                    <a:pt x="187968" y="295013"/>
                  </a:cubicBezTo>
                  <a:cubicBezTo>
                    <a:pt x="187334" y="297553"/>
                    <a:pt x="185428" y="302633"/>
                    <a:pt x="189874" y="306443"/>
                  </a:cubicBezTo>
                  <a:cubicBezTo>
                    <a:pt x="194318" y="310253"/>
                    <a:pt x="197493" y="289933"/>
                    <a:pt x="210193" y="289298"/>
                  </a:cubicBezTo>
                  <a:cubicBezTo>
                    <a:pt x="211463" y="288028"/>
                    <a:pt x="210193" y="294378"/>
                    <a:pt x="205749" y="306443"/>
                  </a:cubicBezTo>
                  <a:cubicBezTo>
                    <a:pt x="203843" y="310888"/>
                    <a:pt x="203843" y="312158"/>
                    <a:pt x="202574" y="314698"/>
                  </a:cubicBezTo>
                  <a:cubicBezTo>
                    <a:pt x="201303" y="317873"/>
                    <a:pt x="200034" y="320413"/>
                    <a:pt x="198763" y="326763"/>
                  </a:cubicBezTo>
                  <a:cubicBezTo>
                    <a:pt x="197493" y="331843"/>
                    <a:pt x="197493" y="338193"/>
                    <a:pt x="197493" y="338193"/>
                  </a:cubicBezTo>
                  <a:cubicBezTo>
                    <a:pt x="196859" y="342003"/>
                    <a:pt x="198763" y="343908"/>
                    <a:pt x="199399" y="344543"/>
                  </a:cubicBezTo>
                  <a:cubicBezTo>
                    <a:pt x="201303" y="345813"/>
                    <a:pt x="203209" y="345178"/>
                    <a:pt x="203843" y="343273"/>
                  </a:cubicBezTo>
                  <a:cubicBezTo>
                    <a:pt x="204478" y="342003"/>
                    <a:pt x="203843" y="338828"/>
                    <a:pt x="205749" y="337558"/>
                  </a:cubicBezTo>
                  <a:cubicBezTo>
                    <a:pt x="207653" y="336288"/>
                    <a:pt x="212099" y="337558"/>
                    <a:pt x="212734" y="340098"/>
                  </a:cubicBezTo>
                  <a:cubicBezTo>
                    <a:pt x="213368" y="341368"/>
                    <a:pt x="212734" y="343273"/>
                    <a:pt x="212099" y="344543"/>
                  </a:cubicBezTo>
                  <a:cubicBezTo>
                    <a:pt x="212099" y="345178"/>
                    <a:pt x="210193" y="347083"/>
                    <a:pt x="207653" y="347718"/>
                  </a:cubicBezTo>
                  <a:cubicBezTo>
                    <a:pt x="203209" y="349623"/>
                    <a:pt x="207018" y="354703"/>
                    <a:pt x="213368" y="352163"/>
                  </a:cubicBezTo>
                  <a:cubicBezTo>
                    <a:pt x="219718" y="349623"/>
                    <a:pt x="223528" y="350893"/>
                    <a:pt x="227338" y="351528"/>
                  </a:cubicBezTo>
                  <a:cubicBezTo>
                    <a:pt x="230513" y="352163"/>
                    <a:pt x="233688" y="352163"/>
                    <a:pt x="236863" y="350258"/>
                  </a:cubicBezTo>
                  <a:cubicBezTo>
                    <a:pt x="237499" y="349623"/>
                    <a:pt x="238768" y="347083"/>
                    <a:pt x="240674" y="344543"/>
                  </a:cubicBezTo>
                  <a:cubicBezTo>
                    <a:pt x="242578" y="342638"/>
                    <a:pt x="241943" y="343273"/>
                    <a:pt x="243849" y="341368"/>
                  </a:cubicBezTo>
                  <a:cubicBezTo>
                    <a:pt x="247024" y="338193"/>
                    <a:pt x="245118" y="335018"/>
                    <a:pt x="245118" y="333113"/>
                  </a:cubicBezTo>
                  <a:cubicBezTo>
                    <a:pt x="244484" y="328668"/>
                    <a:pt x="245118" y="326763"/>
                    <a:pt x="245753" y="324223"/>
                  </a:cubicBezTo>
                  <a:cubicBezTo>
                    <a:pt x="245753" y="321048"/>
                    <a:pt x="247659" y="318508"/>
                    <a:pt x="248293" y="315333"/>
                  </a:cubicBezTo>
                  <a:cubicBezTo>
                    <a:pt x="248928" y="312158"/>
                    <a:pt x="251468" y="308348"/>
                    <a:pt x="252738" y="306443"/>
                  </a:cubicBezTo>
                  <a:cubicBezTo>
                    <a:pt x="253374" y="305173"/>
                    <a:pt x="257184" y="300728"/>
                    <a:pt x="258453" y="298823"/>
                  </a:cubicBezTo>
                  <a:cubicBezTo>
                    <a:pt x="259724" y="296918"/>
                    <a:pt x="262263" y="295013"/>
                    <a:pt x="265438" y="291838"/>
                  </a:cubicBezTo>
                  <a:cubicBezTo>
                    <a:pt x="267343" y="289933"/>
                    <a:pt x="268613" y="288663"/>
                    <a:pt x="271153" y="287393"/>
                  </a:cubicBezTo>
                  <a:cubicBezTo>
                    <a:pt x="274328" y="285488"/>
                    <a:pt x="276868" y="283583"/>
                    <a:pt x="278138" y="282948"/>
                  </a:cubicBezTo>
                  <a:cubicBezTo>
                    <a:pt x="279409" y="282313"/>
                    <a:pt x="285124" y="279773"/>
                    <a:pt x="287028" y="277868"/>
                  </a:cubicBezTo>
                  <a:cubicBezTo>
                    <a:pt x="287028" y="270248"/>
                    <a:pt x="293378" y="253738"/>
                    <a:pt x="294013" y="243578"/>
                  </a:cubicBezTo>
                  <a:lnTo>
                    <a:pt x="294013" y="243578"/>
                  </a:lnTo>
                  <a:close/>
                  <a:moveTo>
                    <a:pt x="293378" y="269613"/>
                  </a:moveTo>
                  <a:cubicBezTo>
                    <a:pt x="290203" y="275963"/>
                    <a:pt x="286393" y="277868"/>
                    <a:pt x="287028" y="280408"/>
                  </a:cubicBezTo>
                  <a:cubicBezTo>
                    <a:pt x="287663" y="282948"/>
                    <a:pt x="297188" y="298188"/>
                    <a:pt x="297824" y="298188"/>
                  </a:cubicBezTo>
                  <a:cubicBezTo>
                    <a:pt x="298459" y="298823"/>
                    <a:pt x="302268" y="299458"/>
                    <a:pt x="303538" y="296283"/>
                  </a:cubicBezTo>
                  <a:cubicBezTo>
                    <a:pt x="304809" y="293108"/>
                    <a:pt x="304809" y="288028"/>
                    <a:pt x="304809" y="284853"/>
                  </a:cubicBezTo>
                  <a:cubicBezTo>
                    <a:pt x="304809" y="281678"/>
                    <a:pt x="304174" y="275963"/>
                    <a:pt x="303538" y="270883"/>
                  </a:cubicBezTo>
                  <a:cubicBezTo>
                    <a:pt x="302903" y="267073"/>
                    <a:pt x="300363" y="261358"/>
                    <a:pt x="297824" y="261358"/>
                  </a:cubicBezTo>
                  <a:cubicBezTo>
                    <a:pt x="297188" y="261358"/>
                    <a:pt x="295918" y="265168"/>
                    <a:pt x="293378" y="269613"/>
                  </a:cubicBezTo>
                  <a:close/>
                  <a:moveTo>
                    <a:pt x="180984" y="221988"/>
                  </a:moveTo>
                  <a:cubicBezTo>
                    <a:pt x="173999" y="209923"/>
                    <a:pt x="175903" y="208653"/>
                    <a:pt x="173363" y="203573"/>
                  </a:cubicBezTo>
                  <a:cubicBezTo>
                    <a:pt x="171459" y="198493"/>
                    <a:pt x="168284" y="197223"/>
                    <a:pt x="163203" y="197223"/>
                  </a:cubicBezTo>
                  <a:cubicBezTo>
                    <a:pt x="156853" y="197223"/>
                    <a:pt x="154313" y="201668"/>
                    <a:pt x="153043" y="202303"/>
                  </a:cubicBezTo>
                  <a:cubicBezTo>
                    <a:pt x="150503" y="204843"/>
                    <a:pt x="150503" y="208653"/>
                    <a:pt x="146059" y="211828"/>
                  </a:cubicBezTo>
                  <a:cubicBezTo>
                    <a:pt x="141613" y="215003"/>
                    <a:pt x="135899" y="218178"/>
                    <a:pt x="130818" y="216908"/>
                  </a:cubicBezTo>
                  <a:cubicBezTo>
                    <a:pt x="122563" y="215003"/>
                    <a:pt x="121928" y="205478"/>
                    <a:pt x="112403" y="209923"/>
                  </a:cubicBezTo>
                  <a:cubicBezTo>
                    <a:pt x="106053" y="213098"/>
                    <a:pt x="104149" y="218178"/>
                    <a:pt x="102878" y="220718"/>
                  </a:cubicBezTo>
                  <a:cubicBezTo>
                    <a:pt x="100974" y="223893"/>
                    <a:pt x="97799" y="230878"/>
                    <a:pt x="90813" y="225798"/>
                  </a:cubicBezTo>
                  <a:cubicBezTo>
                    <a:pt x="87003" y="223258"/>
                    <a:pt x="85734" y="218178"/>
                    <a:pt x="80018" y="221988"/>
                  </a:cubicBezTo>
                  <a:cubicBezTo>
                    <a:pt x="74938" y="227068"/>
                    <a:pt x="73668" y="245483"/>
                    <a:pt x="70493" y="249928"/>
                  </a:cubicBezTo>
                  <a:cubicBezTo>
                    <a:pt x="63509" y="261358"/>
                    <a:pt x="59699" y="276598"/>
                    <a:pt x="59063" y="279138"/>
                  </a:cubicBezTo>
                  <a:cubicBezTo>
                    <a:pt x="59063" y="279138"/>
                    <a:pt x="57793" y="284853"/>
                    <a:pt x="57159" y="287393"/>
                  </a:cubicBezTo>
                  <a:cubicBezTo>
                    <a:pt x="56524" y="289933"/>
                    <a:pt x="53984" y="306443"/>
                    <a:pt x="58428" y="307713"/>
                  </a:cubicBezTo>
                  <a:cubicBezTo>
                    <a:pt x="66049" y="309618"/>
                    <a:pt x="77478" y="291203"/>
                    <a:pt x="79384" y="288663"/>
                  </a:cubicBezTo>
                  <a:cubicBezTo>
                    <a:pt x="87003" y="281043"/>
                    <a:pt x="88274" y="276598"/>
                    <a:pt x="90178" y="273423"/>
                  </a:cubicBezTo>
                  <a:cubicBezTo>
                    <a:pt x="92718" y="270248"/>
                    <a:pt x="97163" y="268978"/>
                    <a:pt x="100974" y="269613"/>
                  </a:cubicBezTo>
                  <a:cubicBezTo>
                    <a:pt x="102243" y="269613"/>
                    <a:pt x="111768" y="270248"/>
                    <a:pt x="116849" y="271518"/>
                  </a:cubicBezTo>
                  <a:cubicBezTo>
                    <a:pt x="121928" y="272153"/>
                    <a:pt x="123834" y="272788"/>
                    <a:pt x="130818" y="274693"/>
                  </a:cubicBezTo>
                  <a:cubicBezTo>
                    <a:pt x="132724" y="275328"/>
                    <a:pt x="132724" y="277233"/>
                    <a:pt x="131453" y="277868"/>
                  </a:cubicBezTo>
                  <a:cubicBezTo>
                    <a:pt x="127009" y="279773"/>
                    <a:pt x="124468" y="279773"/>
                    <a:pt x="121928" y="280408"/>
                  </a:cubicBezTo>
                  <a:cubicBezTo>
                    <a:pt x="118753" y="281043"/>
                    <a:pt x="116849" y="283583"/>
                    <a:pt x="116213" y="284853"/>
                  </a:cubicBezTo>
                  <a:cubicBezTo>
                    <a:pt x="114943" y="288028"/>
                    <a:pt x="113038" y="293743"/>
                    <a:pt x="112403" y="296283"/>
                  </a:cubicBezTo>
                  <a:cubicBezTo>
                    <a:pt x="111768" y="298823"/>
                    <a:pt x="109863" y="305808"/>
                    <a:pt x="113038" y="308983"/>
                  </a:cubicBezTo>
                  <a:cubicBezTo>
                    <a:pt x="114943" y="310888"/>
                    <a:pt x="120659" y="311523"/>
                    <a:pt x="125103" y="312158"/>
                  </a:cubicBezTo>
                  <a:cubicBezTo>
                    <a:pt x="130184" y="312158"/>
                    <a:pt x="148599" y="310253"/>
                    <a:pt x="149868" y="310253"/>
                  </a:cubicBezTo>
                  <a:cubicBezTo>
                    <a:pt x="154313" y="310253"/>
                    <a:pt x="159393" y="310253"/>
                    <a:pt x="163838" y="310253"/>
                  </a:cubicBezTo>
                  <a:cubicBezTo>
                    <a:pt x="165743" y="310253"/>
                    <a:pt x="177174" y="310253"/>
                    <a:pt x="176538" y="305808"/>
                  </a:cubicBezTo>
                  <a:cubicBezTo>
                    <a:pt x="175903" y="303268"/>
                    <a:pt x="171459" y="293108"/>
                    <a:pt x="170188" y="291203"/>
                  </a:cubicBezTo>
                  <a:cubicBezTo>
                    <a:pt x="165743" y="282948"/>
                    <a:pt x="163203" y="281678"/>
                    <a:pt x="160028" y="273423"/>
                  </a:cubicBezTo>
                  <a:cubicBezTo>
                    <a:pt x="158124" y="267708"/>
                    <a:pt x="159393" y="265168"/>
                    <a:pt x="160028" y="261993"/>
                  </a:cubicBezTo>
                  <a:cubicBezTo>
                    <a:pt x="161299" y="258818"/>
                    <a:pt x="163838" y="253738"/>
                    <a:pt x="170188" y="248023"/>
                  </a:cubicBezTo>
                  <a:cubicBezTo>
                    <a:pt x="184793" y="235958"/>
                    <a:pt x="186063" y="234053"/>
                    <a:pt x="180984" y="221988"/>
                  </a:cubicBezTo>
                  <a:lnTo>
                    <a:pt x="180984" y="221988"/>
                  </a:lnTo>
                  <a:close/>
                </a:path>
              </a:pathLst>
            </a:custGeom>
            <a:solidFill>
              <a:srgbClr val="002733"/>
            </a:solidFill>
            <a:ln w="6350" cap="flat">
              <a:noFill/>
              <a:prstDash val="solid"/>
              <a:miter/>
            </a:ln>
          </p:spPr>
          <p:txBody>
            <a:bodyPr rtlCol="0" anchor="ctr"/>
            <a:lstStyle/>
            <a:p>
              <a:endParaRPr lang="en-GB"/>
            </a:p>
          </p:txBody>
        </p:sp>
        <p:sp>
          <p:nvSpPr>
            <p:cNvPr id="297" name="Freeform 296"/>
            <p:cNvSpPr/>
            <p:nvPr/>
          </p:nvSpPr>
          <p:spPr>
            <a:xfrm>
              <a:off x="5816600" y="3094990"/>
              <a:ext cx="558165" cy="124459"/>
            </a:xfrm>
            <a:custGeom>
              <a:avLst/>
              <a:gdLst>
                <a:gd name="connsiteX0" fmla="*/ 546936 w 558165"/>
                <a:gd name="connsiteY0" fmla="*/ 119714 h 124459"/>
                <a:gd name="connsiteX1" fmla="*/ 546936 w 558165"/>
                <a:gd name="connsiteY1" fmla="*/ 40974 h 124459"/>
                <a:gd name="connsiteX2" fmla="*/ 557731 w 558165"/>
                <a:gd name="connsiteY2" fmla="*/ 44784 h 124459"/>
                <a:gd name="connsiteX3" fmla="*/ 557731 w 558165"/>
                <a:gd name="connsiteY3" fmla="*/ 124159 h 124459"/>
                <a:gd name="connsiteX4" fmla="*/ 546936 w 558165"/>
                <a:gd name="connsiteY4" fmla="*/ 119714 h 124459"/>
                <a:gd name="connsiteX5" fmla="*/ 521536 w 558165"/>
                <a:gd name="connsiteY5" fmla="*/ 110824 h 124459"/>
                <a:gd name="connsiteX6" fmla="*/ 512011 w 558165"/>
                <a:gd name="connsiteY6" fmla="*/ 86694 h 124459"/>
                <a:gd name="connsiteX7" fmla="*/ 502486 w 558165"/>
                <a:gd name="connsiteY7" fmla="*/ 63199 h 124459"/>
                <a:gd name="connsiteX8" fmla="*/ 496771 w 558165"/>
                <a:gd name="connsiteY8" fmla="*/ 49229 h 124459"/>
                <a:gd name="connsiteX9" fmla="*/ 496771 w 558165"/>
                <a:gd name="connsiteY9" fmla="*/ 64469 h 124459"/>
                <a:gd name="connsiteX10" fmla="*/ 496771 w 558165"/>
                <a:gd name="connsiteY10" fmla="*/ 103839 h 124459"/>
                <a:gd name="connsiteX11" fmla="*/ 485976 w 558165"/>
                <a:gd name="connsiteY11" fmla="*/ 101299 h 124459"/>
                <a:gd name="connsiteX12" fmla="*/ 485976 w 558165"/>
                <a:gd name="connsiteY12" fmla="*/ 23194 h 124459"/>
                <a:gd name="connsiteX13" fmla="*/ 496771 w 558165"/>
                <a:gd name="connsiteY13" fmla="*/ 25734 h 124459"/>
                <a:gd name="connsiteX14" fmla="*/ 505026 w 558165"/>
                <a:gd name="connsiteY14" fmla="*/ 46689 h 124459"/>
                <a:gd name="connsiteX15" fmla="*/ 513281 w 558165"/>
                <a:gd name="connsiteY15" fmla="*/ 67644 h 124459"/>
                <a:gd name="connsiteX16" fmla="*/ 518996 w 558165"/>
                <a:gd name="connsiteY16" fmla="*/ 82249 h 124459"/>
                <a:gd name="connsiteX17" fmla="*/ 518996 w 558165"/>
                <a:gd name="connsiteY17" fmla="*/ 66374 h 124459"/>
                <a:gd name="connsiteX18" fmla="*/ 518996 w 558165"/>
                <a:gd name="connsiteY18" fmla="*/ 32084 h 124459"/>
                <a:gd name="connsiteX19" fmla="*/ 529791 w 558165"/>
                <a:gd name="connsiteY19" fmla="*/ 35259 h 124459"/>
                <a:gd name="connsiteX20" fmla="*/ 529791 w 558165"/>
                <a:gd name="connsiteY20" fmla="*/ 113364 h 124459"/>
                <a:gd name="connsiteX21" fmla="*/ 521536 w 558165"/>
                <a:gd name="connsiteY21" fmla="*/ 110824 h 124459"/>
                <a:gd name="connsiteX22" fmla="*/ 521536 w 558165"/>
                <a:gd name="connsiteY22" fmla="*/ 110824 h 124459"/>
                <a:gd name="connsiteX23" fmla="*/ 459306 w 558165"/>
                <a:gd name="connsiteY23" fmla="*/ 94949 h 124459"/>
                <a:gd name="connsiteX24" fmla="*/ 459306 w 558165"/>
                <a:gd name="connsiteY24" fmla="*/ 16844 h 124459"/>
                <a:gd name="connsiteX25" fmla="*/ 470736 w 558165"/>
                <a:gd name="connsiteY25" fmla="*/ 19384 h 124459"/>
                <a:gd name="connsiteX26" fmla="*/ 470736 w 558165"/>
                <a:gd name="connsiteY26" fmla="*/ 97489 h 124459"/>
                <a:gd name="connsiteX27" fmla="*/ 459306 w 558165"/>
                <a:gd name="connsiteY27" fmla="*/ 94949 h 124459"/>
                <a:gd name="connsiteX28" fmla="*/ 432001 w 558165"/>
                <a:gd name="connsiteY28" fmla="*/ 89869 h 124459"/>
                <a:gd name="connsiteX29" fmla="*/ 432001 w 558165"/>
                <a:gd name="connsiteY29" fmla="*/ 54309 h 124459"/>
                <a:gd name="connsiteX30" fmla="*/ 409776 w 558165"/>
                <a:gd name="connsiteY30" fmla="*/ 51134 h 124459"/>
                <a:gd name="connsiteX31" fmla="*/ 409776 w 558165"/>
                <a:gd name="connsiteY31" fmla="*/ 87329 h 124459"/>
                <a:gd name="connsiteX32" fmla="*/ 398981 w 558165"/>
                <a:gd name="connsiteY32" fmla="*/ 86059 h 124459"/>
                <a:gd name="connsiteX33" fmla="*/ 398981 w 558165"/>
                <a:gd name="connsiteY33" fmla="*/ 7954 h 124459"/>
                <a:gd name="connsiteX34" fmla="*/ 409776 w 558165"/>
                <a:gd name="connsiteY34" fmla="*/ 9224 h 124459"/>
                <a:gd name="connsiteX35" fmla="*/ 409776 w 558165"/>
                <a:gd name="connsiteY35" fmla="*/ 40339 h 124459"/>
                <a:gd name="connsiteX36" fmla="*/ 432001 w 558165"/>
                <a:gd name="connsiteY36" fmla="*/ 43514 h 124459"/>
                <a:gd name="connsiteX37" fmla="*/ 432001 w 558165"/>
                <a:gd name="connsiteY37" fmla="*/ 12399 h 124459"/>
                <a:gd name="connsiteX38" fmla="*/ 442796 w 558165"/>
                <a:gd name="connsiteY38" fmla="*/ 14304 h 124459"/>
                <a:gd name="connsiteX39" fmla="*/ 442796 w 558165"/>
                <a:gd name="connsiteY39" fmla="*/ 92409 h 124459"/>
                <a:gd name="connsiteX40" fmla="*/ 432001 w 558165"/>
                <a:gd name="connsiteY40" fmla="*/ 89869 h 124459"/>
                <a:gd name="connsiteX41" fmla="*/ 432001 w 558165"/>
                <a:gd name="connsiteY41" fmla="*/ 89869 h 124459"/>
                <a:gd name="connsiteX42" fmla="*/ 362151 w 558165"/>
                <a:gd name="connsiteY42" fmla="*/ 83519 h 124459"/>
                <a:gd name="connsiteX43" fmla="*/ 343736 w 558165"/>
                <a:gd name="connsiteY43" fmla="*/ 70819 h 124459"/>
                <a:gd name="connsiteX44" fmla="*/ 338021 w 558165"/>
                <a:gd name="connsiteY44" fmla="*/ 42244 h 124459"/>
                <a:gd name="connsiteX45" fmla="*/ 343736 w 558165"/>
                <a:gd name="connsiteY45" fmla="*/ 13034 h 124459"/>
                <a:gd name="connsiteX46" fmla="*/ 362151 w 558165"/>
                <a:gd name="connsiteY46" fmla="*/ 2874 h 124459"/>
                <a:gd name="connsiteX47" fmla="*/ 383741 w 558165"/>
                <a:gd name="connsiteY47" fmla="*/ 23829 h 124459"/>
                <a:gd name="connsiteX48" fmla="*/ 372311 w 558165"/>
                <a:gd name="connsiteY48" fmla="*/ 25734 h 124459"/>
                <a:gd name="connsiteX49" fmla="*/ 362151 w 558165"/>
                <a:gd name="connsiteY49" fmla="*/ 13669 h 124459"/>
                <a:gd name="connsiteX50" fmla="*/ 352626 w 558165"/>
                <a:gd name="connsiteY50" fmla="*/ 21289 h 124459"/>
                <a:gd name="connsiteX51" fmla="*/ 349451 w 558165"/>
                <a:gd name="connsiteY51" fmla="*/ 42244 h 124459"/>
                <a:gd name="connsiteX52" fmla="*/ 351991 w 558165"/>
                <a:gd name="connsiteY52" fmla="*/ 61929 h 124459"/>
                <a:gd name="connsiteX53" fmla="*/ 362786 w 558165"/>
                <a:gd name="connsiteY53" fmla="*/ 72089 h 124459"/>
                <a:gd name="connsiteX54" fmla="*/ 372946 w 558165"/>
                <a:gd name="connsiteY54" fmla="*/ 58754 h 124459"/>
                <a:gd name="connsiteX55" fmla="*/ 372946 w 558165"/>
                <a:gd name="connsiteY55" fmla="*/ 53039 h 124459"/>
                <a:gd name="connsiteX56" fmla="*/ 364056 w 558165"/>
                <a:gd name="connsiteY56" fmla="*/ 52404 h 124459"/>
                <a:gd name="connsiteX57" fmla="*/ 364056 w 558165"/>
                <a:gd name="connsiteY57" fmla="*/ 41609 h 124459"/>
                <a:gd name="connsiteX58" fmla="*/ 384376 w 558165"/>
                <a:gd name="connsiteY58" fmla="*/ 43514 h 124459"/>
                <a:gd name="connsiteX59" fmla="*/ 384376 w 558165"/>
                <a:gd name="connsiteY59" fmla="*/ 60659 h 124459"/>
                <a:gd name="connsiteX60" fmla="*/ 379296 w 558165"/>
                <a:gd name="connsiteY60" fmla="*/ 77169 h 124459"/>
                <a:gd name="connsiteX61" fmla="*/ 362151 w 558165"/>
                <a:gd name="connsiteY61" fmla="*/ 83519 h 124459"/>
                <a:gd name="connsiteX62" fmla="*/ 362151 w 558165"/>
                <a:gd name="connsiteY62" fmla="*/ 83519 h 124459"/>
                <a:gd name="connsiteX63" fmla="*/ 329131 w 558165"/>
                <a:gd name="connsiteY63" fmla="*/ 80344 h 124459"/>
                <a:gd name="connsiteX64" fmla="*/ 317066 w 558165"/>
                <a:gd name="connsiteY64" fmla="*/ 79709 h 124459"/>
                <a:gd name="connsiteX65" fmla="*/ 310716 w 558165"/>
                <a:gd name="connsiteY65" fmla="*/ 62564 h 124459"/>
                <a:gd name="connsiteX66" fmla="*/ 305001 w 558165"/>
                <a:gd name="connsiteY66" fmla="*/ 45419 h 124459"/>
                <a:gd name="connsiteX67" fmla="*/ 295476 w 558165"/>
                <a:gd name="connsiteY67" fmla="*/ 45419 h 124459"/>
                <a:gd name="connsiteX68" fmla="*/ 295476 w 558165"/>
                <a:gd name="connsiteY68" fmla="*/ 79709 h 124459"/>
                <a:gd name="connsiteX69" fmla="*/ 284681 w 558165"/>
                <a:gd name="connsiteY69" fmla="*/ 79709 h 124459"/>
                <a:gd name="connsiteX70" fmla="*/ 284681 w 558165"/>
                <a:gd name="connsiteY70" fmla="*/ 969 h 124459"/>
                <a:gd name="connsiteX71" fmla="*/ 306906 w 558165"/>
                <a:gd name="connsiteY71" fmla="*/ 1604 h 124459"/>
                <a:gd name="connsiteX72" fmla="*/ 322146 w 558165"/>
                <a:gd name="connsiteY72" fmla="*/ 7319 h 124459"/>
                <a:gd name="connsiteX73" fmla="*/ 328496 w 558165"/>
                <a:gd name="connsiteY73" fmla="*/ 24464 h 124459"/>
                <a:gd name="connsiteX74" fmla="*/ 325321 w 558165"/>
                <a:gd name="connsiteY74" fmla="*/ 37799 h 124459"/>
                <a:gd name="connsiteX75" fmla="*/ 316431 w 558165"/>
                <a:gd name="connsiteY75" fmla="*/ 44784 h 124459"/>
                <a:gd name="connsiteX76" fmla="*/ 322781 w 558165"/>
                <a:gd name="connsiteY76" fmla="*/ 63199 h 124459"/>
                <a:gd name="connsiteX77" fmla="*/ 329131 w 558165"/>
                <a:gd name="connsiteY77" fmla="*/ 80344 h 124459"/>
                <a:gd name="connsiteX78" fmla="*/ 329131 w 558165"/>
                <a:gd name="connsiteY78" fmla="*/ 80344 h 124459"/>
                <a:gd name="connsiteX79" fmla="*/ 271981 w 558165"/>
                <a:gd name="connsiteY79" fmla="*/ 39704 h 124459"/>
                <a:gd name="connsiteX80" fmla="*/ 266266 w 558165"/>
                <a:gd name="connsiteY80" fmla="*/ 68914 h 124459"/>
                <a:gd name="connsiteX81" fmla="*/ 247851 w 558165"/>
                <a:gd name="connsiteY81" fmla="*/ 80979 h 124459"/>
                <a:gd name="connsiteX82" fmla="*/ 230071 w 558165"/>
                <a:gd name="connsiteY82" fmla="*/ 70184 h 124459"/>
                <a:gd name="connsiteX83" fmla="*/ 224356 w 558165"/>
                <a:gd name="connsiteY83" fmla="*/ 41609 h 124459"/>
                <a:gd name="connsiteX84" fmla="*/ 230071 w 558165"/>
                <a:gd name="connsiteY84" fmla="*/ 12399 h 124459"/>
                <a:gd name="connsiteX85" fmla="*/ 248486 w 558165"/>
                <a:gd name="connsiteY85" fmla="*/ -301 h 124459"/>
                <a:gd name="connsiteX86" fmla="*/ 266266 w 558165"/>
                <a:gd name="connsiteY86" fmla="*/ 11129 h 124459"/>
                <a:gd name="connsiteX87" fmla="*/ 271981 w 558165"/>
                <a:gd name="connsiteY87" fmla="*/ 39704 h 124459"/>
                <a:gd name="connsiteX88" fmla="*/ 203401 w 558165"/>
                <a:gd name="connsiteY88" fmla="*/ 58119 h 124459"/>
                <a:gd name="connsiteX89" fmla="*/ 191336 w 558165"/>
                <a:gd name="connsiteY89" fmla="*/ 46689 h 124459"/>
                <a:gd name="connsiteX90" fmla="*/ 182446 w 558165"/>
                <a:gd name="connsiteY90" fmla="*/ 47959 h 124459"/>
                <a:gd name="connsiteX91" fmla="*/ 182446 w 558165"/>
                <a:gd name="connsiteY91" fmla="*/ 73359 h 124459"/>
                <a:gd name="connsiteX92" fmla="*/ 192606 w 558165"/>
                <a:gd name="connsiteY92" fmla="*/ 72724 h 124459"/>
                <a:gd name="connsiteX93" fmla="*/ 203401 w 558165"/>
                <a:gd name="connsiteY93" fmla="*/ 58119 h 124459"/>
                <a:gd name="connsiteX94" fmla="*/ 203401 w 558165"/>
                <a:gd name="connsiteY94" fmla="*/ 58119 h 124459"/>
                <a:gd name="connsiteX95" fmla="*/ 214196 w 558165"/>
                <a:gd name="connsiteY95" fmla="*/ 57484 h 124459"/>
                <a:gd name="connsiteX96" fmla="*/ 207846 w 558165"/>
                <a:gd name="connsiteY96" fmla="*/ 75264 h 124459"/>
                <a:gd name="connsiteX97" fmla="*/ 191971 w 558165"/>
                <a:gd name="connsiteY97" fmla="*/ 82249 h 124459"/>
                <a:gd name="connsiteX98" fmla="*/ 171016 w 558165"/>
                <a:gd name="connsiteY98" fmla="*/ 84154 h 124459"/>
                <a:gd name="connsiteX99" fmla="*/ 171016 w 558165"/>
                <a:gd name="connsiteY99" fmla="*/ 6049 h 124459"/>
                <a:gd name="connsiteX100" fmla="*/ 190701 w 558165"/>
                <a:gd name="connsiteY100" fmla="*/ 4144 h 124459"/>
                <a:gd name="connsiteX101" fmla="*/ 206576 w 558165"/>
                <a:gd name="connsiteY101" fmla="*/ 7954 h 124459"/>
                <a:gd name="connsiteX102" fmla="*/ 212926 w 558165"/>
                <a:gd name="connsiteY102" fmla="*/ 23194 h 124459"/>
                <a:gd name="connsiteX103" fmla="*/ 204036 w 558165"/>
                <a:gd name="connsiteY103" fmla="*/ 40339 h 124459"/>
                <a:gd name="connsiteX104" fmla="*/ 214196 w 558165"/>
                <a:gd name="connsiteY104" fmla="*/ 57484 h 124459"/>
                <a:gd name="connsiteX105" fmla="*/ 214196 w 558165"/>
                <a:gd name="connsiteY105" fmla="*/ 57484 h 124459"/>
                <a:gd name="connsiteX106" fmla="*/ 317701 w 558165"/>
                <a:gd name="connsiteY106" fmla="*/ 23194 h 124459"/>
                <a:gd name="connsiteX107" fmla="*/ 306271 w 558165"/>
                <a:gd name="connsiteY107" fmla="*/ 11129 h 124459"/>
                <a:gd name="connsiteX108" fmla="*/ 296111 w 558165"/>
                <a:gd name="connsiteY108" fmla="*/ 10494 h 124459"/>
                <a:gd name="connsiteX109" fmla="*/ 296111 w 558165"/>
                <a:gd name="connsiteY109" fmla="*/ 33989 h 124459"/>
                <a:gd name="connsiteX110" fmla="*/ 306271 w 558165"/>
                <a:gd name="connsiteY110" fmla="*/ 33989 h 124459"/>
                <a:gd name="connsiteX111" fmla="*/ 317701 w 558165"/>
                <a:gd name="connsiteY111" fmla="*/ 23194 h 124459"/>
                <a:gd name="connsiteX112" fmla="*/ 260551 w 558165"/>
                <a:gd name="connsiteY112" fmla="*/ 40339 h 124459"/>
                <a:gd name="connsiteX113" fmla="*/ 258011 w 558165"/>
                <a:gd name="connsiteY113" fmla="*/ 20019 h 124459"/>
                <a:gd name="connsiteX114" fmla="*/ 247851 w 558165"/>
                <a:gd name="connsiteY114" fmla="*/ 11129 h 124459"/>
                <a:gd name="connsiteX115" fmla="*/ 237691 w 558165"/>
                <a:gd name="connsiteY115" fmla="*/ 20654 h 124459"/>
                <a:gd name="connsiteX116" fmla="*/ 235151 w 558165"/>
                <a:gd name="connsiteY116" fmla="*/ 40974 h 124459"/>
                <a:gd name="connsiteX117" fmla="*/ 237691 w 558165"/>
                <a:gd name="connsiteY117" fmla="*/ 61294 h 124459"/>
                <a:gd name="connsiteX118" fmla="*/ 247851 w 558165"/>
                <a:gd name="connsiteY118" fmla="*/ 70184 h 124459"/>
                <a:gd name="connsiteX119" fmla="*/ 257376 w 558165"/>
                <a:gd name="connsiteY119" fmla="*/ 60659 h 124459"/>
                <a:gd name="connsiteX120" fmla="*/ 260551 w 558165"/>
                <a:gd name="connsiteY120" fmla="*/ 40339 h 124459"/>
                <a:gd name="connsiteX121" fmla="*/ 202131 w 558165"/>
                <a:gd name="connsiteY121" fmla="*/ 24464 h 124459"/>
                <a:gd name="connsiteX122" fmla="*/ 191971 w 558165"/>
                <a:gd name="connsiteY122" fmla="*/ 14939 h 124459"/>
                <a:gd name="connsiteX123" fmla="*/ 183081 w 558165"/>
                <a:gd name="connsiteY123" fmla="*/ 15574 h 124459"/>
                <a:gd name="connsiteX124" fmla="*/ 183081 w 558165"/>
                <a:gd name="connsiteY124" fmla="*/ 37164 h 124459"/>
                <a:gd name="connsiteX125" fmla="*/ 191971 w 558165"/>
                <a:gd name="connsiteY125" fmla="*/ 35894 h 124459"/>
                <a:gd name="connsiteX126" fmla="*/ 202131 w 558165"/>
                <a:gd name="connsiteY126" fmla="*/ 24464 h 124459"/>
                <a:gd name="connsiteX127" fmla="*/ 144981 w 558165"/>
                <a:gd name="connsiteY127" fmla="*/ 87329 h 124459"/>
                <a:gd name="connsiteX128" fmla="*/ 144981 w 558165"/>
                <a:gd name="connsiteY128" fmla="*/ 56214 h 124459"/>
                <a:gd name="connsiteX129" fmla="*/ 144981 w 558165"/>
                <a:gd name="connsiteY129" fmla="*/ 36529 h 124459"/>
                <a:gd name="connsiteX130" fmla="*/ 138631 w 558165"/>
                <a:gd name="connsiteY130" fmla="*/ 57484 h 124459"/>
                <a:gd name="connsiteX131" fmla="*/ 133551 w 558165"/>
                <a:gd name="connsiteY131" fmla="*/ 73994 h 124459"/>
                <a:gd name="connsiteX132" fmla="*/ 128471 w 558165"/>
                <a:gd name="connsiteY132" fmla="*/ 91139 h 124459"/>
                <a:gd name="connsiteX133" fmla="*/ 123391 w 558165"/>
                <a:gd name="connsiteY133" fmla="*/ 75899 h 124459"/>
                <a:gd name="connsiteX134" fmla="*/ 118311 w 558165"/>
                <a:gd name="connsiteY134" fmla="*/ 60659 h 124459"/>
                <a:gd name="connsiteX135" fmla="*/ 111961 w 558165"/>
                <a:gd name="connsiteY135" fmla="*/ 41609 h 124459"/>
                <a:gd name="connsiteX136" fmla="*/ 111961 w 558165"/>
                <a:gd name="connsiteY136" fmla="*/ 60659 h 124459"/>
                <a:gd name="connsiteX137" fmla="*/ 111961 w 558165"/>
                <a:gd name="connsiteY137" fmla="*/ 91774 h 124459"/>
                <a:gd name="connsiteX138" fmla="*/ 101801 w 558165"/>
                <a:gd name="connsiteY138" fmla="*/ 93679 h 124459"/>
                <a:gd name="connsiteX139" fmla="*/ 101801 w 558165"/>
                <a:gd name="connsiteY139" fmla="*/ 16209 h 124459"/>
                <a:gd name="connsiteX140" fmla="*/ 113231 w 558165"/>
                <a:gd name="connsiteY140" fmla="*/ 13669 h 124459"/>
                <a:gd name="connsiteX141" fmla="*/ 118311 w 558165"/>
                <a:gd name="connsiteY141" fmla="*/ 28909 h 124459"/>
                <a:gd name="connsiteX142" fmla="*/ 123391 w 558165"/>
                <a:gd name="connsiteY142" fmla="*/ 44149 h 124459"/>
                <a:gd name="connsiteX143" fmla="*/ 127836 w 558165"/>
                <a:gd name="connsiteY143" fmla="*/ 60659 h 124459"/>
                <a:gd name="connsiteX144" fmla="*/ 132916 w 558165"/>
                <a:gd name="connsiteY144" fmla="*/ 42244 h 124459"/>
                <a:gd name="connsiteX145" fmla="*/ 137996 w 558165"/>
                <a:gd name="connsiteY145" fmla="*/ 25099 h 124459"/>
                <a:gd name="connsiteX146" fmla="*/ 143076 w 558165"/>
                <a:gd name="connsiteY146" fmla="*/ 8589 h 124459"/>
                <a:gd name="connsiteX147" fmla="*/ 154506 w 558165"/>
                <a:gd name="connsiteY147" fmla="*/ 7319 h 124459"/>
                <a:gd name="connsiteX148" fmla="*/ 154506 w 558165"/>
                <a:gd name="connsiteY148" fmla="*/ 86059 h 124459"/>
                <a:gd name="connsiteX149" fmla="*/ 144981 w 558165"/>
                <a:gd name="connsiteY149" fmla="*/ 87329 h 124459"/>
                <a:gd name="connsiteX150" fmla="*/ 73226 w 558165"/>
                <a:gd name="connsiteY150" fmla="*/ 69549 h 124459"/>
                <a:gd name="connsiteX151" fmla="*/ 70051 w 558165"/>
                <a:gd name="connsiteY151" fmla="*/ 57484 h 124459"/>
                <a:gd name="connsiteX152" fmla="*/ 66876 w 558165"/>
                <a:gd name="connsiteY152" fmla="*/ 40974 h 124459"/>
                <a:gd name="connsiteX153" fmla="*/ 63701 w 558165"/>
                <a:gd name="connsiteY153" fmla="*/ 58754 h 124459"/>
                <a:gd name="connsiteX154" fmla="*/ 61161 w 558165"/>
                <a:gd name="connsiteY154" fmla="*/ 72724 h 124459"/>
                <a:gd name="connsiteX155" fmla="*/ 73226 w 558165"/>
                <a:gd name="connsiteY155" fmla="*/ 69549 h 124459"/>
                <a:gd name="connsiteX156" fmla="*/ 73226 w 558165"/>
                <a:gd name="connsiteY156" fmla="*/ 69549 h 124459"/>
                <a:gd name="connsiteX157" fmla="*/ 92276 w 558165"/>
                <a:gd name="connsiteY157" fmla="*/ 96854 h 124459"/>
                <a:gd name="connsiteX158" fmla="*/ 80211 w 558165"/>
                <a:gd name="connsiteY158" fmla="*/ 99394 h 124459"/>
                <a:gd name="connsiteX159" fmla="*/ 77671 w 558165"/>
                <a:gd name="connsiteY159" fmla="*/ 89234 h 124459"/>
                <a:gd name="connsiteX160" fmla="*/ 75131 w 558165"/>
                <a:gd name="connsiteY160" fmla="*/ 79709 h 124459"/>
                <a:gd name="connsiteX161" fmla="*/ 57986 w 558165"/>
                <a:gd name="connsiteY161" fmla="*/ 84154 h 124459"/>
                <a:gd name="connsiteX162" fmla="*/ 55446 w 558165"/>
                <a:gd name="connsiteY162" fmla="*/ 94949 h 124459"/>
                <a:gd name="connsiteX163" fmla="*/ 53541 w 558165"/>
                <a:gd name="connsiteY163" fmla="*/ 105744 h 124459"/>
                <a:gd name="connsiteX164" fmla="*/ 41476 w 558165"/>
                <a:gd name="connsiteY164" fmla="*/ 108919 h 124459"/>
                <a:gd name="connsiteX165" fmla="*/ 51001 w 558165"/>
                <a:gd name="connsiteY165" fmla="*/ 67009 h 124459"/>
                <a:gd name="connsiteX166" fmla="*/ 60526 w 558165"/>
                <a:gd name="connsiteY166" fmla="*/ 25734 h 124459"/>
                <a:gd name="connsiteX167" fmla="*/ 71956 w 558165"/>
                <a:gd name="connsiteY167" fmla="*/ 23194 h 124459"/>
                <a:gd name="connsiteX168" fmla="*/ 81481 w 558165"/>
                <a:gd name="connsiteY168" fmla="*/ 60024 h 124459"/>
                <a:gd name="connsiteX169" fmla="*/ 92276 w 558165"/>
                <a:gd name="connsiteY169" fmla="*/ 96854 h 124459"/>
                <a:gd name="connsiteX170" fmla="*/ 92276 w 558165"/>
                <a:gd name="connsiteY170" fmla="*/ 96854 h 124459"/>
                <a:gd name="connsiteX171" fmla="*/ -434 w 558165"/>
                <a:gd name="connsiteY171" fmla="*/ 124159 h 124459"/>
                <a:gd name="connsiteX172" fmla="*/ -434 w 558165"/>
                <a:gd name="connsiteY172" fmla="*/ 45419 h 124459"/>
                <a:gd name="connsiteX173" fmla="*/ 10361 w 558165"/>
                <a:gd name="connsiteY173" fmla="*/ 41609 h 124459"/>
                <a:gd name="connsiteX174" fmla="*/ 10361 w 558165"/>
                <a:gd name="connsiteY174" fmla="*/ 109554 h 124459"/>
                <a:gd name="connsiteX175" fmla="*/ 35761 w 558165"/>
                <a:gd name="connsiteY175" fmla="*/ 100664 h 124459"/>
                <a:gd name="connsiteX176" fmla="*/ 35761 w 558165"/>
                <a:gd name="connsiteY176" fmla="*/ 111459 h 124459"/>
                <a:gd name="connsiteX177" fmla="*/ -434 w 558165"/>
                <a:gd name="connsiteY177" fmla="*/ 124159 h 124459"/>
                <a:gd name="connsiteX178" fmla="*/ -434 w 558165"/>
                <a:gd name="connsiteY178" fmla="*/ 124159 h 12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58165" h="124459">
                  <a:moveTo>
                    <a:pt x="546936" y="119714"/>
                  </a:moveTo>
                  <a:lnTo>
                    <a:pt x="546936" y="40974"/>
                  </a:lnTo>
                  <a:cubicBezTo>
                    <a:pt x="550746" y="42244"/>
                    <a:pt x="554556" y="43514"/>
                    <a:pt x="557731" y="44784"/>
                  </a:cubicBezTo>
                  <a:lnTo>
                    <a:pt x="557731" y="124159"/>
                  </a:lnTo>
                  <a:cubicBezTo>
                    <a:pt x="554556" y="122889"/>
                    <a:pt x="550746" y="121619"/>
                    <a:pt x="546936" y="119714"/>
                  </a:cubicBezTo>
                  <a:close/>
                  <a:moveTo>
                    <a:pt x="521536" y="110824"/>
                  </a:moveTo>
                  <a:cubicBezTo>
                    <a:pt x="518361" y="102569"/>
                    <a:pt x="515186" y="94949"/>
                    <a:pt x="512011" y="86694"/>
                  </a:cubicBezTo>
                  <a:cubicBezTo>
                    <a:pt x="508836" y="78439"/>
                    <a:pt x="505661" y="70819"/>
                    <a:pt x="502486" y="63199"/>
                  </a:cubicBezTo>
                  <a:cubicBezTo>
                    <a:pt x="501216" y="59389"/>
                    <a:pt x="498041" y="51769"/>
                    <a:pt x="496771" y="49229"/>
                  </a:cubicBezTo>
                  <a:cubicBezTo>
                    <a:pt x="496771" y="51769"/>
                    <a:pt x="496771" y="61294"/>
                    <a:pt x="496771" y="64469"/>
                  </a:cubicBezTo>
                  <a:lnTo>
                    <a:pt x="496771" y="103839"/>
                  </a:lnTo>
                  <a:lnTo>
                    <a:pt x="485976" y="101299"/>
                  </a:lnTo>
                  <a:lnTo>
                    <a:pt x="485976" y="23194"/>
                  </a:lnTo>
                  <a:cubicBezTo>
                    <a:pt x="489786" y="23829"/>
                    <a:pt x="493596" y="25099"/>
                    <a:pt x="496771" y="25734"/>
                  </a:cubicBezTo>
                  <a:cubicBezTo>
                    <a:pt x="499946" y="32719"/>
                    <a:pt x="502486" y="39704"/>
                    <a:pt x="505026" y="46689"/>
                  </a:cubicBezTo>
                  <a:cubicBezTo>
                    <a:pt x="507566" y="53674"/>
                    <a:pt x="510741" y="60659"/>
                    <a:pt x="513281" y="67644"/>
                  </a:cubicBezTo>
                  <a:cubicBezTo>
                    <a:pt x="514551" y="71454"/>
                    <a:pt x="517726" y="79709"/>
                    <a:pt x="518996" y="82249"/>
                  </a:cubicBezTo>
                  <a:cubicBezTo>
                    <a:pt x="518996" y="79074"/>
                    <a:pt x="518996" y="70184"/>
                    <a:pt x="518996" y="66374"/>
                  </a:cubicBezTo>
                  <a:lnTo>
                    <a:pt x="518996" y="32084"/>
                  </a:lnTo>
                  <a:cubicBezTo>
                    <a:pt x="522806" y="33354"/>
                    <a:pt x="525981" y="33989"/>
                    <a:pt x="529791" y="35259"/>
                  </a:cubicBezTo>
                  <a:lnTo>
                    <a:pt x="529791" y="113364"/>
                  </a:lnTo>
                  <a:cubicBezTo>
                    <a:pt x="527886" y="112729"/>
                    <a:pt x="524711" y="112094"/>
                    <a:pt x="521536" y="110824"/>
                  </a:cubicBezTo>
                  <a:lnTo>
                    <a:pt x="521536" y="110824"/>
                  </a:lnTo>
                  <a:close/>
                  <a:moveTo>
                    <a:pt x="459306" y="94949"/>
                  </a:moveTo>
                  <a:lnTo>
                    <a:pt x="459306" y="16844"/>
                  </a:lnTo>
                  <a:lnTo>
                    <a:pt x="470736" y="19384"/>
                  </a:lnTo>
                  <a:lnTo>
                    <a:pt x="470736" y="97489"/>
                  </a:lnTo>
                  <a:lnTo>
                    <a:pt x="459306" y="94949"/>
                  </a:lnTo>
                  <a:close/>
                  <a:moveTo>
                    <a:pt x="432001" y="89869"/>
                  </a:moveTo>
                  <a:lnTo>
                    <a:pt x="432001" y="54309"/>
                  </a:lnTo>
                  <a:cubicBezTo>
                    <a:pt x="424381" y="53039"/>
                    <a:pt x="417396" y="51769"/>
                    <a:pt x="409776" y="51134"/>
                  </a:cubicBezTo>
                  <a:lnTo>
                    <a:pt x="409776" y="87329"/>
                  </a:lnTo>
                  <a:cubicBezTo>
                    <a:pt x="405966" y="86694"/>
                    <a:pt x="402156" y="86059"/>
                    <a:pt x="398981" y="86059"/>
                  </a:cubicBezTo>
                  <a:lnTo>
                    <a:pt x="398981" y="7954"/>
                  </a:lnTo>
                  <a:cubicBezTo>
                    <a:pt x="402791" y="8589"/>
                    <a:pt x="406601" y="9224"/>
                    <a:pt x="409776" y="9224"/>
                  </a:cubicBezTo>
                  <a:lnTo>
                    <a:pt x="409776" y="40339"/>
                  </a:lnTo>
                  <a:cubicBezTo>
                    <a:pt x="417396" y="41609"/>
                    <a:pt x="424381" y="42244"/>
                    <a:pt x="432001" y="43514"/>
                  </a:cubicBezTo>
                  <a:lnTo>
                    <a:pt x="432001" y="12399"/>
                  </a:lnTo>
                  <a:cubicBezTo>
                    <a:pt x="435811" y="13034"/>
                    <a:pt x="438986" y="13669"/>
                    <a:pt x="442796" y="14304"/>
                  </a:cubicBezTo>
                  <a:lnTo>
                    <a:pt x="442796" y="92409"/>
                  </a:lnTo>
                  <a:cubicBezTo>
                    <a:pt x="438986" y="91139"/>
                    <a:pt x="435176" y="90504"/>
                    <a:pt x="432001" y="89869"/>
                  </a:cubicBezTo>
                  <a:lnTo>
                    <a:pt x="432001" y="89869"/>
                  </a:lnTo>
                  <a:close/>
                  <a:moveTo>
                    <a:pt x="362151" y="83519"/>
                  </a:moveTo>
                  <a:cubicBezTo>
                    <a:pt x="353896" y="82884"/>
                    <a:pt x="347546" y="77804"/>
                    <a:pt x="343736" y="70819"/>
                  </a:cubicBezTo>
                  <a:cubicBezTo>
                    <a:pt x="339926" y="63199"/>
                    <a:pt x="338021" y="53039"/>
                    <a:pt x="338021" y="42244"/>
                  </a:cubicBezTo>
                  <a:cubicBezTo>
                    <a:pt x="338021" y="30179"/>
                    <a:pt x="339926" y="20019"/>
                    <a:pt x="343736" y="13034"/>
                  </a:cubicBezTo>
                  <a:cubicBezTo>
                    <a:pt x="347546" y="6049"/>
                    <a:pt x="353896" y="2239"/>
                    <a:pt x="362151" y="2874"/>
                  </a:cubicBezTo>
                  <a:cubicBezTo>
                    <a:pt x="374851" y="4144"/>
                    <a:pt x="381201" y="11764"/>
                    <a:pt x="383741" y="23829"/>
                  </a:cubicBezTo>
                  <a:cubicBezTo>
                    <a:pt x="379931" y="24464"/>
                    <a:pt x="376121" y="25099"/>
                    <a:pt x="372311" y="25734"/>
                  </a:cubicBezTo>
                  <a:cubicBezTo>
                    <a:pt x="370406" y="17479"/>
                    <a:pt x="367866" y="14304"/>
                    <a:pt x="362151" y="13669"/>
                  </a:cubicBezTo>
                  <a:cubicBezTo>
                    <a:pt x="357706" y="13669"/>
                    <a:pt x="354531" y="16209"/>
                    <a:pt x="352626" y="21289"/>
                  </a:cubicBezTo>
                  <a:cubicBezTo>
                    <a:pt x="350721" y="26369"/>
                    <a:pt x="349451" y="33989"/>
                    <a:pt x="349451" y="42244"/>
                  </a:cubicBezTo>
                  <a:cubicBezTo>
                    <a:pt x="349451" y="49229"/>
                    <a:pt x="350086" y="56214"/>
                    <a:pt x="351991" y="61929"/>
                  </a:cubicBezTo>
                  <a:cubicBezTo>
                    <a:pt x="353896" y="67644"/>
                    <a:pt x="357706" y="72089"/>
                    <a:pt x="362786" y="72089"/>
                  </a:cubicBezTo>
                  <a:cubicBezTo>
                    <a:pt x="370406" y="72724"/>
                    <a:pt x="372946" y="68279"/>
                    <a:pt x="372946" y="58754"/>
                  </a:cubicBezTo>
                  <a:lnTo>
                    <a:pt x="372946" y="53039"/>
                  </a:lnTo>
                  <a:cubicBezTo>
                    <a:pt x="370406" y="52404"/>
                    <a:pt x="367231" y="52404"/>
                    <a:pt x="364056" y="52404"/>
                  </a:cubicBezTo>
                  <a:lnTo>
                    <a:pt x="364056" y="41609"/>
                  </a:lnTo>
                  <a:lnTo>
                    <a:pt x="384376" y="43514"/>
                  </a:lnTo>
                  <a:lnTo>
                    <a:pt x="384376" y="60659"/>
                  </a:lnTo>
                  <a:cubicBezTo>
                    <a:pt x="384376" y="67009"/>
                    <a:pt x="382471" y="72724"/>
                    <a:pt x="379296" y="77169"/>
                  </a:cubicBezTo>
                  <a:cubicBezTo>
                    <a:pt x="375486" y="81614"/>
                    <a:pt x="369771" y="84154"/>
                    <a:pt x="362151" y="83519"/>
                  </a:cubicBezTo>
                  <a:lnTo>
                    <a:pt x="362151" y="83519"/>
                  </a:lnTo>
                  <a:close/>
                  <a:moveTo>
                    <a:pt x="329131" y="80344"/>
                  </a:moveTo>
                  <a:cubicBezTo>
                    <a:pt x="325321" y="80344"/>
                    <a:pt x="320876" y="79709"/>
                    <a:pt x="317066" y="79709"/>
                  </a:cubicBezTo>
                  <a:cubicBezTo>
                    <a:pt x="315161" y="73994"/>
                    <a:pt x="312621" y="68279"/>
                    <a:pt x="310716" y="62564"/>
                  </a:cubicBezTo>
                  <a:cubicBezTo>
                    <a:pt x="308811" y="56849"/>
                    <a:pt x="306906" y="51134"/>
                    <a:pt x="305001" y="45419"/>
                  </a:cubicBezTo>
                  <a:cubicBezTo>
                    <a:pt x="301826" y="45419"/>
                    <a:pt x="298651" y="45419"/>
                    <a:pt x="295476" y="45419"/>
                  </a:cubicBezTo>
                  <a:lnTo>
                    <a:pt x="295476" y="79709"/>
                  </a:lnTo>
                  <a:lnTo>
                    <a:pt x="284681" y="79709"/>
                  </a:lnTo>
                  <a:lnTo>
                    <a:pt x="284681" y="969"/>
                  </a:lnTo>
                  <a:cubicBezTo>
                    <a:pt x="292301" y="969"/>
                    <a:pt x="299286" y="969"/>
                    <a:pt x="306906" y="1604"/>
                  </a:cubicBezTo>
                  <a:cubicBezTo>
                    <a:pt x="312621" y="1604"/>
                    <a:pt x="318336" y="3509"/>
                    <a:pt x="322146" y="7319"/>
                  </a:cubicBezTo>
                  <a:cubicBezTo>
                    <a:pt x="325956" y="11129"/>
                    <a:pt x="328496" y="16844"/>
                    <a:pt x="328496" y="24464"/>
                  </a:cubicBezTo>
                  <a:cubicBezTo>
                    <a:pt x="328496" y="30179"/>
                    <a:pt x="327226" y="34624"/>
                    <a:pt x="325321" y="37799"/>
                  </a:cubicBezTo>
                  <a:cubicBezTo>
                    <a:pt x="323416" y="40974"/>
                    <a:pt x="320241" y="43514"/>
                    <a:pt x="316431" y="44784"/>
                  </a:cubicBezTo>
                  <a:cubicBezTo>
                    <a:pt x="318336" y="51134"/>
                    <a:pt x="320876" y="56849"/>
                    <a:pt x="322781" y="63199"/>
                  </a:cubicBezTo>
                  <a:cubicBezTo>
                    <a:pt x="324686" y="68279"/>
                    <a:pt x="327226" y="74629"/>
                    <a:pt x="329131" y="80344"/>
                  </a:cubicBezTo>
                  <a:lnTo>
                    <a:pt x="329131" y="80344"/>
                  </a:lnTo>
                  <a:close/>
                  <a:moveTo>
                    <a:pt x="271981" y="39704"/>
                  </a:moveTo>
                  <a:cubicBezTo>
                    <a:pt x="271981" y="51134"/>
                    <a:pt x="270076" y="61294"/>
                    <a:pt x="266266" y="68914"/>
                  </a:cubicBezTo>
                  <a:cubicBezTo>
                    <a:pt x="262456" y="75899"/>
                    <a:pt x="256106" y="80979"/>
                    <a:pt x="247851" y="80979"/>
                  </a:cubicBezTo>
                  <a:cubicBezTo>
                    <a:pt x="239596" y="80979"/>
                    <a:pt x="233881" y="77169"/>
                    <a:pt x="230071" y="70184"/>
                  </a:cubicBezTo>
                  <a:cubicBezTo>
                    <a:pt x="226261" y="63199"/>
                    <a:pt x="224356" y="53039"/>
                    <a:pt x="224356" y="41609"/>
                  </a:cubicBezTo>
                  <a:cubicBezTo>
                    <a:pt x="224356" y="30179"/>
                    <a:pt x="226261" y="20019"/>
                    <a:pt x="230071" y="12399"/>
                  </a:cubicBezTo>
                  <a:cubicBezTo>
                    <a:pt x="233881" y="4779"/>
                    <a:pt x="240231" y="334"/>
                    <a:pt x="248486" y="-301"/>
                  </a:cubicBezTo>
                  <a:cubicBezTo>
                    <a:pt x="256741" y="-301"/>
                    <a:pt x="262456" y="4144"/>
                    <a:pt x="266266" y="11129"/>
                  </a:cubicBezTo>
                  <a:cubicBezTo>
                    <a:pt x="270076" y="18114"/>
                    <a:pt x="271981" y="28274"/>
                    <a:pt x="271981" y="39704"/>
                  </a:cubicBezTo>
                  <a:close/>
                  <a:moveTo>
                    <a:pt x="203401" y="58119"/>
                  </a:moveTo>
                  <a:cubicBezTo>
                    <a:pt x="203401" y="49229"/>
                    <a:pt x="198321" y="46054"/>
                    <a:pt x="191336" y="46689"/>
                  </a:cubicBezTo>
                  <a:cubicBezTo>
                    <a:pt x="188161" y="47324"/>
                    <a:pt x="185621" y="47324"/>
                    <a:pt x="182446" y="47959"/>
                  </a:cubicBezTo>
                  <a:lnTo>
                    <a:pt x="182446" y="73359"/>
                  </a:lnTo>
                  <a:cubicBezTo>
                    <a:pt x="185621" y="73359"/>
                    <a:pt x="188796" y="72724"/>
                    <a:pt x="192606" y="72724"/>
                  </a:cubicBezTo>
                  <a:cubicBezTo>
                    <a:pt x="198956" y="71454"/>
                    <a:pt x="203401" y="67644"/>
                    <a:pt x="203401" y="58119"/>
                  </a:cubicBezTo>
                  <a:lnTo>
                    <a:pt x="203401" y="58119"/>
                  </a:lnTo>
                  <a:close/>
                  <a:moveTo>
                    <a:pt x="214196" y="57484"/>
                  </a:moveTo>
                  <a:cubicBezTo>
                    <a:pt x="214196" y="65104"/>
                    <a:pt x="211656" y="71454"/>
                    <a:pt x="207846" y="75264"/>
                  </a:cubicBezTo>
                  <a:cubicBezTo>
                    <a:pt x="204036" y="79709"/>
                    <a:pt x="198321" y="82249"/>
                    <a:pt x="191971" y="82249"/>
                  </a:cubicBezTo>
                  <a:cubicBezTo>
                    <a:pt x="184986" y="82884"/>
                    <a:pt x="178001" y="83519"/>
                    <a:pt x="171016" y="84154"/>
                  </a:cubicBezTo>
                  <a:lnTo>
                    <a:pt x="171016" y="6049"/>
                  </a:lnTo>
                  <a:cubicBezTo>
                    <a:pt x="177366" y="5414"/>
                    <a:pt x="184351" y="4779"/>
                    <a:pt x="190701" y="4144"/>
                  </a:cubicBezTo>
                  <a:cubicBezTo>
                    <a:pt x="197051" y="3509"/>
                    <a:pt x="202766" y="4779"/>
                    <a:pt x="206576" y="7954"/>
                  </a:cubicBezTo>
                  <a:cubicBezTo>
                    <a:pt x="210386" y="11129"/>
                    <a:pt x="212926" y="16209"/>
                    <a:pt x="212926" y="23194"/>
                  </a:cubicBezTo>
                  <a:cubicBezTo>
                    <a:pt x="212926" y="29544"/>
                    <a:pt x="210386" y="36529"/>
                    <a:pt x="204036" y="40339"/>
                  </a:cubicBezTo>
                  <a:cubicBezTo>
                    <a:pt x="210386" y="42244"/>
                    <a:pt x="214196" y="49229"/>
                    <a:pt x="214196" y="57484"/>
                  </a:cubicBezTo>
                  <a:lnTo>
                    <a:pt x="214196" y="57484"/>
                  </a:lnTo>
                  <a:close/>
                  <a:moveTo>
                    <a:pt x="317701" y="23194"/>
                  </a:moveTo>
                  <a:cubicBezTo>
                    <a:pt x="317701" y="14939"/>
                    <a:pt x="313256" y="11764"/>
                    <a:pt x="306271" y="11129"/>
                  </a:cubicBezTo>
                  <a:cubicBezTo>
                    <a:pt x="303096" y="11129"/>
                    <a:pt x="299286" y="11129"/>
                    <a:pt x="296111" y="10494"/>
                  </a:cubicBezTo>
                  <a:lnTo>
                    <a:pt x="296111" y="33989"/>
                  </a:lnTo>
                  <a:cubicBezTo>
                    <a:pt x="299286" y="33989"/>
                    <a:pt x="303096" y="33989"/>
                    <a:pt x="306271" y="33989"/>
                  </a:cubicBezTo>
                  <a:cubicBezTo>
                    <a:pt x="313256" y="35259"/>
                    <a:pt x="317701" y="31449"/>
                    <a:pt x="317701" y="23194"/>
                  </a:cubicBezTo>
                  <a:close/>
                  <a:moveTo>
                    <a:pt x="260551" y="40339"/>
                  </a:moveTo>
                  <a:cubicBezTo>
                    <a:pt x="260551" y="32719"/>
                    <a:pt x="259916" y="25734"/>
                    <a:pt x="258011" y="20019"/>
                  </a:cubicBezTo>
                  <a:cubicBezTo>
                    <a:pt x="256106" y="14304"/>
                    <a:pt x="252931" y="10494"/>
                    <a:pt x="247851" y="11129"/>
                  </a:cubicBezTo>
                  <a:cubicBezTo>
                    <a:pt x="242771" y="11129"/>
                    <a:pt x="239596" y="14939"/>
                    <a:pt x="237691" y="20654"/>
                  </a:cubicBezTo>
                  <a:cubicBezTo>
                    <a:pt x="235786" y="26369"/>
                    <a:pt x="235151" y="33989"/>
                    <a:pt x="235151" y="40974"/>
                  </a:cubicBezTo>
                  <a:cubicBezTo>
                    <a:pt x="235151" y="47959"/>
                    <a:pt x="235786" y="55579"/>
                    <a:pt x="237691" y="61294"/>
                  </a:cubicBezTo>
                  <a:cubicBezTo>
                    <a:pt x="239596" y="66374"/>
                    <a:pt x="242771" y="70184"/>
                    <a:pt x="247851" y="70184"/>
                  </a:cubicBezTo>
                  <a:cubicBezTo>
                    <a:pt x="252296" y="70184"/>
                    <a:pt x="255471" y="66374"/>
                    <a:pt x="257376" y="60659"/>
                  </a:cubicBezTo>
                  <a:cubicBezTo>
                    <a:pt x="259916" y="54944"/>
                    <a:pt x="260551" y="47324"/>
                    <a:pt x="260551" y="40339"/>
                  </a:cubicBezTo>
                  <a:close/>
                  <a:moveTo>
                    <a:pt x="202131" y="24464"/>
                  </a:moveTo>
                  <a:cubicBezTo>
                    <a:pt x="202131" y="16844"/>
                    <a:pt x="197686" y="14304"/>
                    <a:pt x="191971" y="14939"/>
                  </a:cubicBezTo>
                  <a:cubicBezTo>
                    <a:pt x="188796" y="14939"/>
                    <a:pt x="185621" y="15574"/>
                    <a:pt x="183081" y="15574"/>
                  </a:cubicBezTo>
                  <a:lnTo>
                    <a:pt x="183081" y="37164"/>
                  </a:lnTo>
                  <a:cubicBezTo>
                    <a:pt x="185621" y="36529"/>
                    <a:pt x="188796" y="36529"/>
                    <a:pt x="191971" y="35894"/>
                  </a:cubicBezTo>
                  <a:cubicBezTo>
                    <a:pt x="197686" y="35894"/>
                    <a:pt x="202131" y="32084"/>
                    <a:pt x="202131" y="24464"/>
                  </a:cubicBezTo>
                  <a:close/>
                  <a:moveTo>
                    <a:pt x="144981" y="87329"/>
                  </a:moveTo>
                  <a:lnTo>
                    <a:pt x="144981" y="56214"/>
                  </a:lnTo>
                  <a:cubicBezTo>
                    <a:pt x="144981" y="51134"/>
                    <a:pt x="144981" y="39704"/>
                    <a:pt x="144981" y="36529"/>
                  </a:cubicBezTo>
                  <a:cubicBezTo>
                    <a:pt x="143711" y="39704"/>
                    <a:pt x="140536" y="51769"/>
                    <a:pt x="138631" y="57484"/>
                  </a:cubicBezTo>
                  <a:cubicBezTo>
                    <a:pt x="136726" y="63199"/>
                    <a:pt x="134821" y="68279"/>
                    <a:pt x="133551" y="73994"/>
                  </a:cubicBezTo>
                  <a:lnTo>
                    <a:pt x="128471" y="91139"/>
                  </a:lnTo>
                  <a:lnTo>
                    <a:pt x="123391" y="75899"/>
                  </a:lnTo>
                  <a:cubicBezTo>
                    <a:pt x="121486" y="70819"/>
                    <a:pt x="120216" y="65104"/>
                    <a:pt x="118311" y="60659"/>
                  </a:cubicBezTo>
                  <a:cubicBezTo>
                    <a:pt x="116406" y="55579"/>
                    <a:pt x="113231" y="44784"/>
                    <a:pt x="111961" y="41609"/>
                  </a:cubicBezTo>
                  <a:cubicBezTo>
                    <a:pt x="111961" y="44784"/>
                    <a:pt x="111961" y="56214"/>
                    <a:pt x="111961" y="60659"/>
                  </a:cubicBezTo>
                  <a:lnTo>
                    <a:pt x="111961" y="91774"/>
                  </a:lnTo>
                  <a:cubicBezTo>
                    <a:pt x="108786" y="92409"/>
                    <a:pt x="104976" y="93044"/>
                    <a:pt x="101801" y="93679"/>
                  </a:cubicBezTo>
                  <a:lnTo>
                    <a:pt x="101801" y="16209"/>
                  </a:lnTo>
                  <a:cubicBezTo>
                    <a:pt x="105611" y="15574"/>
                    <a:pt x="109421" y="14939"/>
                    <a:pt x="113231" y="13669"/>
                  </a:cubicBezTo>
                  <a:lnTo>
                    <a:pt x="118311" y="28909"/>
                  </a:lnTo>
                  <a:cubicBezTo>
                    <a:pt x="120216" y="33989"/>
                    <a:pt x="121486" y="39069"/>
                    <a:pt x="123391" y="44149"/>
                  </a:cubicBezTo>
                  <a:cubicBezTo>
                    <a:pt x="124661" y="48594"/>
                    <a:pt x="127836" y="58119"/>
                    <a:pt x="127836" y="60659"/>
                  </a:cubicBezTo>
                  <a:cubicBezTo>
                    <a:pt x="129106" y="57484"/>
                    <a:pt x="131646" y="47324"/>
                    <a:pt x="132916" y="42244"/>
                  </a:cubicBezTo>
                  <a:cubicBezTo>
                    <a:pt x="134186" y="36529"/>
                    <a:pt x="136091" y="30814"/>
                    <a:pt x="137996" y="25099"/>
                  </a:cubicBezTo>
                  <a:cubicBezTo>
                    <a:pt x="139901" y="19384"/>
                    <a:pt x="141171" y="14304"/>
                    <a:pt x="143076" y="8589"/>
                  </a:cubicBezTo>
                  <a:cubicBezTo>
                    <a:pt x="146886" y="7954"/>
                    <a:pt x="150696" y="7319"/>
                    <a:pt x="154506" y="7319"/>
                  </a:cubicBezTo>
                  <a:lnTo>
                    <a:pt x="154506" y="86059"/>
                  </a:lnTo>
                  <a:cubicBezTo>
                    <a:pt x="151966" y="86694"/>
                    <a:pt x="148791" y="87329"/>
                    <a:pt x="144981" y="87329"/>
                  </a:cubicBezTo>
                  <a:close/>
                  <a:moveTo>
                    <a:pt x="73226" y="69549"/>
                  </a:moveTo>
                  <a:cubicBezTo>
                    <a:pt x="71956" y="65739"/>
                    <a:pt x="71321" y="61294"/>
                    <a:pt x="70051" y="57484"/>
                  </a:cubicBezTo>
                  <a:cubicBezTo>
                    <a:pt x="68781" y="52404"/>
                    <a:pt x="67511" y="44149"/>
                    <a:pt x="66876" y="40974"/>
                  </a:cubicBezTo>
                  <a:cubicBezTo>
                    <a:pt x="66241" y="44149"/>
                    <a:pt x="64336" y="53674"/>
                    <a:pt x="63701" y="58754"/>
                  </a:cubicBezTo>
                  <a:cubicBezTo>
                    <a:pt x="62431" y="63199"/>
                    <a:pt x="61796" y="67644"/>
                    <a:pt x="61161" y="72724"/>
                  </a:cubicBezTo>
                  <a:cubicBezTo>
                    <a:pt x="64971" y="71454"/>
                    <a:pt x="68781" y="70819"/>
                    <a:pt x="73226" y="69549"/>
                  </a:cubicBezTo>
                  <a:lnTo>
                    <a:pt x="73226" y="69549"/>
                  </a:lnTo>
                  <a:close/>
                  <a:moveTo>
                    <a:pt x="92276" y="96854"/>
                  </a:moveTo>
                  <a:cubicBezTo>
                    <a:pt x="87831" y="97489"/>
                    <a:pt x="84021" y="98759"/>
                    <a:pt x="80211" y="99394"/>
                  </a:cubicBezTo>
                  <a:cubicBezTo>
                    <a:pt x="79576" y="96219"/>
                    <a:pt x="78941" y="92409"/>
                    <a:pt x="77671" y="89234"/>
                  </a:cubicBezTo>
                  <a:lnTo>
                    <a:pt x="75131" y="79709"/>
                  </a:lnTo>
                  <a:cubicBezTo>
                    <a:pt x="69416" y="80979"/>
                    <a:pt x="63701" y="82249"/>
                    <a:pt x="57986" y="84154"/>
                  </a:cubicBezTo>
                  <a:cubicBezTo>
                    <a:pt x="56716" y="87964"/>
                    <a:pt x="56081" y="91774"/>
                    <a:pt x="55446" y="94949"/>
                  </a:cubicBezTo>
                  <a:cubicBezTo>
                    <a:pt x="54811" y="98759"/>
                    <a:pt x="54176" y="102569"/>
                    <a:pt x="53541" y="105744"/>
                  </a:cubicBezTo>
                  <a:cubicBezTo>
                    <a:pt x="49731" y="107014"/>
                    <a:pt x="45921" y="108284"/>
                    <a:pt x="41476" y="108919"/>
                  </a:cubicBezTo>
                  <a:cubicBezTo>
                    <a:pt x="44651" y="94949"/>
                    <a:pt x="47826" y="80979"/>
                    <a:pt x="51001" y="67009"/>
                  </a:cubicBezTo>
                  <a:cubicBezTo>
                    <a:pt x="54176" y="53039"/>
                    <a:pt x="57351" y="39069"/>
                    <a:pt x="60526" y="25734"/>
                  </a:cubicBezTo>
                  <a:cubicBezTo>
                    <a:pt x="64336" y="24464"/>
                    <a:pt x="68146" y="23829"/>
                    <a:pt x="71956" y="23194"/>
                  </a:cubicBezTo>
                  <a:cubicBezTo>
                    <a:pt x="75131" y="35259"/>
                    <a:pt x="78306" y="47324"/>
                    <a:pt x="81481" y="60024"/>
                  </a:cubicBezTo>
                  <a:cubicBezTo>
                    <a:pt x="85291" y="72089"/>
                    <a:pt x="88466" y="84154"/>
                    <a:pt x="92276" y="96854"/>
                  </a:cubicBezTo>
                  <a:lnTo>
                    <a:pt x="92276" y="96854"/>
                  </a:lnTo>
                  <a:close/>
                  <a:moveTo>
                    <a:pt x="-434" y="124159"/>
                  </a:moveTo>
                  <a:lnTo>
                    <a:pt x="-434" y="45419"/>
                  </a:lnTo>
                  <a:cubicBezTo>
                    <a:pt x="3376" y="44149"/>
                    <a:pt x="6551" y="42879"/>
                    <a:pt x="10361" y="41609"/>
                  </a:cubicBezTo>
                  <a:lnTo>
                    <a:pt x="10361" y="109554"/>
                  </a:lnTo>
                  <a:cubicBezTo>
                    <a:pt x="18616" y="106379"/>
                    <a:pt x="26871" y="103204"/>
                    <a:pt x="35761" y="100664"/>
                  </a:cubicBezTo>
                  <a:lnTo>
                    <a:pt x="35761" y="111459"/>
                  </a:lnTo>
                  <a:cubicBezTo>
                    <a:pt x="23696" y="115269"/>
                    <a:pt x="11631" y="119714"/>
                    <a:pt x="-434" y="124159"/>
                  </a:cubicBezTo>
                  <a:lnTo>
                    <a:pt x="-434" y="124159"/>
                  </a:lnTo>
                  <a:close/>
                </a:path>
              </a:pathLst>
            </a:custGeom>
            <a:solidFill>
              <a:srgbClr val="002733"/>
            </a:solidFill>
            <a:ln w="6350" cap="flat">
              <a:noFill/>
              <a:prstDash val="solid"/>
              <a:miter/>
            </a:ln>
          </p:spPr>
          <p:txBody>
            <a:bodyPr rtlCol="0" anchor="ctr"/>
            <a:lstStyle/>
            <a:p>
              <a:endParaRPr lang="en-GB"/>
            </a:p>
          </p:txBody>
        </p:sp>
      </p:grpSp>
      <p:grpSp>
        <p:nvGrpSpPr>
          <p:cNvPr id="312" name="Graphic 79"/>
          <p:cNvGrpSpPr/>
          <p:nvPr/>
        </p:nvGrpSpPr>
        <p:grpSpPr>
          <a:xfrm>
            <a:off x="8789035" y="4514214"/>
            <a:ext cx="964564" cy="204471"/>
            <a:chOff x="8789035" y="4514214"/>
            <a:chExt cx="964564" cy="204471"/>
          </a:xfrm>
          <a:solidFill>
            <a:srgbClr val="002733"/>
          </a:solidFill>
        </p:grpSpPr>
        <p:sp>
          <p:nvSpPr>
            <p:cNvPr id="313" name="Freeform 312"/>
            <p:cNvSpPr/>
            <p:nvPr/>
          </p:nvSpPr>
          <p:spPr>
            <a:xfrm>
              <a:off x="9436100" y="4516755"/>
              <a:ext cx="33021" cy="199389"/>
            </a:xfrm>
            <a:custGeom>
              <a:avLst/>
              <a:gdLst>
                <a:gd name="connsiteX0" fmla="*/ 29951 w 33021"/>
                <a:gd name="connsiteY0" fmla="*/ -1566 h 199389"/>
                <a:gd name="connsiteX1" fmla="*/ 29951 w 33021"/>
                <a:gd name="connsiteY1" fmla="*/ -1566 h 199389"/>
                <a:gd name="connsiteX2" fmla="*/ -3070 w 33021"/>
                <a:gd name="connsiteY2" fmla="*/ -1566 h 199389"/>
                <a:gd name="connsiteX3" fmla="*/ -3070 w 33021"/>
                <a:gd name="connsiteY3" fmla="*/ 197823 h 199389"/>
                <a:gd name="connsiteX4" fmla="*/ 29951 w 33021"/>
                <a:gd name="connsiteY4" fmla="*/ 197823 h 199389"/>
                <a:gd name="connsiteX5" fmla="*/ 29951 w 33021"/>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21" h="199389">
                  <a:moveTo>
                    <a:pt x="29951" y="-1566"/>
                  </a:moveTo>
                  <a:lnTo>
                    <a:pt x="29951" y="-1566"/>
                  </a:lnTo>
                  <a:lnTo>
                    <a:pt x="-3070" y="-1566"/>
                  </a:lnTo>
                  <a:lnTo>
                    <a:pt x="-3070" y="197823"/>
                  </a:lnTo>
                  <a:lnTo>
                    <a:pt x="29951" y="197823"/>
                  </a:lnTo>
                  <a:lnTo>
                    <a:pt x="29951" y="-1566"/>
                  </a:lnTo>
                  <a:close/>
                </a:path>
              </a:pathLst>
            </a:custGeom>
            <a:solidFill>
              <a:srgbClr val="002733"/>
            </a:solidFill>
            <a:ln w="6350" cap="flat">
              <a:noFill/>
              <a:prstDash val="solid"/>
              <a:miter/>
            </a:ln>
          </p:spPr>
          <p:txBody>
            <a:bodyPr rtlCol="0" anchor="ctr"/>
            <a:lstStyle/>
            <a:p>
              <a:endParaRPr lang="en-GB"/>
            </a:p>
          </p:txBody>
        </p:sp>
        <p:sp>
          <p:nvSpPr>
            <p:cNvPr id="314" name="Freeform 313"/>
            <p:cNvSpPr/>
            <p:nvPr/>
          </p:nvSpPr>
          <p:spPr>
            <a:xfrm>
              <a:off x="9123046" y="4514214"/>
              <a:ext cx="204468" cy="204471"/>
            </a:xfrm>
            <a:custGeom>
              <a:avLst/>
              <a:gdLst>
                <a:gd name="connsiteX0" fmla="*/ 99163 w 204468"/>
                <a:gd name="connsiteY0" fmla="*/ 202905 h 204471"/>
                <a:gd name="connsiteX1" fmla="*/ 99163 w 204468"/>
                <a:gd name="connsiteY1" fmla="*/ 202905 h 204471"/>
                <a:gd name="connsiteX2" fmla="*/ 201398 w 204468"/>
                <a:gd name="connsiteY2" fmla="*/ 100670 h 204471"/>
                <a:gd name="connsiteX3" fmla="*/ 99163 w 204468"/>
                <a:gd name="connsiteY3" fmla="*/ -1566 h 204471"/>
                <a:gd name="connsiteX4" fmla="*/ -3070 w 204468"/>
                <a:gd name="connsiteY4" fmla="*/ 100670 h 204471"/>
                <a:gd name="connsiteX5" fmla="*/ 99163 w 204468"/>
                <a:gd name="connsiteY5" fmla="*/ 202905 h 204471"/>
                <a:gd name="connsiteX6" fmla="*/ 99163 w 204468"/>
                <a:gd name="connsiteY6" fmla="*/ 28280 h 204471"/>
                <a:gd name="connsiteX7" fmla="*/ 99163 w 204468"/>
                <a:gd name="connsiteY7" fmla="*/ 28280 h 204471"/>
                <a:gd name="connsiteX8" fmla="*/ 169648 w 204468"/>
                <a:gd name="connsiteY8" fmla="*/ 100670 h 204471"/>
                <a:gd name="connsiteX9" fmla="*/ 99163 w 204468"/>
                <a:gd name="connsiteY9" fmla="*/ 173059 h 204471"/>
                <a:gd name="connsiteX10" fmla="*/ 28680 w 204468"/>
                <a:gd name="connsiteY10" fmla="*/ 100670 h 204471"/>
                <a:gd name="connsiteX11" fmla="*/ 99163 w 204468"/>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8" h="204471">
                  <a:moveTo>
                    <a:pt x="99163" y="202905"/>
                  </a:moveTo>
                  <a:lnTo>
                    <a:pt x="99163" y="202905"/>
                  </a:lnTo>
                  <a:cubicBezTo>
                    <a:pt x="155680" y="202905"/>
                    <a:pt x="201398" y="157184"/>
                    <a:pt x="201398" y="100670"/>
                  </a:cubicBezTo>
                  <a:cubicBezTo>
                    <a:pt x="201398" y="44155"/>
                    <a:pt x="155680" y="-1566"/>
                    <a:pt x="99163" y="-1566"/>
                  </a:cubicBezTo>
                  <a:cubicBezTo>
                    <a:pt x="42648" y="-1566"/>
                    <a:pt x="-3070" y="44155"/>
                    <a:pt x="-3070" y="100670"/>
                  </a:cubicBezTo>
                  <a:cubicBezTo>
                    <a:pt x="-2437" y="157184"/>
                    <a:pt x="43284" y="202905"/>
                    <a:pt x="99163" y="202905"/>
                  </a:cubicBezTo>
                  <a:close/>
                  <a:moveTo>
                    <a:pt x="99163" y="28280"/>
                  </a:moveTo>
                  <a:lnTo>
                    <a:pt x="99163" y="28280"/>
                  </a:lnTo>
                  <a:cubicBezTo>
                    <a:pt x="138534" y="28280"/>
                    <a:pt x="169648" y="60030"/>
                    <a:pt x="169648" y="100670"/>
                  </a:cubicBezTo>
                  <a:cubicBezTo>
                    <a:pt x="169648" y="141309"/>
                    <a:pt x="138534" y="173059"/>
                    <a:pt x="99163" y="173059"/>
                  </a:cubicBezTo>
                  <a:cubicBezTo>
                    <a:pt x="59794" y="173059"/>
                    <a:pt x="28680" y="141309"/>
                    <a:pt x="28680" y="100670"/>
                  </a:cubicBezTo>
                  <a:cubicBezTo>
                    <a:pt x="29313" y="60030"/>
                    <a:pt x="59794" y="28280"/>
                    <a:pt x="99163" y="28280"/>
                  </a:cubicBezTo>
                  <a:close/>
                </a:path>
              </a:pathLst>
            </a:custGeom>
            <a:solidFill>
              <a:srgbClr val="002733"/>
            </a:solidFill>
            <a:ln w="6350" cap="flat">
              <a:noFill/>
              <a:prstDash val="solid"/>
              <a:miter/>
            </a:ln>
          </p:spPr>
          <p:txBody>
            <a:bodyPr rtlCol="0" anchor="ctr"/>
            <a:lstStyle/>
            <a:p>
              <a:endParaRPr lang="en-GB"/>
            </a:p>
          </p:txBody>
        </p:sp>
        <p:sp>
          <p:nvSpPr>
            <p:cNvPr id="315" name="Freeform 314"/>
            <p:cNvSpPr/>
            <p:nvPr/>
          </p:nvSpPr>
          <p:spPr>
            <a:xfrm>
              <a:off x="9577703" y="4514214"/>
              <a:ext cx="175896" cy="201930"/>
            </a:xfrm>
            <a:custGeom>
              <a:avLst/>
              <a:gdLst>
                <a:gd name="connsiteX0" fmla="*/ 86466 w 175896"/>
                <a:gd name="connsiteY0" fmla="*/ -295 h 201930"/>
                <a:gd name="connsiteX1" fmla="*/ 86466 w 175896"/>
                <a:gd name="connsiteY1" fmla="*/ -295 h 201930"/>
                <a:gd name="connsiteX2" fmla="*/ 86466 w 175896"/>
                <a:gd name="connsiteY2" fmla="*/ -295 h 201930"/>
                <a:gd name="connsiteX3" fmla="*/ 85197 w 175896"/>
                <a:gd name="connsiteY3" fmla="*/ -1566 h 201930"/>
                <a:gd name="connsiteX4" fmla="*/ 83926 w 175896"/>
                <a:gd name="connsiteY4" fmla="*/ -295 h 201930"/>
                <a:gd name="connsiteX5" fmla="*/ 83926 w 175896"/>
                <a:gd name="connsiteY5" fmla="*/ -295 h 201930"/>
                <a:gd name="connsiteX6" fmla="*/ -3070 w 175896"/>
                <a:gd name="connsiteY6" fmla="*/ 200364 h 201930"/>
                <a:gd name="connsiteX7" fmla="*/ 27412 w 175896"/>
                <a:gd name="connsiteY7" fmla="*/ 200364 h 201930"/>
                <a:gd name="connsiteX8" fmla="*/ 84562 w 175896"/>
                <a:gd name="connsiteY8" fmla="*/ 67014 h 201930"/>
                <a:gd name="connsiteX9" fmla="*/ 142347 w 175896"/>
                <a:gd name="connsiteY9" fmla="*/ 200364 h 201930"/>
                <a:gd name="connsiteX10" fmla="*/ 172826 w 175896"/>
                <a:gd name="connsiteY10" fmla="*/ 200364 h 201930"/>
                <a:gd name="connsiteX11" fmla="*/ 86466 w 175896"/>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6" h="201930">
                  <a:moveTo>
                    <a:pt x="86466" y="-295"/>
                  </a:moveTo>
                  <a:lnTo>
                    <a:pt x="86466" y="-295"/>
                  </a:lnTo>
                  <a:lnTo>
                    <a:pt x="86466" y="-295"/>
                  </a:lnTo>
                  <a:cubicBezTo>
                    <a:pt x="86466" y="-930"/>
                    <a:pt x="85830" y="-1566"/>
                    <a:pt x="85197" y="-1566"/>
                  </a:cubicBezTo>
                  <a:cubicBezTo>
                    <a:pt x="84562" y="-1566"/>
                    <a:pt x="83926" y="-930"/>
                    <a:pt x="83926" y="-295"/>
                  </a:cubicBezTo>
                  <a:lnTo>
                    <a:pt x="83926" y="-295"/>
                  </a:lnTo>
                  <a:lnTo>
                    <a:pt x="-3070" y="200364"/>
                  </a:lnTo>
                  <a:lnTo>
                    <a:pt x="27412" y="200364"/>
                  </a:lnTo>
                  <a:lnTo>
                    <a:pt x="84562" y="67014"/>
                  </a:lnTo>
                  <a:lnTo>
                    <a:pt x="142347" y="200364"/>
                  </a:lnTo>
                  <a:lnTo>
                    <a:pt x="172826" y="200364"/>
                  </a:lnTo>
                  <a:lnTo>
                    <a:pt x="86466" y="-295"/>
                  </a:lnTo>
                  <a:close/>
                </a:path>
              </a:pathLst>
            </a:custGeom>
            <a:solidFill>
              <a:srgbClr val="002733"/>
            </a:solidFill>
            <a:ln w="6350" cap="flat">
              <a:noFill/>
              <a:prstDash val="solid"/>
              <a:miter/>
            </a:ln>
          </p:spPr>
          <p:txBody>
            <a:bodyPr rtlCol="0" anchor="ctr"/>
            <a:lstStyle/>
            <a:p>
              <a:endParaRPr lang="en-GB"/>
            </a:p>
          </p:txBody>
        </p:sp>
        <p:sp>
          <p:nvSpPr>
            <p:cNvPr id="316" name="Freeform 315"/>
            <p:cNvSpPr/>
            <p:nvPr/>
          </p:nvSpPr>
          <p:spPr>
            <a:xfrm>
              <a:off x="8789035" y="4514850"/>
              <a:ext cx="267335" cy="201294"/>
            </a:xfrm>
            <a:custGeom>
              <a:avLst/>
              <a:gdLst>
                <a:gd name="connsiteX0" fmla="*/ 181716 w 267335"/>
                <a:gd name="connsiteY0" fmla="*/ -296 h 201294"/>
                <a:gd name="connsiteX1" fmla="*/ 181716 w 267335"/>
                <a:gd name="connsiteY1" fmla="*/ -296 h 201294"/>
                <a:gd name="connsiteX2" fmla="*/ 181716 w 267335"/>
                <a:gd name="connsiteY2" fmla="*/ -296 h 201294"/>
                <a:gd name="connsiteX3" fmla="*/ 179809 w 267335"/>
                <a:gd name="connsiteY3" fmla="*/ -1566 h 201294"/>
                <a:gd name="connsiteX4" fmla="*/ 177905 w 267335"/>
                <a:gd name="connsiteY4" fmla="*/ -296 h 201294"/>
                <a:gd name="connsiteX5" fmla="*/ 177905 w 267335"/>
                <a:gd name="connsiteY5" fmla="*/ -296 h 201294"/>
                <a:gd name="connsiteX6" fmla="*/ 139169 w 267335"/>
                <a:gd name="connsiteY6" fmla="*/ 102573 h 201294"/>
                <a:gd name="connsiteX7" fmla="*/ 130280 w 267335"/>
                <a:gd name="connsiteY7" fmla="*/ 126704 h 201294"/>
                <a:gd name="connsiteX8" fmla="*/ 82655 w 267335"/>
                <a:gd name="connsiteY8" fmla="*/ -296 h 201294"/>
                <a:gd name="connsiteX9" fmla="*/ 80748 w 267335"/>
                <a:gd name="connsiteY9" fmla="*/ -1566 h 201294"/>
                <a:gd name="connsiteX10" fmla="*/ 78844 w 267335"/>
                <a:gd name="connsiteY10" fmla="*/ -296 h 201294"/>
                <a:gd name="connsiteX11" fmla="*/ -3070 w 267335"/>
                <a:gd name="connsiteY11" fmla="*/ 199095 h 201294"/>
                <a:gd name="connsiteX12" fmla="*/ 29948 w 267335"/>
                <a:gd name="connsiteY12" fmla="*/ 199095 h 201294"/>
                <a:gd name="connsiteX13" fmla="*/ 55348 w 267335"/>
                <a:gd name="connsiteY13" fmla="*/ 138134 h 201294"/>
                <a:gd name="connsiteX14" fmla="*/ 80116 w 267335"/>
                <a:gd name="connsiteY14" fmla="*/ 73364 h 201294"/>
                <a:gd name="connsiteX15" fmla="*/ 128373 w 267335"/>
                <a:gd name="connsiteY15" fmla="*/ 198459 h 201294"/>
                <a:gd name="connsiteX16" fmla="*/ 130280 w 267335"/>
                <a:gd name="connsiteY16" fmla="*/ 199729 h 201294"/>
                <a:gd name="connsiteX17" fmla="*/ 132184 w 267335"/>
                <a:gd name="connsiteY17" fmla="*/ 198459 h 201294"/>
                <a:gd name="connsiteX18" fmla="*/ 181080 w 267335"/>
                <a:gd name="connsiteY18" fmla="*/ 73364 h 201294"/>
                <a:gd name="connsiteX19" fmla="*/ 231244 w 267335"/>
                <a:gd name="connsiteY19" fmla="*/ 198459 h 201294"/>
                <a:gd name="connsiteX20" fmla="*/ 264266 w 267335"/>
                <a:gd name="connsiteY20" fmla="*/ 198459 h 201294"/>
                <a:gd name="connsiteX21" fmla="*/ 181716 w 267335"/>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5" h="201294">
                  <a:moveTo>
                    <a:pt x="181716" y="-296"/>
                  </a:moveTo>
                  <a:lnTo>
                    <a:pt x="181716" y="-296"/>
                  </a:lnTo>
                  <a:lnTo>
                    <a:pt x="181716" y="-296"/>
                  </a:lnTo>
                  <a:cubicBezTo>
                    <a:pt x="181080" y="-930"/>
                    <a:pt x="180444" y="-1566"/>
                    <a:pt x="179809" y="-1566"/>
                  </a:cubicBezTo>
                  <a:cubicBezTo>
                    <a:pt x="178541" y="-1566"/>
                    <a:pt x="177905" y="-930"/>
                    <a:pt x="177905" y="-296"/>
                  </a:cubicBezTo>
                  <a:lnTo>
                    <a:pt x="177905" y="-296"/>
                  </a:lnTo>
                  <a:lnTo>
                    <a:pt x="139169" y="102573"/>
                  </a:lnTo>
                  <a:lnTo>
                    <a:pt x="130280" y="126704"/>
                  </a:lnTo>
                  <a:lnTo>
                    <a:pt x="82655" y="-296"/>
                  </a:lnTo>
                  <a:cubicBezTo>
                    <a:pt x="82019" y="-930"/>
                    <a:pt x="81384" y="-1566"/>
                    <a:pt x="80748" y="-1566"/>
                  </a:cubicBezTo>
                  <a:cubicBezTo>
                    <a:pt x="79480" y="-1566"/>
                    <a:pt x="78844" y="-930"/>
                    <a:pt x="78844" y="-296"/>
                  </a:cubicBezTo>
                  <a:lnTo>
                    <a:pt x="-3070" y="199095"/>
                  </a:lnTo>
                  <a:lnTo>
                    <a:pt x="29948" y="199095"/>
                  </a:lnTo>
                  <a:lnTo>
                    <a:pt x="55348" y="138134"/>
                  </a:lnTo>
                  <a:lnTo>
                    <a:pt x="80116" y="73364"/>
                  </a:lnTo>
                  <a:lnTo>
                    <a:pt x="128373" y="198459"/>
                  </a:lnTo>
                  <a:cubicBezTo>
                    <a:pt x="128373" y="199095"/>
                    <a:pt x="129644" y="199729"/>
                    <a:pt x="130280" y="199729"/>
                  </a:cubicBezTo>
                  <a:cubicBezTo>
                    <a:pt x="130916" y="199729"/>
                    <a:pt x="131548" y="199095"/>
                    <a:pt x="132184" y="198459"/>
                  </a:cubicBezTo>
                  <a:lnTo>
                    <a:pt x="181080" y="73364"/>
                  </a:lnTo>
                  <a:lnTo>
                    <a:pt x="231244" y="198459"/>
                  </a:lnTo>
                  <a:lnTo>
                    <a:pt x="264266" y="198459"/>
                  </a:lnTo>
                  <a:lnTo>
                    <a:pt x="181716" y="-296"/>
                  </a:lnTo>
                  <a:close/>
                </a:path>
              </a:pathLst>
            </a:custGeom>
            <a:solidFill>
              <a:srgbClr val="002733"/>
            </a:solidFill>
            <a:ln w="6350" cap="flat">
              <a:noFill/>
              <a:prstDash val="solid"/>
              <a:miter/>
            </a:ln>
          </p:spPr>
          <p:txBody>
            <a:bodyPr rtlCol="0" anchor="ctr"/>
            <a:lstStyle/>
            <a:p>
              <a:endParaRPr lang="en-GB"/>
            </a:p>
          </p:txBody>
        </p:sp>
      </p:grpSp>
      <p:grpSp>
        <p:nvGrpSpPr>
          <p:cNvPr id="895" name="Graphic 79"/>
          <p:cNvGrpSpPr/>
          <p:nvPr/>
        </p:nvGrpSpPr>
        <p:grpSpPr>
          <a:xfrm>
            <a:off x="7343775" y="1985010"/>
            <a:ext cx="679450" cy="513079"/>
            <a:chOff x="7343775" y="1985010"/>
            <a:chExt cx="679450" cy="513079"/>
          </a:xfrm>
          <a:solidFill>
            <a:srgbClr val="002733"/>
          </a:solidFill>
        </p:grpSpPr>
        <p:sp>
          <p:nvSpPr>
            <p:cNvPr id="896" name="Freeform 895"/>
            <p:cNvSpPr/>
            <p:nvPr/>
          </p:nvSpPr>
          <p:spPr>
            <a:xfrm>
              <a:off x="7486015"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grpFill/>
            <a:ln w="6350" cap="flat">
              <a:noFill/>
              <a:prstDash val="solid"/>
              <a:miter/>
            </a:ln>
          </p:spPr>
          <p:txBody>
            <a:bodyPr rtlCol="0" anchor="ctr"/>
            <a:lstStyle/>
            <a:p>
              <a:endParaRPr lang="en-GB"/>
            </a:p>
          </p:txBody>
        </p:sp>
        <p:sp>
          <p:nvSpPr>
            <p:cNvPr id="897" name="Freeform 896"/>
            <p:cNvSpPr/>
            <p:nvPr/>
          </p:nvSpPr>
          <p:spPr>
            <a:xfrm>
              <a:off x="748347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grpFill/>
            <a:ln w="6350" cap="flat">
              <a:noFill/>
              <a:prstDash val="solid"/>
              <a:miter/>
            </a:ln>
          </p:spPr>
          <p:txBody>
            <a:bodyPr rtlCol="0" anchor="ctr"/>
            <a:lstStyle/>
            <a:p>
              <a:endParaRPr lang="en-GB"/>
            </a:p>
          </p:txBody>
        </p:sp>
        <p:sp>
          <p:nvSpPr>
            <p:cNvPr id="898" name="Freeform 897"/>
            <p:cNvSpPr/>
            <p:nvPr/>
          </p:nvSpPr>
          <p:spPr>
            <a:xfrm>
              <a:off x="7525384"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grpFill/>
            <a:ln w="6350" cap="flat">
              <a:noFill/>
              <a:prstDash val="solid"/>
              <a:miter/>
            </a:ln>
          </p:spPr>
          <p:txBody>
            <a:bodyPr rtlCol="0" anchor="ctr"/>
            <a:lstStyle/>
            <a:p>
              <a:endParaRPr lang="en-GB"/>
            </a:p>
          </p:txBody>
        </p:sp>
        <p:sp>
          <p:nvSpPr>
            <p:cNvPr id="899" name="Freeform 898"/>
            <p:cNvSpPr/>
            <p:nvPr/>
          </p:nvSpPr>
          <p:spPr>
            <a:xfrm>
              <a:off x="7343775" y="2403475"/>
              <a:ext cx="151130" cy="94614"/>
            </a:xfrm>
            <a:custGeom>
              <a:avLst/>
              <a:gdLst>
                <a:gd name="connsiteX0" fmla="*/ 132715 w 151130"/>
                <a:gd name="connsiteY0" fmla="*/ 41910 h 94614"/>
                <a:gd name="connsiteX1" fmla="*/ 90805 w 151130"/>
                <a:gd name="connsiteY1" fmla="*/ 37465 h 94614"/>
                <a:gd name="connsiteX2" fmla="*/ 43180 w 151130"/>
                <a:gd name="connsiteY2" fmla="*/ 33655 h 94614"/>
                <a:gd name="connsiteX3" fmla="*/ 26670 w 151130"/>
                <a:gd name="connsiteY3" fmla="*/ 31750 h 94614"/>
                <a:gd name="connsiteX4" fmla="*/ 22225 w 151130"/>
                <a:gd name="connsiteY4" fmla="*/ 24130 h 94614"/>
                <a:gd name="connsiteX5" fmla="*/ 27940 w 151130"/>
                <a:gd name="connsiteY5" fmla="*/ 18415 h 94614"/>
                <a:gd name="connsiteX6" fmla="*/ 31750 w 151130"/>
                <a:gd name="connsiteY6" fmla="*/ 18415 h 94614"/>
                <a:gd name="connsiteX7" fmla="*/ 139065 w 151130"/>
                <a:gd name="connsiteY7" fmla="*/ 18415 h 94614"/>
                <a:gd name="connsiteX8" fmla="*/ 143510 w 151130"/>
                <a:gd name="connsiteY8" fmla="*/ 18415 h 94614"/>
                <a:gd name="connsiteX9" fmla="*/ 143510 w 151130"/>
                <a:gd name="connsiteY9" fmla="*/ 0 h 94614"/>
                <a:gd name="connsiteX10" fmla="*/ 139065 w 151130"/>
                <a:gd name="connsiteY10" fmla="*/ 0 h 94614"/>
                <a:gd name="connsiteX11" fmla="*/ 28575 w 151130"/>
                <a:gd name="connsiteY11" fmla="*/ 0 h 94614"/>
                <a:gd name="connsiteX12" fmla="*/ 23495 w 151130"/>
                <a:gd name="connsiteY12" fmla="*/ 635 h 94614"/>
                <a:gd name="connsiteX13" fmla="*/ 635 w 151130"/>
                <a:gd name="connsiteY13" fmla="*/ 17780 h 94614"/>
                <a:gd name="connsiteX14" fmla="*/ 0 w 151130"/>
                <a:gd name="connsiteY14" fmla="*/ 30480 h 94614"/>
                <a:gd name="connsiteX15" fmla="*/ 17780 w 151130"/>
                <a:gd name="connsiteY15" fmla="*/ 50800 h 94614"/>
                <a:gd name="connsiteX16" fmla="*/ 37465 w 151130"/>
                <a:gd name="connsiteY16" fmla="*/ 53340 h 94614"/>
                <a:gd name="connsiteX17" fmla="*/ 92710 w 151130"/>
                <a:gd name="connsiteY17" fmla="*/ 57785 h 94614"/>
                <a:gd name="connsiteX18" fmla="*/ 121920 w 151130"/>
                <a:gd name="connsiteY18" fmla="*/ 60325 h 94614"/>
                <a:gd name="connsiteX19" fmla="*/ 128270 w 151130"/>
                <a:gd name="connsiteY19" fmla="*/ 69215 h 94614"/>
                <a:gd name="connsiteX20" fmla="*/ 121285 w 151130"/>
                <a:gd name="connsiteY20" fmla="*/ 76200 h 94614"/>
                <a:gd name="connsiteX21" fmla="*/ 117475 w 151130"/>
                <a:gd name="connsiteY21" fmla="*/ 76200 h 94614"/>
                <a:gd name="connsiteX22" fmla="*/ 9525 w 151130"/>
                <a:gd name="connsiteY22" fmla="*/ 76200 h 94614"/>
                <a:gd name="connsiteX23" fmla="*/ 5080 w 151130"/>
                <a:gd name="connsiteY23" fmla="*/ 76200 h 94614"/>
                <a:gd name="connsiteX24" fmla="*/ 5080 w 151130"/>
                <a:gd name="connsiteY24" fmla="*/ 94615 h 94614"/>
                <a:gd name="connsiteX25" fmla="*/ 7620 w 151130"/>
                <a:gd name="connsiteY25" fmla="*/ 94615 h 94614"/>
                <a:gd name="connsiteX26" fmla="*/ 121285 w 151130"/>
                <a:gd name="connsiteY26" fmla="*/ 94615 h 94614"/>
                <a:gd name="connsiteX27" fmla="*/ 131445 w 151130"/>
                <a:gd name="connsiteY27" fmla="*/ 93980 h 94614"/>
                <a:gd name="connsiteX28" fmla="*/ 150495 w 151130"/>
                <a:gd name="connsiteY28" fmla="*/ 75565 h 94614"/>
                <a:gd name="connsiteX29" fmla="*/ 151130 w 151130"/>
                <a:gd name="connsiteY29" fmla="*/ 64770 h 94614"/>
                <a:gd name="connsiteX30" fmla="*/ 132715 w 151130"/>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30"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grpFill/>
            <a:ln w="6350" cap="flat">
              <a:noFill/>
              <a:prstDash val="solid"/>
              <a:miter/>
            </a:ln>
          </p:spPr>
          <p:txBody>
            <a:bodyPr rtlCol="0" anchor="ctr"/>
            <a:lstStyle/>
            <a:p>
              <a:endParaRPr lang="en-GB"/>
            </a:p>
          </p:txBody>
        </p:sp>
        <p:sp>
          <p:nvSpPr>
            <p:cNvPr id="900" name="Freeform 899"/>
            <p:cNvSpPr/>
            <p:nvPr/>
          </p:nvSpPr>
          <p:spPr>
            <a:xfrm>
              <a:off x="7710169" y="2402204"/>
              <a:ext cx="142875" cy="95250"/>
            </a:xfrm>
            <a:custGeom>
              <a:avLst/>
              <a:gdLst>
                <a:gd name="connsiteX0" fmla="*/ 31750 w 142875"/>
                <a:gd name="connsiteY0" fmla="*/ 635 h 95250"/>
                <a:gd name="connsiteX1" fmla="*/ 636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1 w 142875"/>
                <a:gd name="connsiteY7" fmla="*/ 67945 h 95250"/>
                <a:gd name="connsiteX8" fmla="*/ 118111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1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1" y="10160"/>
                    <a:pt x="636" y="24765"/>
                  </a:cubicBezTo>
                  <a:cubicBezTo>
                    <a:pt x="0" y="28575"/>
                    <a:pt x="0" y="32385"/>
                    <a:pt x="0" y="36195"/>
                  </a:cubicBezTo>
                  <a:cubicBezTo>
                    <a:pt x="0" y="54610"/>
                    <a:pt x="0" y="73025"/>
                    <a:pt x="0" y="91440"/>
                  </a:cubicBezTo>
                  <a:lnTo>
                    <a:pt x="0" y="94615"/>
                  </a:lnTo>
                  <a:lnTo>
                    <a:pt x="24765" y="94615"/>
                  </a:lnTo>
                  <a:lnTo>
                    <a:pt x="24765" y="67945"/>
                  </a:lnTo>
                  <a:lnTo>
                    <a:pt x="118111" y="67945"/>
                  </a:lnTo>
                  <a:lnTo>
                    <a:pt x="118111" y="95250"/>
                  </a:lnTo>
                  <a:lnTo>
                    <a:pt x="142875" y="95250"/>
                  </a:lnTo>
                  <a:lnTo>
                    <a:pt x="142875" y="635"/>
                  </a:lnTo>
                  <a:lnTo>
                    <a:pt x="141605" y="0"/>
                  </a:lnTo>
                  <a:cubicBezTo>
                    <a:pt x="104775" y="0"/>
                    <a:pt x="67945" y="0"/>
                    <a:pt x="31750" y="635"/>
                  </a:cubicBezTo>
                  <a:close/>
                  <a:moveTo>
                    <a:pt x="118111" y="48895"/>
                  </a:moveTo>
                  <a:lnTo>
                    <a:pt x="24765" y="48895"/>
                  </a:lnTo>
                  <a:cubicBezTo>
                    <a:pt x="24765" y="41275"/>
                    <a:pt x="24130" y="33655"/>
                    <a:pt x="26670" y="26670"/>
                  </a:cubicBezTo>
                  <a:cubicBezTo>
                    <a:pt x="29211" y="20955"/>
                    <a:pt x="34290" y="19050"/>
                    <a:pt x="40005" y="19050"/>
                  </a:cubicBezTo>
                  <a:cubicBezTo>
                    <a:pt x="60961" y="19050"/>
                    <a:pt x="81280" y="19050"/>
                    <a:pt x="102870" y="19050"/>
                  </a:cubicBezTo>
                  <a:lnTo>
                    <a:pt x="117475" y="19050"/>
                  </a:lnTo>
                  <a:lnTo>
                    <a:pt x="117475" y="48895"/>
                  </a:lnTo>
                  <a:close/>
                </a:path>
              </a:pathLst>
            </a:custGeom>
            <a:grpFill/>
            <a:ln w="6350" cap="flat">
              <a:noFill/>
              <a:prstDash val="solid"/>
              <a:miter/>
            </a:ln>
          </p:spPr>
          <p:txBody>
            <a:bodyPr rtlCol="0" anchor="ctr"/>
            <a:lstStyle/>
            <a:p>
              <a:endParaRPr lang="en-GB"/>
            </a:p>
          </p:txBody>
        </p:sp>
        <p:sp>
          <p:nvSpPr>
            <p:cNvPr id="901" name="Freeform 900"/>
            <p:cNvSpPr/>
            <p:nvPr/>
          </p:nvSpPr>
          <p:spPr>
            <a:xfrm>
              <a:off x="788352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grpFill/>
            <a:ln w="6350" cap="flat">
              <a:noFill/>
              <a:prstDash val="solid"/>
              <a:miter/>
            </a:ln>
          </p:spPr>
          <p:txBody>
            <a:bodyPr rtlCol="0" anchor="ctr"/>
            <a:lstStyle/>
            <a:p>
              <a:endParaRPr lang="en-GB"/>
            </a:p>
          </p:txBody>
        </p:sp>
      </p:grpSp>
      <p:grpSp>
        <p:nvGrpSpPr>
          <p:cNvPr id="909" name="Graphic 79"/>
          <p:cNvGrpSpPr/>
          <p:nvPr/>
        </p:nvGrpSpPr>
        <p:grpSpPr>
          <a:xfrm>
            <a:off x="5645150" y="1931035"/>
            <a:ext cx="901700" cy="622082"/>
            <a:chOff x="5645150" y="1931035"/>
            <a:chExt cx="901700" cy="622082"/>
          </a:xfrm>
        </p:grpSpPr>
        <p:sp>
          <p:nvSpPr>
            <p:cNvPr id="910" name="Freeform 909"/>
            <p:cNvSpPr/>
            <p:nvPr/>
          </p:nvSpPr>
          <p:spPr>
            <a:xfrm>
              <a:off x="5894704" y="1947545"/>
              <a:ext cx="372745" cy="372748"/>
            </a:xfrm>
            <a:custGeom>
              <a:avLst/>
              <a:gdLst>
                <a:gd name="connsiteX0" fmla="*/ 186055 w 372745"/>
                <a:gd name="connsiteY0" fmla="*/ 372745 h 372748"/>
                <a:gd name="connsiteX1" fmla="*/ 372745 w 372745"/>
                <a:gd name="connsiteY1" fmla="*/ 186690 h 372748"/>
                <a:gd name="connsiteX2" fmla="*/ 187325 w 372745"/>
                <a:gd name="connsiteY2" fmla="*/ 0 h 372748"/>
                <a:gd name="connsiteX3" fmla="*/ 0 w 372745"/>
                <a:gd name="connsiteY3" fmla="*/ 186055 h 372748"/>
                <a:gd name="connsiteX4" fmla="*/ 186055 w 372745"/>
                <a:gd name="connsiteY4" fmla="*/ 372745 h 372748"/>
                <a:gd name="connsiteX5" fmla="*/ 129540 w 372745"/>
                <a:gd name="connsiteY5" fmla="*/ 255270 h 372748"/>
                <a:gd name="connsiteX6" fmla="*/ 121285 w 372745"/>
                <a:gd name="connsiteY6" fmla="*/ 225425 h 372748"/>
                <a:gd name="connsiteX7" fmla="*/ 89535 w 372745"/>
                <a:gd name="connsiteY7" fmla="*/ 189865 h 372748"/>
                <a:gd name="connsiteX8" fmla="*/ 48260 w 372745"/>
                <a:gd name="connsiteY8" fmla="*/ 171450 h 372748"/>
                <a:gd name="connsiteX9" fmla="*/ 26035 w 372745"/>
                <a:gd name="connsiteY9" fmla="*/ 165735 h 372748"/>
                <a:gd name="connsiteX10" fmla="*/ 26035 w 372745"/>
                <a:gd name="connsiteY10" fmla="*/ 163195 h 372748"/>
                <a:gd name="connsiteX11" fmla="*/ 45720 w 372745"/>
                <a:gd name="connsiteY11" fmla="*/ 106680 h 372748"/>
                <a:gd name="connsiteX12" fmla="*/ 46990 w 372745"/>
                <a:gd name="connsiteY12" fmla="*/ 104775 h 372748"/>
                <a:gd name="connsiteX13" fmla="*/ 55880 w 372745"/>
                <a:gd name="connsiteY13" fmla="*/ 106680 h 372748"/>
                <a:gd name="connsiteX14" fmla="*/ 112395 w 372745"/>
                <a:gd name="connsiteY14" fmla="*/ 127635 h 372748"/>
                <a:gd name="connsiteX15" fmla="*/ 127635 w 372745"/>
                <a:gd name="connsiteY15" fmla="*/ 137160 h 372748"/>
                <a:gd name="connsiteX16" fmla="*/ 134620 w 372745"/>
                <a:gd name="connsiteY16" fmla="*/ 137160 h 372748"/>
                <a:gd name="connsiteX17" fmla="*/ 132080 w 372745"/>
                <a:gd name="connsiteY17" fmla="*/ 133985 h 372748"/>
                <a:gd name="connsiteX18" fmla="*/ 109220 w 372745"/>
                <a:gd name="connsiteY18" fmla="*/ 114300 h 372748"/>
                <a:gd name="connsiteX19" fmla="*/ 64770 w 372745"/>
                <a:gd name="connsiteY19" fmla="*/ 85090 h 372748"/>
                <a:gd name="connsiteX20" fmla="*/ 62230 w 372745"/>
                <a:gd name="connsiteY20" fmla="*/ 83185 h 372748"/>
                <a:gd name="connsiteX21" fmla="*/ 66675 w 372745"/>
                <a:gd name="connsiteY21" fmla="*/ 78105 h 372748"/>
                <a:gd name="connsiteX22" fmla="*/ 107315 w 372745"/>
                <a:gd name="connsiteY22" fmla="*/ 45085 h 372748"/>
                <a:gd name="connsiteX23" fmla="*/ 112395 w 372745"/>
                <a:gd name="connsiteY23" fmla="*/ 44450 h 372748"/>
                <a:gd name="connsiteX24" fmla="*/ 145415 w 372745"/>
                <a:gd name="connsiteY24" fmla="*/ 64770 h 372748"/>
                <a:gd name="connsiteX25" fmla="*/ 185420 w 372745"/>
                <a:gd name="connsiteY25" fmla="*/ 102870 h 372748"/>
                <a:gd name="connsiteX26" fmla="*/ 186055 w 372745"/>
                <a:gd name="connsiteY26" fmla="*/ 103505 h 372748"/>
                <a:gd name="connsiteX27" fmla="*/ 194310 w 372745"/>
                <a:gd name="connsiteY27" fmla="*/ 104775 h 372748"/>
                <a:gd name="connsiteX28" fmla="*/ 192405 w 372745"/>
                <a:gd name="connsiteY28" fmla="*/ 101600 h 372748"/>
                <a:gd name="connsiteX29" fmla="*/ 167005 w 372745"/>
                <a:gd name="connsiteY29" fmla="*/ 63500 h 372748"/>
                <a:gd name="connsiteX30" fmla="*/ 137160 w 372745"/>
                <a:gd name="connsiteY30" fmla="*/ 33655 h 372748"/>
                <a:gd name="connsiteX31" fmla="*/ 135890 w 372745"/>
                <a:gd name="connsiteY31" fmla="*/ 32385 h 372748"/>
                <a:gd name="connsiteX32" fmla="*/ 135890 w 372745"/>
                <a:gd name="connsiteY32" fmla="*/ 31750 h 372748"/>
                <a:gd name="connsiteX33" fmla="*/ 149860 w 372745"/>
                <a:gd name="connsiteY33" fmla="*/ 27305 h 372748"/>
                <a:gd name="connsiteX34" fmla="*/ 195580 w 372745"/>
                <a:gd name="connsiteY34" fmla="*/ 23495 h 372748"/>
                <a:gd name="connsiteX35" fmla="*/ 205740 w 372745"/>
                <a:gd name="connsiteY35" fmla="*/ 27305 h 372748"/>
                <a:gd name="connsiteX36" fmla="*/ 252730 w 372745"/>
                <a:gd name="connsiteY36" fmla="*/ 90170 h 372748"/>
                <a:gd name="connsiteX37" fmla="*/ 266700 w 372745"/>
                <a:gd name="connsiteY37" fmla="*/ 139065 h 372748"/>
                <a:gd name="connsiteX38" fmla="*/ 268605 w 372745"/>
                <a:gd name="connsiteY38" fmla="*/ 173355 h 372748"/>
                <a:gd name="connsiteX39" fmla="*/ 252095 w 372745"/>
                <a:gd name="connsiteY39" fmla="*/ 257175 h 372748"/>
                <a:gd name="connsiteX40" fmla="*/ 250825 w 372745"/>
                <a:gd name="connsiteY40" fmla="*/ 259715 h 372748"/>
                <a:gd name="connsiteX41" fmla="*/ 252730 w 372745"/>
                <a:gd name="connsiteY41" fmla="*/ 260350 h 372748"/>
                <a:gd name="connsiteX42" fmla="*/ 264795 w 372745"/>
                <a:gd name="connsiteY42" fmla="*/ 260350 h 372748"/>
                <a:gd name="connsiteX43" fmla="*/ 267970 w 372745"/>
                <a:gd name="connsiteY43" fmla="*/ 258445 h 372748"/>
                <a:gd name="connsiteX44" fmla="*/ 271780 w 372745"/>
                <a:gd name="connsiteY44" fmla="*/ 247650 h 372748"/>
                <a:gd name="connsiteX45" fmla="*/ 320675 w 372745"/>
                <a:gd name="connsiteY45" fmla="*/ 272415 h 372748"/>
                <a:gd name="connsiteX46" fmla="*/ 271780 w 372745"/>
                <a:gd name="connsiteY46" fmla="*/ 297180 h 372748"/>
                <a:gd name="connsiteX47" fmla="*/ 266700 w 372745"/>
                <a:gd name="connsiteY47" fmla="*/ 285115 h 372748"/>
                <a:gd name="connsiteX48" fmla="*/ 263525 w 372745"/>
                <a:gd name="connsiteY48" fmla="*/ 285115 h 372748"/>
                <a:gd name="connsiteX49" fmla="*/ 118745 w 372745"/>
                <a:gd name="connsiteY49" fmla="*/ 285115 h 372748"/>
                <a:gd name="connsiteX50" fmla="*/ 113665 w 372745"/>
                <a:gd name="connsiteY50" fmla="*/ 287020 h 372748"/>
                <a:gd name="connsiteX51" fmla="*/ 96520 w 372745"/>
                <a:gd name="connsiteY51" fmla="*/ 295910 h 372748"/>
                <a:gd name="connsiteX52" fmla="*/ 88265 w 372745"/>
                <a:gd name="connsiteY52" fmla="*/ 297815 h 372748"/>
                <a:gd name="connsiteX53" fmla="*/ 71120 w 372745"/>
                <a:gd name="connsiteY53" fmla="*/ 297815 h 372748"/>
                <a:gd name="connsiteX54" fmla="*/ 67945 w 372745"/>
                <a:gd name="connsiteY54" fmla="*/ 296545 h 372748"/>
                <a:gd name="connsiteX55" fmla="*/ 37465 w 372745"/>
                <a:gd name="connsiteY55" fmla="*/ 250190 h 372748"/>
                <a:gd name="connsiteX56" fmla="*/ 37465 w 372745"/>
                <a:gd name="connsiteY56" fmla="*/ 248285 h 372748"/>
                <a:gd name="connsiteX57" fmla="*/ 39370 w 372745"/>
                <a:gd name="connsiteY57" fmla="*/ 248285 h 372748"/>
                <a:gd name="connsiteX58" fmla="*/ 84455 w 372745"/>
                <a:gd name="connsiteY58" fmla="*/ 248285 h 372748"/>
                <a:gd name="connsiteX59" fmla="*/ 90805 w 372745"/>
                <a:gd name="connsiteY59" fmla="*/ 249555 h 372748"/>
                <a:gd name="connsiteX60" fmla="*/ 113665 w 372745"/>
                <a:gd name="connsiteY60" fmla="*/ 259715 h 372748"/>
                <a:gd name="connsiteX61" fmla="*/ 118745 w 372745"/>
                <a:gd name="connsiteY61" fmla="*/ 260985 h 372748"/>
                <a:gd name="connsiteX62" fmla="*/ 127635 w 372745"/>
                <a:gd name="connsiteY62" fmla="*/ 260985 h 372748"/>
                <a:gd name="connsiteX63" fmla="*/ 130810 w 372745"/>
                <a:gd name="connsiteY63" fmla="*/ 260985 h 372748"/>
                <a:gd name="connsiteX64" fmla="*/ 129540 w 372745"/>
                <a:gd name="connsiteY64" fmla="*/ 255270 h 37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72745" h="372748">
                  <a:moveTo>
                    <a:pt x="186055" y="372745"/>
                  </a:moveTo>
                  <a:cubicBezTo>
                    <a:pt x="288290" y="373380"/>
                    <a:pt x="372745" y="290195"/>
                    <a:pt x="372745" y="186690"/>
                  </a:cubicBezTo>
                  <a:cubicBezTo>
                    <a:pt x="372745" y="82550"/>
                    <a:pt x="288290" y="0"/>
                    <a:pt x="187325" y="0"/>
                  </a:cubicBezTo>
                  <a:cubicBezTo>
                    <a:pt x="84455" y="0"/>
                    <a:pt x="635" y="83185"/>
                    <a:pt x="0" y="186055"/>
                  </a:cubicBezTo>
                  <a:cubicBezTo>
                    <a:pt x="0" y="288290"/>
                    <a:pt x="82550" y="372110"/>
                    <a:pt x="186055" y="372745"/>
                  </a:cubicBezTo>
                  <a:close/>
                  <a:moveTo>
                    <a:pt x="129540" y="255270"/>
                  </a:moveTo>
                  <a:cubicBezTo>
                    <a:pt x="128270" y="245110"/>
                    <a:pt x="125730" y="234950"/>
                    <a:pt x="121285" y="225425"/>
                  </a:cubicBezTo>
                  <a:cubicBezTo>
                    <a:pt x="114300" y="210185"/>
                    <a:pt x="103505" y="198120"/>
                    <a:pt x="89535" y="189865"/>
                  </a:cubicBezTo>
                  <a:cubicBezTo>
                    <a:pt x="76835" y="180975"/>
                    <a:pt x="62865" y="175895"/>
                    <a:pt x="48260" y="171450"/>
                  </a:cubicBezTo>
                  <a:cubicBezTo>
                    <a:pt x="40640" y="169545"/>
                    <a:pt x="33655" y="167640"/>
                    <a:pt x="26035" y="165735"/>
                  </a:cubicBezTo>
                  <a:cubicBezTo>
                    <a:pt x="26035" y="165100"/>
                    <a:pt x="26035" y="164465"/>
                    <a:pt x="26035" y="163195"/>
                  </a:cubicBezTo>
                  <a:cubicBezTo>
                    <a:pt x="29210" y="143510"/>
                    <a:pt x="35560" y="124460"/>
                    <a:pt x="45720" y="106680"/>
                  </a:cubicBezTo>
                  <a:cubicBezTo>
                    <a:pt x="45720" y="106045"/>
                    <a:pt x="46355" y="105410"/>
                    <a:pt x="46990" y="104775"/>
                  </a:cubicBezTo>
                  <a:cubicBezTo>
                    <a:pt x="49530" y="105410"/>
                    <a:pt x="52705" y="106045"/>
                    <a:pt x="55880" y="106680"/>
                  </a:cubicBezTo>
                  <a:cubicBezTo>
                    <a:pt x="75565" y="112395"/>
                    <a:pt x="94615" y="118110"/>
                    <a:pt x="112395" y="127635"/>
                  </a:cubicBezTo>
                  <a:cubicBezTo>
                    <a:pt x="118110" y="130810"/>
                    <a:pt x="122555" y="133985"/>
                    <a:pt x="127635" y="137160"/>
                  </a:cubicBezTo>
                  <a:cubicBezTo>
                    <a:pt x="130810" y="139065"/>
                    <a:pt x="130810" y="139700"/>
                    <a:pt x="134620" y="137160"/>
                  </a:cubicBezTo>
                  <a:cubicBezTo>
                    <a:pt x="133985" y="135890"/>
                    <a:pt x="133350" y="135255"/>
                    <a:pt x="132080" y="133985"/>
                  </a:cubicBezTo>
                  <a:cubicBezTo>
                    <a:pt x="125095" y="126365"/>
                    <a:pt x="117475" y="120650"/>
                    <a:pt x="109220" y="114300"/>
                  </a:cubicBezTo>
                  <a:cubicBezTo>
                    <a:pt x="94615" y="102870"/>
                    <a:pt x="80010" y="93980"/>
                    <a:pt x="64770" y="85090"/>
                  </a:cubicBezTo>
                  <a:cubicBezTo>
                    <a:pt x="64135" y="84455"/>
                    <a:pt x="62865" y="83820"/>
                    <a:pt x="62230" y="83185"/>
                  </a:cubicBezTo>
                  <a:cubicBezTo>
                    <a:pt x="63500" y="81280"/>
                    <a:pt x="65405" y="79375"/>
                    <a:pt x="66675" y="78105"/>
                  </a:cubicBezTo>
                  <a:cubicBezTo>
                    <a:pt x="78105" y="65405"/>
                    <a:pt x="92075" y="53975"/>
                    <a:pt x="107315" y="45085"/>
                  </a:cubicBezTo>
                  <a:cubicBezTo>
                    <a:pt x="109220" y="43815"/>
                    <a:pt x="110490" y="43815"/>
                    <a:pt x="112395" y="44450"/>
                  </a:cubicBezTo>
                  <a:cubicBezTo>
                    <a:pt x="124460" y="49530"/>
                    <a:pt x="135255" y="56515"/>
                    <a:pt x="145415" y="64770"/>
                  </a:cubicBezTo>
                  <a:cubicBezTo>
                    <a:pt x="159385" y="76200"/>
                    <a:pt x="172720" y="89535"/>
                    <a:pt x="185420" y="102870"/>
                  </a:cubicBezTo>
                  <a:lnTo>
                    <a:pt x="186055" y="103505"/>
                  </a:lnTo>
                  <a:cubicBezTo>
                    <a:pt x="189230" y="106680"/>
                    <a:pt x="189865" y="107315"/>
                    <a:pt x="194310" y="104775"/>
                  </a:cubicBezTo>
                  <a:cubicBezTo>
                    <a:pt x="193675" y="103505"/>
                    <a:pt x="193040" y="102235"/>
                    <a:pt x="192405" y="101600"/>
                  </a:cubicBezTo>
                  <a:cubicBezTo>
                    <a:pt x="185420" y="87630"/>
                    <a:pt x="177165" y="74930"/>
                    <a:pt x="167005" y="63500"/>
                  </a:cubicBezTo>
                  <a:cubicBezTo>
                    <a:pt x="158115" y="52705"/>
                    <a:pt x="147955" y="43180"/>
                    <a:pt x="137160" y="33655"/>
                  </a:cubicBezTo>
                  <a:cubicBezTo>
                    <a:pt x="137160" y="33020"/>
                    <a:pt x="136525" y="33020"/>
                    <a:pt x="135890" y="32385"/>
                  </a:cubicBezTo>
                  <a:lnTo>
                    <a:pt x="135890" y="31750"/>
                  </a:lnTo>
                  <a:cubicBezTo>
                    <a:pt x="140970" y="30480"/>
                    <a:pt x="144780" y="28575"/>
                    <a:pt x="149860" y="27305"/>
                  </a:cubicBezTo>
                  <a:cubicBezTo>
                    <a:pt x="165100" y="24130"/>
                    <a:pt x="180340" y="22860"/>
                    <a:pt x="195580" y="23495"/>
                  </a:cubicBezTo>
                  <a:cubicBezTo>
                    <a:pt x="200025" y="23495"/>
                    <a:pt x="203200" y="24765"/>
                    <a:pt x="205740" y="27305"/>
                  </a:cubicBezTo>
                  <a:cubicBezTo>
                    <a:pt x="226060" y="45085"/>
                    <a:pt x="241935" y="65405"/>
                    <a:pt x="252730" y="90170"/>
                  </a:cubicBezTo>
                  <a:cubicBezTo>
                    <a:pt x="260350" y="105410"/>
                    <a:pt x="264160" y="121920"/>
                    <a:pt x="266700" y="139065"/>
                  </a:cubicBezTo>
                  <a:cubicBezTo>
                    <a:pt x="268605" y="150495"/>
                    <a:pt x="269240" y="161925"/>
                    <a:pt x="268605" y="173355"/>
                  </a:cubicBezTo>
                  <a:cubicBezTo>
                    <a:pt x="267970" y="202565"/>
                    <a:pt x="262255" y="230505"/>
                    <a:pt x="252095" y="257175"/>
                  </a:cubicBezTo>
                  <a:cubicBezTo>
                    <a:pt x="251460" y="257810"/>
                    <a:pt x="251460" y="259080"/>
                    <a:pt x="250825" y="259715"/>
                  </a:cubicBezTo>
                  <a:cubicBezTo>
                    <a:pt x="251460" y="260350"/>
                    <a:pt x="252095" y="260350"/>
                    <a:pt x="252730" y="260350"/>
                  </a:cubicBezTo>
                  <a:cubicBezTo>
                    <a:pt x="257175" y="260350"/>
                    <a:pt x="260985" y="260350"/>
                    <a:pt x="264795" y="260350"/>
                  </a:cubicBezTo>
                  <a:cubicBezTo>
                    <a:pt x="266700" y="260350"/>
                    <a:pt x="267335" y="259715"/>
                    <a:pt x="267970" y="258445"/>
                  </a:cubicBezTo>
                  <a:cubicBezTo>
                    <a:pt x="269240" y="254635"/>
                    <a:pt x="270510" y="251460"/>
                    <a:pt x="271780" y="247650"/>
                  </a:cubicBezTo>
                  <a:cubicBezTo>
                    <a:pt x="290830" y="250190"/>
                    <a:pt x="307340" y="259080"/>
                    <a:pt x="320675" y="272415"/>
                  </a:cubicBezTo>
                  <a:cubicBezTo>
                    <a:pt x="307340" y="286385"/>
                    <a:pt x="290830" y="294640"/>
                    <a:pt x="271780" y="297180"/>
                  </a:cubicBezTo>
                  <a:cubicBezTo>
                    <a:pt x="269875" y="293370"/>
                    <a:pt x="268605" y="288925"/>
                    <a:pt x="266700" y="285115"/>
                  </a:cubicBezTo>
                  <a:lnTo>
                    <a:pt x="263525" y="285115"/>
                  </a:lnTo>
                  <a:cubicBezTo>
                    <a:pt x="215900" y="285115"/>
                    <a:pt x="167005" y="285115"/>
                    <a:pt x="118745" y="285115"/>
                  </a:cubicBezTo>
                  <a:cubicBezTo>
                    <a:pt x="116840" y="285115"/>
                    <a:pt x="114935" y="285750"/>
                    <a:pt x="113665" y="287020"/>
                  </a:cubicBezTo>
                  <a:cubicBezTo>
                    <a:pt x="107315" y="289560"/>
                    <a:pt x="102235" y="292735"/>
                    <a:pt x="96520" y="295910"/>
                  </a:cubicBezTo>
                  <a:cubicBezTo>
                    <a:pt x="93980" y="297180"/>
                    <a:pt x="91440" y="297815"/>
                    <a:pt x="88265" y="297815"/>
                  </a:cubicBezTo>
                  <a:cubicBezTo>
                    <a:pt x="82550" y="297815"/>
                    <a:pt x="77470" y="297815"/>
                    <a:pt x="71120" y="297815"/>
                  </a:cubicBezTo>
                  <a:cubicBezTo>
                    <a:pt x="69850" y="297815"/>
                    <a:pt x="69215" y="297180"/>
                    <a:pt x="67945" y="296545"/>
                  </a:cubicBezTo>
                  <a:cubicBezTo>
                    <a:pt x="55880" y="282575"/>
                    <a:pt x="45085" y="266700"/>
                    <a:pt x="37465" y="250190"/>
                  </a:cubicBezTo>
                  <a:cubicBezTo>
                    <a:pt x="37465" y="249555"/>
                    <a:pt x="37465" y="248920"/>
                    <a:pt x="37465" y="248285"/>
                  </a:cubicBezTo>
                  <a:cubicBezTo>
                    <a:pt x="38100" y="248285"/>
                    <a:pt x="38735" y="248285"/>
                    <a:pt x="39370" y="248285"/>
                  </a:cubicBezTo>
                  <a:cubicBezTo>
                    <a:pt x="54610" y="248285"/>
                    <a:pt x="69850" y="248285"/>
                    <a:pt x="84455" y="248285"/>
                  </a:cubicBezTo>
                  <a:cubicBezTo>
                    <a:pt x="86995" y="248285"/>
                    <a:pt x="88900" y="248920"/>
                    <a:pt x="90805" y="249555"/>
                  </a:cubicBezTo>
                  <a:cubicBezTo>
                    <a:pt x="98425" y="253365"/>
                    <a:pt x="106045" y="256540"/>
                    <a:pt x="113665" y="259715"/>
                  </a:cubicBezTo>
                  <a:cubicBezTo>
                    <a:pt x="115570" y="260985"/>
                    <a:pt x="116840" y="260985"/>
                    <a:pt x="118745" y="260985"/>
                  </a:cubicBezTo>
                  <a:cubicBezTo>
                    <a:pt x="121920" y="260985"/>
                    <a:pt x="124460" y="260985"/>
                    <a:pt x="127635" y="260985"/>
                  </a:cubicBezTo>
                  <a:cubicBezTo>
                    <a:pt x="128270" y="260985"/>
                    <a:pt x="129540" y="260985"/>
                    <a:pt x="130810" y="260985"/>
                  </a:cubicBezTo>
                  <a:cubicBezTo>
                    <a:pt x="130175" y="259715"/>
                    <a:pt x="130175" y="257810"/>
                    <a:pt x="129540" y="255270"/>
                  </a:cubicBezTo>
                  <a:close/>
                </a:path>
              </a:pathLst>
            </a:custGeom>
            <a:noFill/>
            <a:ln w="6350" cap="flat">
              <a:noFill/>
              <a:prstDash val="solid"/>
              <a:miter/>
            </a:ln>
          </p:spPr>
          <p:txBody>
            <a:bodyPr rtlCol="0" anchor="ctr"/>
            <a:lstStyle/>
            <a:p>
              <a:endParaRPr lang="en-GB"/>
            </a:p>
          </p:txBody>
        </p:sp>
        <p:sp>
          <p:nvSpPr>
            <p:cNvPr id="911" name="Freeform 910"/>
            <p:cNvSpPr/>
            <p:nvPr/>
          </p:nvSpPr>
          <p:spPr>
            <a:xfrm>
              <a:off x="6088379" y="2151379"/>
              <a:ext cx="40004" cy="40005"/>
            </a:xfrm>
            <a:custGeom>
              <a:avLst/>
              <a:gdLst>
                <a:gd name="connsiteX0" fmla="*/ 20320 w 40004"/>
                <a:gd name="connsiteY0" fmla="*/ 40005 h 40005"/>
                <a:gd name="connsiteX1" fmla="*/ 40005 w 40004"/>
                <a:gd name="connsiteY1" fmla="*/ 19685 h 40005"/>
                <a:gd name="connsiteX2" fmla="*/ 20320 w 40004"/>
                <a:gd name="connsiteY2" fmla="*/ 0 h 40005"/>
                <a:gd name="connsiteX3" fmla="*/ 0 w 40004"/>
                <a:gd name="connsiteY3" fmla="*/ 19685 h 40005"/>
                <a:gd name="connsiteX4" fmla="*/ 20320 w 40004"/>
                <a:gd name="connsiteY4" fmla="*/ 40005 h 4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4" h="40005">
                  <a:moveTo>
                    <a:pt x="20320" y="40005"/>
                  </a:moveTo>
                  <a:cubicBezTo>
                    <a:pt x="31115" y="40005"/>
                    <a:pt x="40005" y="30480"/>
                    <a:pt x="40005" y="19685"/>
                  </a:cubicBezTo>
                  <a:cubicBezTo>
                    <a:pt x="40005" y="8255"/>
                    <a:pt x="31115" y="0"/>
                    <a:pt x="20320" y="0"/>
                  </a:cubicBezTo>
                  <a:cubicBezTo>
                    <a:pt x="9525" y="0"/>
                    <a:pt x="0" y="8890"/>
                    <a:pt x="0" y="19685"/>
                  </a:cubicBezTo>
                  <a:cubicBezTo>
                    <a:pt x="635" y="30480"/>
                    <a:pt x="9525" y="40005"/>
                    <a:pt x="20320" y="40005"/>
                  </a:cubicBezTo>
                  <a:close/>
                </a:path>
              </a:pathLst>
            </a:custGeom>
            <a:noFill/>
            <a:ln w="6350" cap="flat">
              <a:noFill/>
              <a:prstDash val="solid"/>
              <a:miter/>
            </a:ln>
          </p:spPr>
          <p:txBody>
            <a:bodyPr rtlCol="0" anchor="ctr"/>
            <a:lstStyle/>
            <a:p>
              <a:endParaRPr lang="en-GB"/>
            </a:p>
          </p:txBody>
        </p:sp>
        <p:grpSp>
          <p:nvGrpSpPr>
            <p:cNvPr id="912" name="Graphic 79"/>
            <p:cNvGrpSpPr/>
            <p:nvPr/>
          </p:nvGrpSpPr>
          <p:grpSpPr>
            <a:xfrm>
              <a:off x="5645150" y="1931035"/>
              <a:ext cx="901700" cy="622082"/>
              <a:chOff x="5645150" y="1931035"/>
              <a:chExt cx="901700" cy="622082"/>
            </a:xfrm>
            <a:solidFill>
              <a:srgbClr val="002733"/>
            </a:solidFill>
          </p:grpSpPr>
          <p:sp>
            <p:nvSpPr>
              <p:cNvPr id="913" name="Freeform 912"/>
              <p:cNvSpPr/>
              <p:nvPr/>
            </p:nvSpPr>
            <p:spPr>
              <a:xfrm>
                <a:off x="5877559" y="1931035"/>
                <a:ext cx="407035" cy="406400"/>
              </a:xfrm>
              <a:custGeom>
                <a:avLst/>
                <a:gdLst>
                  <a:gd name="connsiteX0" fmla="*/ 203200 w 407035"/>
                  <a:gd name="connsiteY0" fmla="*/ 406400 h 406400"/>
                  <a:gd name="connsiteX1" fmla="*/ 407035 w 407035"/>
                  <a:gd name="connsiteY1" fmla="*/ 203200 h 406400"/>
                  <a:gd name="connsiteX2" fmla="*/ 203835 w 407035"/>
                  <a:gd name="connsiteY2" fmla="*/ 0 h 406400"/>
                  <a:gd name="connsiteX3" fmla="*/ 0 w 407035"/>
                  <a:gd name="connsiteY3" fmla="*/ 203200 h 406400"/>
                  <a:gd name="connsiteX4" fmla="*/ 203200 w 407035"/>
                  <a:gd name="connsiteY4" fmla="*/ 406400 h 406400"/>
                  <a:gd name="connsiteX5" fmla="*/ 204470 w 407035"/>
                  <a:gd name="connsiteY5" fmla="*/ 16510 h 406400"/>
                  <a:gd name="connsiteX6" fmla="*/ 389890 w 407035"/>
                  <a:gd name="connsiteY6" fmla="*/ 203200 h 406400"/>
                  <a:gd name="connsiteX7" fmla="*/ 203200 w 407035"/>
                  <a:gd name="connsiteY7" fmla="*/ 389255 h 406400"/>
                  <a:gd name="connsiteX8" fmla="*/ 17145 w 407035"/>
                  <a:gd name="connsiteY8" fmla="*/ 202565 h 406400"/>
                  <a:gd name="connsiteX9" fmla="*/ 204470 w 407035"/>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5"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002733"/>
              </a:solidFill>
              <a:ln w="6350" cap="flat">
                <a:noFill/>
                <a:prstDash val="solid"/>
                <a:miter/>
              </a:ln>
            </p:spPr>
            <p:txBody>
              <a:bodyPr rtlCol="0" anchor="ctr"/>
              <a:lstStyle/>
              <a:p>
                <a:endParaRPr lang="en-GB"/>
              </a:p>
            </p:txBody>
          </p:sp>
          <p:sp>
            <p:nvSpPr>
              <p:cNvPr id="914" name="Freeform 913"/>
              <p:cNvSpPr/>
              <p:nvPr/>
            </p:nvSpPr>
            <p:spPr>
              <a:xfrm>
                <a:off x="5829934"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002733"/>
              </a:solidFill>
              <a:ln w="6350" cap="flat">
                <a:noFill/>
                <a:prstDash val="solid"/>
                <a:miter/>
              </a:ln>
            </p:spPr>
            <p:txBody>
              <a:bodyPr rtlCol="0" anchor="ctr"/>
              <a:lstStyle/>
              <a:p>
                <a:endParaRPr lang="en-GB"/>
              </a:p>
            </p:txBody>
          </p:sp>
          <p:sp>
            <p:nvSpPr>
              <p:cNvPr id="915" name="Freeform 914"/>
              <p:cNvSpPr/>
              <p:nvPr/>
            </p:nvSpPr>
            <p:spPr>
              <a:xfrm>
                <a:off x="56451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002733"/>
              </a:solidFill>
              <a:ln w="6350" cap="flat">
                <a:noFill/>
                <a:prstDash val="solid"/>
                <a:miter/>
              </a:ln>
            </p:spPr>
            <p:txBody>
              <a:bodyPr rtlCol="0" anchor="ctr"/>
              <a:lstStyle/>
              <a:p>
                <a:endParaRPr lang="en-GB"/>
              </a:p>
            </p:txBody>
          </p:sp>
          <p:sp>
            <p:nvSpPr>
              <p:cNvPr id="916" name="Freeform 915"/>
              <p:cNvSpPr/>
              <p:nvPr/>
            </p:nvSpPr>
            <p:spPr>
              <a:xfrm>
                <a:off x="5690234"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002733"/>
              </a:solidFill>
              <a:ln w="6350" cap="flat">
                <a:noFill/>
                <a:prstDash val="solid"/>
                <a:miter/>
              </a:ln>
            </p:spPr>
            <p:txBody>
              <a:bodyPr rtlCol="0" anchor="ctr"/>
              <a:lstStyle/>
              <a:p>
                <a:endParaRPr lang="en-GB"/>
              </a:p>
            </p:txBody>
          </p:sp>
          <p:sp>
            <p:nvSpPr>
              <p:cNvPr id="917" name="Freeform 916"/>
              <p:cNvSpPr/>
              <p:nvPr/>
            </p:nvSpPr>
            <p:spPr>
              <a:xfrm>
                <a:off x="6196329" y="2425700"/>
                <a:ext cx="153670" cy="126364"/>
              </a:xfrm>
              <a:custGeom>
                <a:avLst/>
                <a:gdLst>
                  <a:gd name="connsiteX0" fmla="*/ 108585 w 153670"/>
                  <a:gd name="connsiteY0" fmla="*/ 0 h 126364"/>
                  <a:gd name="connsiteX1" fmla="*/ 94615 w 153670"/>
                  <a:gd name="connsiteY1" fmla="*/ 0 h 126364"/>
                  <a:gd name="connsiteX2" fmla="*/ 3810 w 153670"/>
                  <a:gd name="connsiteY2" fmla="*/ 0 h 126364"/>
                  <a:gd name="connsiteX3" fmla="*/ 0 w 153670"/>
                  <a:gd name="connsiteY3" fmla="*/ 0 h 126364"/>
                  <a:gd name="connsiteX4" fmla="*/ 0 w 153670"/>
                  <a:gd name="connsiteY4" fmla="*/ 126365 h 126364"/>
                  <a:gd name="connsiteX5" fmla="*/ 3175 w 153670"/>
                  <a:gd name="connsiteY5" fmla="*/ 126365 h 126364"/>
                  <a:gd name="connsiteX6" fmla="*/ 109220 w 153670"/>
                  <a:gd name="connsiteY6" fmla="*/ 126365 h 126364"/>
                  <a:gd name="connsiteX7" fmla="*/ 118110 w 153670"/>
                  <a:gd name="connsiteY7" fmla="*/ 125730 h 126364"/>
                  <a:gd name="connsiteX8" fmla="*/ 153670 w 153670"/>
                  <a:gd name="connsiteY8" fmla="*/ 81915 h 126364"/>
                  <a:gd name="connsiteX9" fmla="*/ 153670 w 153670"/>
                  <a:gd name="connsiteY9" fmla="*/ 45085 h 126364"/>
                  <a:gd name="connsiteX10" fmla="*/ 140970 w 153670"/>
                  <a:gd name="connsiteY10" fmla="*/ 13335 h 126364"/>
                  <a:gd name="connsiteX11" fmla="*/ 108585 w 153670"/>
                  <a:gd name="connsiteY11" fmla="*/ 0 h 126364"/>
                  <a:gd name="connsiteX12" fmla="*/ 123825 w 153670"/>
                  <a:gd name="connsiteY12" fmla="*/ 83820 h 126364"/>
                  <a:gd name="connsiteX13" fmla="*/ 109220 w 153670"/>
                  <a:gd name="connsiteY13" fmla="*/ 98425 h 126364"/>
                  <a:gd name="connsiteX14" fmla="*/ 32385 w 153670"/>
                  <a:gd name="connsiteY14" fmla="*/ 98425 h 126364"/>
                  <a:gd name="connsiteX15" fmla="*/ 29845 w 153670"/>
                  <a:gd name="connsiteY15" fmla="*/ 97790 h 126364"/>
                  <a:gd name="connsiteX16" fmla="*/ 29845 w 153670"/>
                  <a:gd name="connsiteY16" fmla="*/ 28575 h 126364"/>
                  <a:gd name="connsiteX17" fmla="*/ 31750 w 153670"/>
                  <a:gd name="connsiteY17" fmla="*/ 28575 h 126364"/>
                  <a:gd name="connsiteX18" fmla="*/ 109220 w 153670"/>
                  <a:gd name="connsiteY18" fmla="*/ 28575 h 126364"/>
                  <a:gd name="connsiteX19" fmla="*/ 123825 w 153670"/>
                  <a:gd name="connsiteY19" fmla="*/ 42545 h 126364"/>
                  <a:gd name="connsiteX20" fmla="*/ 123825 w 153670"/>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70" h="126364">
                    <a:moveTo>
                      <a:pt x="108585" y="0"/>
                    </a:moveTo>
                    <a:cubicBezTo>
                      <a:pt x="103505" y="0"/>
                      <a:pt x="99695" y="0"/>
                      <a:pt x="94615" y="0"/>
                    </a:cubicBezTo>
                    <a:lnTo>
                      <a:pt x="3810" y="0"/>
                    </a:lnTo>
                    <a:cubicBezTo>
                      <a:pt x="2540"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5" y="120650"/>
                      <a:pt x="153035" y="103505"/>
                      <a:pt x="153670" y="81915"/>
                    </a:cubicBezTo>
                    <a:cubicBezTo>
                      <a:pt x="153670" y="69215"/>
                      <a:pt x="153670" y="57785"/>
                      <a:pt x="153670" y="45085"/>
                    </a:cubicBezTo>
                    <a:cubicBezTo>
                      <a:pt x="153670" y="33020"/>
                      <a:pt x="149225" y="22225"/>
                      <a:pt x="140970" y="13335"/>
                    </a:cubicBezTo>
                    <a:cubicBezTo>
                      <a:pt x="132715"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5" y="98425"/>
                      <a:pt x="29845" y="97790"/>
                    </a:cubicBezTo>
                    <a:lnTo>
                      <a:pt x="29845" y="28575"/>
                    </a:lnTo>
                    <a:cubicBezTo>
                      <a:pt x="30480" y="28575"/>
                      <a:pt x="31115"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002733"/>
              </a:solidFill>
              <a:ln w="6350" cap="flat">
                <a:noFill/>
                <a:prstDash val="solid"/>
                <a:miter/>
              </a:ln>
            </p:spPr>
            <p:txBody>
              <a:bodyPr rtlCol="0" anchor="ctr"/>
              <a:lstStyle/>
              <a:p>
                <a:endParaRPr lang="en-GB"/>
              </a:p>
            </p:txBody>
          </p:sp>
          <p:sp>
            <p:nvSpPr>
              <p:cNvPr id="918" name="Freeform 917"/>
              <p:cNvSpPr/>
              <p:nvPr/>
            </p:nvSpPr>
            <p:spPr>
              <a:xfrm>
                <a:off x="6001384" y="2425700"/>
                <a:ext cx="159385" cy="126012"/>
              </a:xfrm>
              <a:custGeom>
                <a:avLst/>
                <a:gdLst>
                  <a:gd name="connsiteX0" fmla="*/ 113665 w 159385"/>
                  <a:gd name="connsiteY0" fmla="*/ 0 h 126012"/>
                  <a:gd name="connsiteX1" fmla="*/ 45720 w 159385"/>
                  <a:gd name="connsiteY1" fmla="*/ 0 h 126012"/>
                  <a:gd name="connsiteX2" fmla="*/ 37465 w 159385"/>
                  <a:gd name="connsiteY2" fmla="*/ 635 h 126012"/>
                  <a:gd name="connsiteX3" fmla="*/ 0 w 159385"/>
                  <a:gd name="connsiteY3" fmla="*/ 45085 h 126012"/>
                  <a:gd name="connsiteX4" fmla="*/ 0 w 159385"/>
                  <a:gd name="connsiteY4" fmla="*/ 81280 h 126012"/>
                  <a:gd name="connsiteX5" fmla="*/ 8255 w 159385"/>
                  <a:gd name="connsiteY5" fmla="*/ 107950 h 126012"/>
                  <a:gd name="connsiteX6" fmla="*/ 43180 w 159385"/>
                  <a:gd name="connsiteY6" fmla="*/ 125730 h 126012"/>
                  <a:gd name="connsiteX7" fmla="*/ 79375 w 159385"/>
                  <a:gd name="connsiteY7" fmla="*/ 125730 h 126012"/>
                  <a:gd name="connsiteX8" fmla="*/ 113665 w 159385"/>
                  <a:gd name="connsiteY8" fmla="*/ 125730 h 126012"/>
                  <a:gd name="connsiteX9" fmla="*/ 122555 w 159385"/>
                  <a:gd name="connsiteY9" fmla="*/ 125095 h 126012"/>
                  <a:gd name="connsiteX10" fmla="*/ 159385 w 159385"/>
                  <a:gd name="connsiteY10" fmla="*/ 81915 h 126012"/>
                  <a:gd name="connsiteX11" fmla="*/ 159385 w 159385"/>
                  <a:gd name="connsiteY11" fmla="*/ 44450 h 126012"/>
                  <a:gd name="connsiteX12" fmla="*/ 152400 w 159385"/>
                  <a:gd name="connsiteY12" fmla="*/ 20320 h 126012"/>
                  <a:gd name="connsiteX13" fmla="*/ 113665 w 159385"/>
                  <a:gd name="connsiteY13" fmla="*/ 0 h 126012"/>
                  <a:gd name="connsiteX14" fmla="*/ 129540 w 159385"/>
                  <a:gd name="connsiteY14" fmla="*/ 83820 h 126012"/>
                  <a:gd name="connsiteX15" fmla="*/ 115570 w 159385"/>
                  <a:gd name="connsiteY15" fmla="*/ 97790 h 126012"/>
                  <a:gd name="connsiteX16" fmla="*/ 99060 w 159385"/>
                  <a:gd name="connsiteY16" fmla="*/ 97790 h 126012"/>
                  <a:gd name="connsiteX17" fmla="*/ 80010 w 159385"/>
                  <a:gd name="connsiteY17" fmla="*/ 97790 h 126012"/>
                  <a:gd name="connsiteX18" fmla="*/ 44450 w 159385"/>
                  <a:gd name="connsiteY18" fmla="*/ 97790 h 126012"/>
                  <a:gd name="connsiteX19" fmla="*/ 30480 w 159385"/>
                  <a:gd name="connsiteY19" fmla="*/ 86995 h 126012"/>
                  <a:gd name="connsiteX20" fmla="*/ 29845 w 159385"/>
                  <a:gd name="connsiteY20" fmla="*/ 81280 h 126012"/>
                  <a:gd name="connsiteX21" fmla="*/ 29845 w 159385"/>
                  <a:gd name="connsiteY21" fmla="*/ 43180 h 126012"/>
                  <a:gd name="connsiteX22" fmla="*/ 31115 w 159385"/>
                  <a:gd name="connsiteY22" fmla="*/ 36195 h 126012"/>
                  <a:gd name="connsiteX23" fmla="*/ 43815 w 159385"/>
                  <a:gd name="connsiteY23" fmla="*/ 27305 h 126012"/>
                  <a:gd name="connsiteX24" fmla="*/ 45085 w 159385"/>
                  <a:gd name="connsiteY24" fmla="*/ 27305 h 126012"/>
                  <a:gd name="connsiteX25" fmla="*/ 114300 w 159385"/>
                  <a:gd name="connsiteY25" fmla="*/ 27305 h 126012"/>
                  <a:gd name="connsiteX26" fmla="*/ 121285 w 159385"/>
                  <a:gd name="connsiteY26" fmla="*/ 28575 h 126012"/>
                  <a:gd name="connsiteX27" fmla="*/ 129540 w 159385"/>
                  <a:gd name="connsiteY27" fmla="*/ 41275 h 126012"/>
                  <a:gd name="connsiteX28" fmla="*/ 129540 w 159385"/>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5"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002733"/>
              </a:solidFill>
              <a:ln w="6350" cap="flat">
                <a:noFill/>
                <a:prstDash val="solid"/>
                <a:miter/>
              </a:ln>
            </p:spPr>
            <p:txBody>
              <a:bodyPr rtlCol="0" anchor="ctr"/>
              <a:lstStyle/>
              <a:p>
                <a:endParaRPr lang="en-GB"/>
              </a:p>
            </p:txBody>
          </p:sp>
          <p:sp>
            <p:nvSpPr>
              <p:cNvPr id="919" name="Freeform 918"/>
              <p:cNvSpPr/>
              <p:nvPr/>
            </p:nvSpPr>
            <p:spPr>
              <a:xfrm>
                <a:off x="6363970" y="2425700"/>
                <a:ext cx="182879" cy="125895"/>
              </a:xfrm>
              <a:custGeom>
                <a:avLst/>
                <a:gdLst>
                  <a:gd name="connsiteX0" fmla="*/ 180340 w 182879"/>
                  <a:gd name="connsiteY0" fmla="*/ 123190 h 125895"/>
                  <a:gd name="connsiteX1" fmla="*/ 113030 w 182879"/>
                  <a:gd name="connsiteY1" fmla="*/ 2540 h 125895"/>
                  <a:gd name="connsiteX2" fmla="*/ 109220 w 182879"/>
                  <a:gd name="connsiteY2" fmla="*/ 0 h 125895"/>
                  <a:gd name="connsiteX3" fmla="*/ 73025 w 182879"/>
                  <a:gd name="connsiteY3" fmla="*/ 0 h 125895"/>
                  <a:gd name="connsiteX4" fmla="*/ 68580 w 182879"/>
                  <a:gd name="connsiteY4" fmla="*/ 2540 h 125895"/>
                  <a:gd name="connsiteX5" fmla="*/ 1270 w 182879"/>
                  <a:gd name="connsiteY5" fmla="*/ 123190 h 125895"/>
                  <a:gd name="connsiteX6" fmla="*/ 0 w 182879"/>
                  <a:gd name="connsiteY6" fmla="*/ 125730 h 125895"/>
                  <a:gd name="connsiteX7" fmla="*/ 3175 w 182879"/>
                  <a:gd name="connsiteY7" fmla="*/ 125730 h 125895"/>
                  <a:gd name="connsiteX8" fmla="*/ 30480 w 182879"/>
                  <a:gd name="connsiteY8" fmla="*/ 125730 h 125895"/>
                  <a:gd name="connsiteX9" fmla="*/ 34925 w 182879"/>
                  <a:gd name="connsiteY9" fmla="*/ 123190 h 125895"/>
                  <a:gd name="connsiteX10" fmla="*/ 58420 w 182879"/>
                  <a:gd name="connsiteY10" fmla="*/ 81280 h 125895"/>
                  <a:gd name="connsiteX11" fmla="*/ 60325 w 182879"/>
                  <a:gd name="connsiteY11" fmla="*/ 78740 h 125895"/>
                  <a:gd name="connsiteX12" fmla="*/ 62230 w 182879"/>
                  <a:gd name="connsiteY12" fmla="*/ 81280 h 125895"/>
                  <a:gd name="connsiteX13" fmla="*/ 74930 w 182879"/>
                  <a:gd name="connsiteY13" fmla="*/ 101600 h 125895"/>
                  <a:gd name="connsiteX14" fmla="*/ 78105 w 182879"/>
                  <a:gd name="connsiteY14" fmla="*/ 103505 h 125895"/>
                  <a:gd name="connsiteX15" fmla="*/ 80010 w 182879"/>
                  <a:gd name="connsiteY15" fmla="*/ 103505 h 125895"/>
                  <a:gd name="connsiteX16" fmla="*/ 132080 w 182879"/>
                  <a:gd name="connsiteY16" fmla="*/ 102870 h 125895"/>
                  <a:gd name="connsiteX17" fmla="*/ 137795 w 182879"/>
                  <a:gd name="connsiteY17" fmla="*/ 106680 h 125895"/>
                  <a:gd name="connsiteX18" fmla="*/ 146685 w 182879"/>
                  <a:gd name="connsiteY18" fmla="*/ 121920 h 125895"/>
                  <a:gd name="connsiteX19" fmla="*/ 149225 w 182879"/>
                  <a:gd name="connsiteY19" fmla="*/ 125730 h 125895"/>
                  <a:gd name="connsiteX20" fmla="*/ 182880 w 182879"/>
                  <a:gd name="connsiteY20" fmla="*/ 125730 h 125895"/>
                  <a:gd name="connsiteX21" fmla="*/ 180340 w 182879"/>
                  <a:gd name="connsiteY21" fmla="*/ 123190 h 125895"/>
                  <a:gd name="connsiteX22" fmla="*/ 60325 w 182879"/>
                  <a:gd name="connsiteY22" fmla="*/ 76835 h 125895"/>
                  <a:gd name="connsiteX23" fmla="*/ 90170 w 182879"/>
                  <a:gd name="connsiteY23" fmla="*/ 22860 h 125895"/>
                  <a:gd name="connsiteX24" fmla="*/ 120015 w 182879"/>
                  <a:gd name="connsiteY24" fmla="*/ 76835 h 125895"/>
                  <a:gd name="connsiteX25" fmla="*/ 60325 w 182879"/>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79" h="125895">
                    <a:moveTo>
                      <a:pt x="180340" y="123190"/>
                    </a:moveTo>
                    <a:cubicBezTo>
                      <a:pt x="157480" y="83185"/>
                      <a:pt x="135255" y="42545"/>
                      <a:pt x="113030" y="2540"/>
                    </a:cubicBezTo>
                    <a:cubicBezTo>
                      <a:pt x="111760" y="635"/>
                      <a:pt x="111125" y="0"/>
                      <a:pt x="109220" y="0"/>
                    </a:cubicBezTo>
                    <a:cubicBezTo>
                      <a:pt x="97155" y="0"/>
                      <a:pt x="84455" y="0"/>
                      <a:pt x="73025" y="0"/>
                    </a:cubicBezTo>
                    <a:cubicBezTo>
                      <a:pt x="70485" y="0"/>
                      <a:pt x="69850" y="635"/>
                      <a:pt x="68580" y="2540"/>
                    </a:cubicBezTo>
                    <a:cubicBezTo>
                      <a:pt x="45720" y="43180"/>
                      <a:pt x="24130" y="83185"/>
                      <a:pt x="1270" y="123190"/>
                    </a:cubicBezTo>
                    <a:cubicBezTo>
                      <a:pt x="635" y="123825"/>
                      <a:pt x="635"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0" y="80010"/>
                      <a:pt x="61595" y="80645"/>
                      <a:pt x="62230" y="81280"/>
                    </a:cubicBezTo>
                    <a:cubicBezTo>
                      <a:pt x="66675" y="88265"/>
                      <a:pt x="71120" y="94615"/>
                      <a:pt x="74930" y="101600"/>
                    </a:cubicBezTo>
                    <a:cubicBezTo>
                      <a:pt x="75565" y="102870"/>
                      <a:pt x="76200" y="103505"/>
                      <a:pt x="78105" y="103505"/>
                    </a:cubicBezTo>
                    <a:cubicBezTo>
                      <a:pt x="78740" y="102870"/>
                      <a:pt x="79375" y="103505"/>
                      <a:pt x="80010" y="103505"/>
                    </a:cubicBezTo>
                    <a:cubicBezTo>
                      <a:pt x="97155" y="103505"/>
                      <a:pt x="114935" y="103505"/>
                      <a:pt x="132080" y="102870"/>
                    </a:cubicBezTo>
                    <a:cubicBezTo>
                      <a:pt x="135255" y="102870"/>
                      <a:pt x="136525" y="104140"/>
                      <a:pt x="137795" y="106680"/>
                    </a:cubicBezTo>
                    <a:cubicBezTo>
                      <a:pt x="140970" y="111760"/>
                      <a:pt x="143510" y="117475"/>
                      <a:pt x="146685"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5" y="59055"/>
                      <a:pt x="80645" y="41275"/>
                      <a:pt x="90170" y="22860"/>
                    </a:cubicBezTo>
                    <a:cubicBezTo>
                      <a:pt x="100330" y="40640"/>
                      <a:pt x="110490" y="58420"/>
                      <a:pt x="120015" y="76835"/>
                    </a:cubicBezTo>
                    <a:cubicBezTo>
                      <a:pt x="118110" y="77470"/>
                      <a:pt x="65405" y="77470"/>
                      <a:pt x="60325" y="76835"/>
                    </a:cubicBezTo>
                    <a:close/>
                  </a:path>
                </a:pathLst>
              </a:custGeom>
              <a:solidFill>
                <a:srgbClr val="002733"/>
              </a:solidFill>
              <a:ln w="6350" cap="flat">
                <a:noFill/>
                <a:prstDash val="solid"/>
                <a:miter/>
              </a:ln>
            </p:spPr>
            <p:txBody>
              <a:bodyPr rtlCol="0" anchor="ctr"/>
              <a:lstStyle/>
              <a:p>
                <a:endParaRPr lang="en-GB"/>
              </a:p>
            </p:txBody>
          </p:sp>
          <p:sp>
            <p:nvSpPr>
              <p:cNvPr id="920" name="Freeform 919"/>
              <p:cNvSpPr/>
              <p:nvPr/>
            </p:nvSpPr>
            <p:spPr>
              <a:xfrm>
                <a:off x="592137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002733"/>
              </a:solidFill>
              <a:ln w="6350" cap="flat">
                <a:noFill/>
                <a:prstDash val="solid"/>
                <a:miter/>
              </a:ln>
            </p:spPr>
            <p:txBody>
              <a:bodyPr rtlCol="0" anchor="ctr"/>
              <a:lstStyle/>
              <a:p>
                <a:endParaRPr lang="en-GB"/>
              </a:p>
            </p:txBody>
          </p:sp>
        </p:grpSp>
      </p:grpSp>
      <p:sp>
        <p:nvSpPr>
          <p:cNvPr id="930" name="Freeform 929"/>
          <p:cNvSpPr/>
          <p:nvPr/>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002733"/>
          </a:solidFill>
          <a:ln w="6350" cap="flat">
            <a:noFill/>
            <a:prstDash val="solid"/>
            <a:miter/>
          </a:ln>
        </p:spPr>
        <p:txBody>
          <a:bodyPr rtlCol="0" anchor="ctr"/>
          <a:lstStyle/>
          <a:p>
            <a:endParaRPr lang="en-GB"/>
          </a:p>
        </p:txBody>
      </p:sp>
      <p:grpSp>
        <p:nvGrpSpPr>
          <p:cNvPr id="932" name="Graphic 79"/>
          <p:cNvGrpSpPr/>
          <p:nvPr/>
        </p:nvGrpSpPr>
        <p:grpSpPr>
          <a:xfrm>
            <a:off x="3714750" y="1647825"/>
            <a:ext cx="1587500" cy="1187450"/>
            <a:chOff x="3714750" y="1647825"/>
            <a:chExt cx="1587500" cy="1187450"/>
          </a:xfrm>
        </p:grpSpPr>
        <p:sp>
          <p:nvSpPr>
            <p:cNvPr id="933" name="Freeform 932"/>
            <p:cNvSpPr/>
            <p:nvPr/>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934" name="Graphic 79"/>
            <p:cNvGrpSpPr/>
            <p:nvPr/>
          </p:nvGrpSpPr>
          <p:grpSpPr>
            <a:xfrm>
              <a:off x="4093209" y="1875154"/>
              <a:ext cx="830580" cy="732790"/>
              <a:chOff x="4093209" y="1875154"/>
              <a:chExt cx="830580" cy="732790"/>
            </a:xfrm>
            <a:solidFill>
              <a:srgbClr val="002733"/>
            </a:solidFill>
          </p:grpSpPr>
          <p:sp>
            <p:nvSpPr>
              <p:cNvPr id="935" name="Freeform 934"/>
              <p:cNvSpPr/>
              <p:nvPr/>
            </p:nvSpPr>
            <p:spPr>
              <a:xfrm>
                <a:off x="4093209"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002733"/>
              </a:solidFill>
              <a:ln w="6350" cap="flat">
                <a:noFill/>
                <a:prstDash val="solid"/>
                <a:miter/>
              </a:ln>
            </p:spPr>
            <p:txBody>
              <a:bodyPr rtlCol="0" anchor="ctr"/>
              <a:lstStyle/>
              <a:p>
                <a:endParaRPr lang="en-GB"/>
              </a:p>
            </p:txBody>
          </p:sp>
          <p:sp>
            <p:nvSpPr>
              <p:cNvPr id="936" name="Freeform 935"/>
              <p:cNvSpPr/>
              <p:nvPr/>
            </p:nvSpPr>
            <p:spPr>
              <a:xfrm>
                <a:off x="4182109"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37" name="Freeform 936"/>
              <p:cNvSpPr/>
              <p:nvPr/>
            </p:nvSpPr>
            <p:spPr>
              <a:xfrm>
                <a:off x="4249420" y="2508885"/>
                <a:ext cx="45084" cy="74929"/>
              </a:xfrm>
              <a:custGeom>
                <a:avLst/>
                <a:gdLst>
                  <a:gd name="connsiteX0" fmla="*/ 27305 w 45084"/>
                  <a:gd name="connsiteY0" fmla="*/ 0 h 74929"/>
                  <a:gd name="connsiteX1" fmla="*/ 10795 w 45084"/>
                  <a:gd name="connsiteY1" fmla="*/ 0 h 74929"/>
                  <a:gd name="connsiteX2" fmla="*/ 10795 w 45084"/>
                  <a:gd name="connsiteY2" fmla="*/ 13970 h 74929"/>
                  <a:gd name="connsiteX3" fmla="*/ 0 w 45084"/>
                  <a:gd name="connsiteY3" fmla="*/ 17780 h 74929"/>
                  <a:gd name="connsiteX4" fmla="*/ 0 w 45084"/>
                  <a:gd name="connsiteY4" fmla="*/ 26670 h 74929"/>
                  <a:gd name="connsiteX5" fmla="*/ 10795 w 45084"/>
                  <a:gd name="connsiteY5" fmla="*/ 26670 h 74929"/>
                  <a:gd name="connsiteX6" fmla="*/ 10795 w 45084"/>
                  <a:gd name="connsiteY6" fmla="*/ 57785 h 74929"/>
                  <a:gd name="connsiteX7" fmla="*/ 30480 w 45084"/>
                  <a:gd name="connsiteY7" fmla="*/ 74930 h 74929"/>
                  <a:gd name="connsiteX8" fmla="*/ 44450 w 45084"/>
                  <a:gd name="connsiteY8" fmla="*/ 73025 h 74929"/>
                  <a:gd name="connsiteX9" fmla="*/ 44450 w 45084"/>
                  <a:gd name="connsiteY9" fmla="*/ 59690 h 74929"/>
                  <a:gd name="connsiteX10" fmla="*/ 34925 w 45084"/>
                  <a:gd name="connsiteY10" fmla="*/ 61595 h 74929"/>
                  <a:gd name="connsiteX11" fmla="*/ 27940 w 45084"/>
                  <a:gd name="connsiteY11" fmla="*/ 54610 h 74929"/>
                  <a:gd name="connsiteX12" fmla="*/ 27940 w 45084"/>
                  <a:gd name="connsiteY12" fmla="*/ 26670 h 74929"/>
                  <a:gd name="connsiteX13" fmla="*/ 45085 w 45084"/>
                  <a:gd name="connsiteY13" fmla="*/ 26670 h 74929"/>
                  <a:gd name="connsiteX14" fmla="*/ 45085 w 45084"/>
                  <a:gd name="connsiteY14" fmla="*/ 13970 h 74929"/>
                  <a:gd name="connsiteX15" fmla="*/ 27940 w 45084"/>
                  <a:gd name="connsiteY15" fmla="*/ 13970 h 74929"/>
                  <a:gd name="connsiteX16" fmla="*/ 27940 w 45084"/>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4"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0" y="73660"/>
                      <a:pt x="44450" y="73025"/>
                    </a:cubicBezTo>
                    <a:lnTo>
                      <a:pt x="44450" y="59690"/>
                    </a:lnTo>
                    <a:cubicBezTo>
                      <a:pt x="41910" y="60325"/>
                      <a:pt x="37465" y="61595"/>
                      <a:pt x="34925" y="61595"/>
                    </a:cubicBezTo>
                    <a:cubicBezTo>
                      <a:pt x="29845" y="61595"/>
                      <a:pt x="27940" y="59055"/>
                      <a:pt x="27940" y="54610"/>
                    </a:cubicBezTo>
                    <a:lnTo>
                      <a:pt x="27940" y="26670"/>
                    </a:lnTo>
                    <a:lnTo>
                      <a:pt x="45085" y="26670"/>
                    </a:lnTo>
                    <a:lnTo>
                      <a:pt x="45085" y="13970"/>
                    </a:lnTo>
                    <a:lnTo>
                      <a:pt x="27940" y="13970"/>
                    </a:lnTo>
                    <a:lnTo>
                      <a:pt x="27940" y="0"/>
                    </a:lnTo>
                    <a:close/>
                  </a:path>
                </a:pathLst>
              </a:custGeom>
              <a:solidFill>
                <a:srgbClr val="002733"/>
              </a:solidFill>
              <a:ln w="6350" cap="flat">
                <a:noFill/>
                <a:prstDash val="solid"/>
                <a:miter/>
              </a:ln>
            </p:spPr>
            <p:txBody>
              <a:bodyPr rtlCol="0" anchor="ctr"/>
              <a:lstStyle/>
              <a:p>
                <a:endParaRPr lang="en-GB"/>
              </a:p>
            </p:txBody>
          </p:sp>
          <p:sp>
            <p:nvSpPr>
              <p:cNvPr id="938" name="Freeform 937"/>
              <p:cNvSpPr/>
              <p:nvPr/>
            </p:nvSpPr>
            <p:spPr>
              <a:xfrm>
                <a:off x="430275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39" name="Freeform 938"/>
              <p:cNvSpPr/>
              <p:nvPr/>
            </p:nvSpPr>
            <p:spPr>
              <a:xfrm>
                <a:off x="4359909" y="2496185"/>
                <a:ext cx="41910" cy="86360"/>
              </a:xfrm>
              <a:custGeom>
                <a:avLst/>
                <a:gdLst>
                  <a:gd name="connsiteX0" fmla="*/ 27305 w 41910"/>
                  <a:gd name="connsiteY0" fmla="*/ 19685 h 86360"/>
                  <a:gd name="connsiteX1" fmla="*/ 33655 w 41910"/>
                  <a:gd name="connsiteY1" fmla="*/ 13335 h 86360"/>
                  <a:gd name="connsiteX2" fmla="*/ 41910 w 41910"/>
                  <a:gd name="connsiteY2" fmla="*/ 13970 h 86360"/>
                  <a:gd name="connsiteX3" fmla="*/ 41910 w 41910"/>
                  <a:gd name="connsiteY3" fmla="*/ 635 h 86360"/>
                  <a:gd name="connsiteX4" fmla="*/ 31115 w 41910"/>
                  <a:gd name="connsiteY4" fmla="*/ 0 h 86360"/>
                  <a:gd name="connsiteX5" fmla="*/ 10795 w 41910"/>
                  <a:gd name="connsiteY5" fmla="*/ 19685 h 86360"/>
                  <a:gd name="connsiteX6" fmla="*/ 10795 w 41910"/>
                  <a:gd name="connsiteY6" fmla="*/ 27305 h 86360"/>
                  <a:gd name="connsiteX7" fmla="*/ 0 w 41910"/>
                  <a:gd name="connsiteY7" fmla="*/ 31115 h 86360"/>
                  <a:gd name="connsiteX8" fmla="*/ 0 w 41910"/>
                  <a:gd name="connsiteY8" fmla="*/ 40005 h 86360"/>
                  <a:gd name="connsiteX9" fmla="*/ 10795 w 41910"/>
                  <a:gd name="connsiteY9" fmla="*/ 40005 h 86360"/>
                  <a:gd name="connsiteX10" fmla="*/ 10795 w 41910"/>
                  <a:gd name="connsiteY10" fmla="*/ 86360 h 86360"/>
                  <a:gd name="connsiteX11" fmla="*/ 27305 w 41910"/>
                  <a:gd name="connsiteY11" fmla="*/ 86360 h 86360"/>
                  <a:gd name="connsiteX12" fmla="*/ 27305 w 41910"/>
                  <a:gd name="connsiteY12" fmla="*/ 40005 h 86360"/>
                  <a:gd name="connsiteX13" fmla="*/ 41910 w 41910"/>
                  <a:gd name="connsiteY13" fmla="*/ 40005 h 86360"/>
                  <a:gd name="connsiteX14" fmla="*/ 41910 w 41910"/>
                  <a:gd name="connsiteY14" fmla="*/ 27305 h 86360"/>
                  <a:gd name="connsiteX15" fmla="*/ 27305 w 41910"/>
                  <a:gd name="connsiteY15" fmla="*/ 27305 h 86360"/>
                  <a:gd name="connsiteX16" fmla="*/ 27305 w 41910"/>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10"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002733"/>
              </a:solidFill>
              <a:ln w="6350" cap="flat">
                <a:noFill/>
                <a:prstDash val="solid"/>
                <a:miter/>
              </a:ln>
            </p:spPr>
            <p:txBody>
              <a:bodyPr rtlCol="0" anchor="ctr"/>
              <a:lstStyle/>
              <a:p>
                <a:endParaRPr lang="en-GB"/>
              </a:p>
            </p:txBody>
          </p:sp>
          <p:sp>
            <p:nvSpPr>
              <p:cNvPr id="940" name="Freeform 939"/>
              <p:cNvSpPr/>
              <p:nvPr/>
            </p:nvSpPr>
            <p:spPr>
              <a:xfrm>
                <a:off x="440817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0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0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5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0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0" y="2540"/>
                      <a:pt x="3810" y="5080"/>
                    </a:cubicBezTo>
                    <a:lnTo>
                      <a:pt x="7620" y="17780"/>
                    </a:lnTo>
                    <a:cubicBezTo>
                      <a:pt x="13335" y="15240"/>
                      <a:pt x="20955" y="13335"/>
                      <a:pt x="27305" y="13335"/>
                    </a:cubicBezTo>
                    <a:cubicBezTo>
                      <a:pt x="31115" y="13335"/>
                      <a:pt x="37465" y="14605"/>
                      <a:pt x="37465" y="21590"/>
                    </a:cubicBezTo>
                    <a:lnTo>
                      <a:pt x="37465" y="24130"/>
                    </a:lnTo>
                    <a:lnTo>
                      <a:pt x="29210" y="24130"/>
                    </a:lnTo>
                    <a:cubicBezTo>
                      <a:pt x="8255" y="24130"/>
                      <a:pt x="0" y="30480"/>
                      <a:pt x="0" y="43815"/>
                    </a:cubicBezTo>
                    <a:cubicBezTo>
                      <a:pt x="0" y="54610"/>
                      <a:pt x="6985" y="62230"/>
                      <a:pt x="20320" y="62230"/>
                    </a:cubicBezTo>
                    <a:cubicBezTo>
                      <a:pt x="27305" y="62230"/>
                      <a:pt x="35560" y="58420"/>
                      <a:pt x="39370" y="54610"/>
                    </a:cubicBezTo>
                    <a:lnTo>
                      <a:pt x="39370" y="54610"/>
                    </a:lnTo>
                    <a:cubicBezTo>
                      <a:pt x="41275" y="59055"/>
                      <a:pt x="45085" y="61595"/>
                      <a:pt x="51435" y="61595"/>
                    </a:cubicBezTo>
                    <a:cubicBezTo>
                      <a:pt x="55245" y="61595"/>
                      <a:pt x="57785"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0" y="47625"/>
                      <a:pt x="16510" y="42545"/>
                    </a:cubicBezTo>
                    <a:cubicBezTo>
                      <a:pt x="16510" y="38100"/>
                      <a:pt x="20955" y="35560"/>
                      <a:pt x="31750" y="35560"/>
                    </a:cubicBezTo>
                    <a:lnTo>
                      <a:pt x="38100" y="35560"/>
                    </a:lnTo>
                    <a:lnTo>
                      <a:pt x="38100" y="45720"/>
                    </a:lnTo>
                    <a:close/>
                  </a:path>
                </a:pathLst>
              </a:custGeom>
              <a:solidFill>
                <a:srgbClr val="002733"/>
              </a:solidFill>
              <a:ln w="6350" cap="flat">
                <a:noFill/>
                <a:prstDash val="solid"/>
                <a:miter/>
              </a:ln>
            </p:spPr>
            <p:txBody>
              <a:bodyPr rtlCol="0" anchor="ctr"/>
              <a:lstStyle/>
              <a:p>
                <a:endParaRPr lang="en-GB"/>
              </a:p>
            </p:txBody>
          </p:sp>
          <p:sp>
            <p:nvSpPr>
              <p:cNvPr id="941" name="Freeform 940"/>
              <p:cNvSpPr/>
              <p:nvPr/>
            </p:nvSpPr>
            <p:spPr>
              <a:xfrm>
                <a:off x="4480559"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002733"/>
              </a:solidFill>
              <a:ln w="6350" cap="flat">
                <a:noFill/>
                <a:prstDash val="solid"/>
                <a:miter/>
              </a:ln>
            </p:spPr>
            <p:txBody>
              <a:bodyPr rtlCol="0" anchor="ctr"/>
              <a:lstStyle/>
              <a:p>
                <a:endParaRPr lang="en-GB"/>
              </a:p>
            </p:txBody>
          </p:sp>
          <p:sp>
            <p:nvSpPr>
              <p:cNvPr id="942" name="Freeform 941"/>
              <p:cNvSpPr/>
              <p:nvPr/>
            </p:nvSpPr>
            <p:spPr>
              <a:xfrm>
                <a:off x="4552315"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002733"/>
              </a:solidFill>
              <a:ln w="6350" cap="flat">
                <a:noFill/>
                <a:prstDash val="solid"/>
                <a:miter/>
              </a:ln>
            </p:spPr>
            <p:txBody>
              <a:bodyPr rtlCol="0" anchor="ctr"/>
              <a:lstStyle/>
              <a:p>
                <a:endParaRPr lang="en-GB"/>
              </a:p>
            </p:txBody>
          </p:sp>
          <p:sp>
            <p:nvSpPr>
              <p:cNvPr id="943" name="Freeform 942"/>
              <p:cNvSpPr/>
              <p:nvPr/>
            </p:nvSpPr>
            <p:spPr>
              <a:xfrm>
                <a:off x="459612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44" name="Freeform 943"/>
              <p:cNvSpPr/>
              <p:nvPr/>
            </p:nvSpPr>
            <p:spPr>
              <a:xfrm>
                <a:off x="46545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002733"/>
              </a:solidFill>
              <a:ln w="6350" cap="flat">
                <a:noFill/>
                <a:prstDash val="solid"/>
                <a:miter/>
              </a:ln>
            </p:spPr>
            <p:txBody>
              <a:bodyPr rtlCol="0" anchor="ctr"/>
              <a:lstStyle/>
              <a:p>
                <a:endParaRPr lang="en-GB"/>
              </a:p>
            </p:txBody>
          </p:sp>
          <p:sp>
            <p:nvSpPr>
              <p:cNvPr id="945" name="Freeform 944"/>
              <p:cNvSpPr/>
              <p:nvPr/>
            </p:nvSpPr>
            <p:spPr>
              <a:xfrm>
                <a:off x="4724400" y="2522854"/>
                <a:ext cx="55879" cy="60960"/>
              </a:xfrm>
              <a:custGeom>
                <a:avLst/>
                <a:gdLst>
                  <a:gd name="connsiteX0" fmla="*/ 39370 w 55879"/>
                  <a:gd name="connsiteY0" fmla="*/ 42545 h 60960"/>
                  <a:gd name="connsiteX1" fmla="*/ 26670 w 55879"/>
                  <a:gd name="connsiteY1" fmla="*/ 47625 h 60960"/>
                  <a:gd name="connsiteX2" fmla="*/ 16510 w 55879"/>
                  <a:gd name="connsiteY2" fmla="*/ 35560 h 60960"/>
                  <a:gd name="connsiteX3" fmla="*/ 16510 w 55879"/>
                  <a:gd name="connsiteY3" fmla="*/ 0 h 60960"/>
                  <a:gd name="connsiteX4" fmla="*/ 0 w 55879"/>
                  <a:gd name="connsiteY4" fmla="*/ 0 h 60960"/>
                  <a:gd name="connsiteX5" fmla="*/ 0 w 55879"/>
                  <a:gd name="connsiteY5" fmla="*/ 37465 h 60960"/>
                  <a:gd name="connsiteX6" fmla="*/ 21590 w 55879"/>
                  <a:gd name="connsiteY6" fmla="*/ 60960 h 60960"/>
                  <a:gd name="connsiteX7" fmla="*/ 40005 w 55879"/>
                  <a:gd name="connsiteY7" fmla="*/ 53340 h 60960"/>
                  <a:gd name="connsiteX8" fmla="*/ 40005 w 55879"/>
                  <a:gd name="connsiteY8" fmla="*/ 53340 h 60960"/>
                  <a:gd name="connsiteX9" fmla="*/ 42545 w 55879"/>
                  <a:gd name="connsiteY9" fmla="*/ 59055 h 60960"/>
                  <a:gd name="connsiteX10" fmla="*/ 55880 w 55879"/>
                  <a:gd name="connsiteY10" fmla="*/ 59055 h 60960"/>
                  <a:gd name="connsiteX11" fmla="*/ 55880 w 55879"/>
                  <a:gd name="connsiteY11" fmla="*/ 0 h 60960"/>
                  <a:gd name="connsiteX12" fmla="*/ 39370 w 55879"/>
                  <a:gd name="connsiteY12" fmla="*/ 0 h 60960"/>
                  <a:gd name="connsiteX13" fmla="*/ 39370 w 55879"/>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79"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46" name="Freeform 945"/>
              <p:cNvSpPr/>
              <p:nvPr/>
            </p:nvSpPr>
            <p:spPr>
              <a:xfrm>
                <a:off x="4793615" y="2520950"/>
                <a:ext cx="59689" cy="86995"/>
              </a:xfrm>
              <a:custGeom>
                <a:avLst/>
                <a:gdLst>
                  <a:gd name="connsiteX0" fmla="*/ 44450 w 59689"/>
                  <a:gd name="connsiteY0" fmla="*/ 6985 h 86995"/>
                  <a:gd name="connsiteX1" fmla="*/ 44450 w 59689"/>
                  <a:gd name="connsiteY1" fmla="*/ 6985 h 86995"/>
                  <a:gd name="connsiteX2" fmla="*/ 26035 w 59689"/>
                  <a:gd name="connsiteY2" fmla="*/ 0 h 86995"/>
                  <a:gd name="connsiteX3" fmla="*/ 0 w 59689"/>
                  <a:gd name="connsiteY3" fmla="*/ 31115 h 86995"/>
                  <a:gd name="connsiteX4" fmla="*/ 26035 w 59689"/>
                  <a:gd name="connsiteY4" fmla="*/ 61595 h 86995"/>
                  <a:gd name="connsiteX5" fmla="*/ 43180 w 59689"/>
                  <a:gd name="connsiteY5" fmla="*/ 55880 h 86995"/>
                  <a:gd name="connsiteX6" fmla="*/ 43180 w 59689"/>
                  <a:gd name="connsiteY6" fmla="*/ 55880 h 86995"/>
                  <a:gd name="connsiteX7" fmla="*/ 43180 w 59689"/>
                  <a:gd name="connsiteY7" fmla="*/ 60325 h 86995"/>
                  <a:gd name="connsiteX8" fmla="*/ 29210 w 59689"/>
                  <a:gd name="connsiteY8" fmla="*/ 73660 h 86995"/>
                  <a:gd name="connsiteX9" fmla="*/ 10795 w 59689"/>
                  <a:gd name="connsiteY9" fmla="*/ 69215 h 86995"/>
                  <a:gd name="connsiteX10" fmla="*/ 5715 w 59689"/>
                  <a:gd name="connsiteY10" fmla="*/ 81280 h 86995"/>
                  <a:gd name="connsiteX11" fmla="*/ 29210 w 59689"/>
                  <a:gd name="connsiteY11" fmla="*/ 86995 h 86995"/>
                  <a:gd name="connsiteX12" fmla="*/ 59690 w 59689"/>
                  <a:gd name="connsiteY12" fmla="*/ 57150 h 86995"/>
                  <a:gd name="connsiteX13" fmla="*/ 59690 w 59689"/>
                  <a:gd name="connsiteY13" fmla="*/ 1905 h 86995"/>
                  <a:gd name="connsiteX14" fmla="*/ 46990 w 59689"/>
                  <a:gd name="connsiteY14" fmla="*/ 1905 h 86995"/>
                  <a:gd name="connsiteX15" fmla="*/ 44450 w 59689"/>
                  <a:gd name="connsiteY15" fmla="*/ 6985 h 86995"/>
                  <a:gd name="connsiteX16" fmla="*/ 43180 w 59689"/>
                  <a:gd name="connsiteY16" fmla="*/ 45085 h 86995"/>
                  <a:gd name="connsiteX17" fmla="*/ 31115 w 59689"/>
                  <a:gd name="connsiteY17" fmla="*/ 48260 h 86995"/>
                  <a:gd name="connsiteX18" fmla="*/ 17145 w 59689"/>
                  <a:gd name="connsiteY18" fmla="*/ 31115 h 86995"/>
                  <a:gd name="connsiteX19" fmla="*/ 31115 w 59689"/>
                  <a:gd name="connsiteY19" fmla="*/ 13970 h 86995"/>
                  <a:gd name="connsiteX20" fmla="*/ 43180 w 59689"/>
                  <a:gd name="connsiteY20" fmla="*/ 17780 h 86995"/>
                  <a:gd name="connsiteX21" fmla="*/ 43180 w 59689"/>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89"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002733"/>
              </a:solidFill>
              <a:ln w="6350" cap="flat">
                <a:noFill/>
                <a:prstDash val="solid"/>
                <a:miter/>
              </a:ln>
            </p:spPr>
            <p:txBody>
              <a:bodyPr rtlCol="0" anchor="ctr"/>
              <a:lstStyle/>
              <a:p>
                <a:endParaRPr lang="en-GB"/>
              </a:p>
            </p:txBody>
          </p:sp>
          <p:sp>
            <p:nvSpPr>
              <p:cNvPr id="947" name="Freeform 946"/>
              <p:cNvSpPr/>
              <p:nvPr/>
            </p:nvSpPr>
            <p:spPr>
              <a:xfrm>
                <a:off x="4866004" y="2520950"/>
                <a:ext cx="57785" cy="62864"/>
              </a:xfrm>
              <a:custGeom>
                <a:avLst/>
                <a:gdLst>
                  <a:gd name="connsiteX0" fmla="*/ 57785 w 57785"/>
                  <a:gd name="connsiteY0" fmla="*/ 25400 h 62864"/>
                  <a:gd name="connsiteX1" fmla="*/ 29845 w 57785"/>
                  <a:gd name="connsiteY1" fmla="*/ 0 h 62864"/>
                  <a:gd name="connsiteX2" fmla="*/ 0 w 57785"/>
                  <a:gd name="connsiteY2" fmla="*/ 31115 h 62864"/>
                  <a:gd name="connsiteX3" fmla="*/ 30480 w 57785"/>
                  <a:gd name="connsiteY3" fmla="*/ 62865 h 62864"/>
                  <a:gd name="connsiteX4" fmla="*/ 54610 w 57785"/>
                  <a:gd name="connsiteY4" fmla="*/ 57785 h 62864"/>
                  <a:gd name="connsiteX5" fmla="*/ 50800 w 57785"/>
                  <a:gd name="connsiteY5" fmla="*/ 45720 h 62864"/>
                  <a:gd name="connsiteX6" fmla="*/ 31750 w 57785"/>
                  <a:gd name="connsiteY6" fmla="*/ 49530 h 62864"/>
                  <a:gd name="connsiteX7" fmla="*/ 16510 w 57785"/>
                  <a:gd name="connsiteY7" fmla="*/ 36195 h 62864"/>
                  <a:gd name="connsiteX8" fmla="*/ 56515 w 57785"/>
                  <a:gd name="connsiteY8" fmla="*/ 36195 h 62864"/>
                  <a:gd name="connsiteX9" fmla="*/ 57785 w 57785"/>
                  <a:gd name="connsiteY9" fmla="*/ 25400 h 62864"/>
                  <a:gd name="connsiteX10" fmla="*/ 42545 w 57785"/>
                  <a:gd name="connsiteY10" fmla="*/ 26035 h 62864"/>
                  <a:gd name="connsiteX11" fmla="*/ 17145 w 57785"/>
                  <a:gd name="connsiteY11" fmla="*/ 26035 h 62864"/>
                  <a:gd name="connsiteX12" fmla="*/ 29845 w 57785"/>
                  <a:gd name="connsiteY12" fmla="*/ 12065 h 62864"/>
                  <a:gd name="connsiteX13" fmla="*/ 42545 w 57785"/>
                  <a:gd name="connsiteY13" fmla="*/ 24130 h 62864"/>
                  <a:gd name="connsiteX14" fmla="*/ 42545 w 57785"/>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5"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785" y="29210"/>
                      <a:pt x="57785" y="25400"/>
                    </a:cubicBezTo>
                    <a:close/>
                    <a:moveTo>
                      <a:pt x="42545" y="26035"/>
                    </a:moveTo>
                    <a:lnTo>
                      <a:pt x="17145" y="26035"/>
                    </a:lnTo>
                    <a:cubicBezTo>
                      <a:pt x="17780" y="19050"/>
                      <a:pt x="21590" y="12065"/>
                      <a:pt x="29845" y="12065"/>
                    </a:cubicBezTo>
                    <a:cubicBezTo>
                      <a:pt x="39370" y="12065"/>
                      <a:pt x="42545" y="17780"/>
                      <a:pt x="42545" y="24130"/>
                    </a:cubicBezTo>
                    <a:cubicBezTo>
                      <a:pt x="42545" y="24765"/>
                      <a:pt x="42545" y="25400"/>
                      <a:pt x="42545" y="26035"/>
                    </a:cubicBezTo>
                    <a:close/>
                  </a:path>
                </a:pathLst>
              </a:custGeom>
              <a:solidFill>
                <a:srgbClr val="002733"/>
              </a:solidFill>
              <a:ln w="6350" cap="flat">
                <a:noFill/>
                <a:prstDash val="solid"/>
                <a:miter/>
              </a:ln>
            </p:spPr>
            <p:txBody>
              <a:bodyPr rtlCol="0" anchor="ctr"/>
              <a:lstStyle/>
              <a:p>
                <a:endParaRPr lang="en-GB"/>
              </a:p>
            </p:txBody>
          </p:sp>
          <p:sp>
            <p:nvSpPr>
              <p:cNvPr id="948" name="Freeform 947"/>
              <p:cNvSpPr/>
              <p:nvPr/>
            </p:nvSpPr>
            <p:spPr>
              <a:xfrm>
                <a:off x="4258309"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6365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6365"/>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002733"/>
              </a:solidFill>
              <a:ln w="6350" cap="flat">
                <a:noFill/>
                <a:prstDash val="solid"/>
                <a:miter/>
              </a:ln>
            </p:spPr>
            <p:txBody>
              <a:bodyPr rtlCol="0" anchor="ctr"/>
              <a:lstStyle/>
              <a:p>
                <a:endParaRPr lang="en-GB"/>
              </a:p>
            </p:txBody>
          </p:sp>
        </p:grpSp>
      </p:grpSp>
      <p:grpSp>
        <p:nvGrpSpPr>
          <p:cNvPr id="964" name="Graphic 79"/>
          <p:cNvGrpSpPr/>
          <p:nvPr/>
        </p:nvGrpSpPr>
        <p:grpSpPr>
          <a:xfrm>
            <a:off x="4136390" y="4263390"/>
            <a:ext cx="775969" cy="435609"/>
            <a:chOff x="4136390" y="4263390"/>
            <a:chExt cx="775969" cy="435609"/>
          </a:xfrm>
          <a:solidFill>
            <a:srgbClr val="002733"/>
          </a:solidFill>
        </p:grpSpPr>
        <p:sp>
          <p:nvSpPr>
            <p:cNvPr id="965" name="Freeform 964"/>
            <p:cNvSpPr/>
            <p:nvPr/>
          </p:nvSpPr>
          <p:spPr>
            <a:xfrm>
              <a:off x="4645659" y="4580890"/>
              <a:ext cx="197485" cy="118109"/>
            </a:xfrm>
            <a:custGeom>
              <a:avLst/>
              <a:gdLst>
                <a:gd name="connsiteX0" fmla="*/ 139700 w 197485"/>
                <a:gd name="connsiteY0" fmla="*/ 52705 h 118109"/>
                <a:gd name="connsiteX1" fmla="*/ 58420 w 197485"/>
                <a:gd name="connsiteY1" fmla="*/ 0 h 118109"/>
                <a:gd name="connsiteX2" fmla="*/ 0 w 197485"/>
                <a:gd name="connsiteY2" fmla="*/ 0 h 118109"/>
                <a:gd name="connsiteX3" fmla="*/ 0 w 197485"/>
                <a:gd name="connsiteY3" fmla="*/ 118110 h 118109"/>
                <a:gd name="connsiteX4" fmla="*/ 62865 w 197485"/>
                <a:gd name="connsiteY4" fmla="*/ 118110 h 118109"/>
                <a:gd name="connsiteX5" fmla="*/ 62865 w 197485"/>
                <a:gd name="connsiteY5" fmla="*/ 66675 h 118109"/>
                <a:gd name="connsiteX6" fmla="*/ 136525 w 197485"/>
                <a:gd name="connsiteY6" fmla="*/ 118110 h 118109"/>
                <a:gd name="connsiteX7" fmla="*/ 197485 w 197485"/>
                <a:gd name="connsiteY7" fmla="*/ 118110 h 118109"/>
                <a:gd name="connsiteX8" fmla="*/ 197485 w 197485"/>
                <a:gd name="connsiteY8" fmla="*/ 0 h 118109"/>
                <a:gd name="connsiteX9" fmla="*/ 139700 w 197485"/>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5"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002733"/>
            </a:solidFill>
            <a:ln w="6350" cap="flat">
              <a:noFill/>
              <a:prstDash val="solid"/>
              <a:miter/>
            </a:ln>
          </p:spPr>
          <p:txBody>
            <a:bodyPr rtlCol="0" anchor="ctr"/>
            <a:lstStyle/>
            <a:p>
              <a:endParaRPr lang="en-GB"/>
            </a:p>
          </p:txBody>
        </p:sp>
        <p:sp>
          <p:nvSpPr>
            <p:cNvPr id="966" name="Freeform 965"/>
            <p:cNvSpPr/>
            <p:nvPr/>
          </p:nvSpPr>
          <p:spPr>
            <a:xfrm>
              <a:off x="442087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5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5" y="50165"/>
                  </a:lnTo>
                  <a:lnTo>
                    <a:pt x="121920" y="74930"/>
                  </a:lnTo>
                  <a:lnTo>
                    <a:pt x="96520" y="74930"/>
                  </a:lnTo>
                  <a:close/>
                </a:path>
              </a:pathLst>
            </a:custGeom>
            <a:solidFill>
              <a:srgbClr val="002733"/>
            </a:solidFill>
            <a:ln w="6350" cap="flat">
              <a:noFill/>
              <a:prstDash val="solid"/>
              <a:miter/>
            </a:ln>
          </p:spPr>
          <p:txBody>
            <a:bodyPr rtlCol="0" anchor="ctr"/>
            <a:lstStyle/>
            <a:p>
              <a:endParaRPr lang="en-GB"/>
            </a:p>
          </p:txBody>
        </p:sp>
        <p:sp>
          <p:nvSpPr>
            <p:cNvPr id="967" name="Freeform 966"/>
            <p:cNvSpPr/>
            <p:nvPr/>
          </p:nvSpPr>
          <p:spPr>
            <a:xfrm>
              <a:off x="4216400" y="4580890"/>
              <a:ext cx="198120" cy="118109"/>
            </a:xfrm>
            <a:custGeom>
              <a:avLst/>
              <a:gdLst>
                <a:gd name="connsiteX0" fmla="*/ 99060 w 198120"/>
                <a:gd name="connsiteY0" fmla="*/ 44450 h 118109"/>
                <a:gd name="connsiteX1" fmla="*/ 60325 w 198120"/>
                <a:gd name="connsiteY1" fmla="*/ 0 h 118109"/>
                <a:gd name="connsiteX2" fmla="*/ 0 w 198120"/>
                <a:gd name="connsiteY2" fmla="*/ 0 h 118109"/>
                <a:gd name="connsiteX3" fmla="*/ 0 w 198120"/>
                <a:gd name="connsiteY3" fmla="*/ 118110 h 118109"/>
                <a:gd name="connsiteX4" fmla="*/ 59690 w 198120"/>
                <a:gd name="connsiteY4" fmla="*/ 118110 h 118109"/>
                <a:gd name="connsiteX5" fmla="*/ 59690 w 198120"/>
                <a:gd name="connsiteY5" fmla="*/ 75565 h 118109"/>
                <a:gd name="connsiteX6" fmla="*/ 100330 w 198120"/>
                <a:gd name="connsiteY6" fmla="*/ 111760 h 118109"/>
                <a:gd name="connsiteX7" fmla="*/ 138430 w 198120"/>
                <a:gd name="connsiteY7" fmla="*/ 75565 h 118109"/>
                <a:gd name="connsiteX8" fmla="*/ 138430 w 198120"/>
                <a:gd name="connsiteY8" fmla="*/ 118110 h 118109"/>
                <a:gd name="connsiteX9" fmla="*/ 198120 w 198120"/>
                <a:gd name="connsiteY9" fmla="*/ 118110 h 118109"/>
                <a:gd name="connsiteX10" fmla="*/ 198120 w 198120"/>
                <a:gd name="connsiteY10" fmla="*/ 0 h 118109"/>
                <a:gd name="connsiteX11" fmla="*/ 140970 w 198120"/>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20"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002733"/>
            </a:solidFill>
            <a:ln w="6350" cap="flat">
              <a:noFill/>
              <a:prstDash val="solid"/>
              <a:miter/>
            </a:ln>
          </p:spPr>
          <p:txBody>
            <a:bodyPr rtlCol="0" anchor="ctr"/>
            <a:lstStyle/>
            <a:p>
              <a:endParaRPr lang="en-GB"/>
            </a:p>
          </p:txBody>
        </p:sp>
        <p:sp>
          <p:nvSpPr>
            <p:cNvPr id="968" name="Freeform 967"/>
            <p:cNvSpPr/>
            <p:nvPr/>
          </p:nvSpPr>
          <p:spPr>
            <a:xfrm>
              <a:off x="4136390"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002733"/>
            </a:solidFill>
            <a:ln w="6350" cap="flat">
              <a:noFill/>
              <a:prstDash val="solid"/>
              <a:miter/>
            </a:ln>
          </p:spPr>
          <p:txBody>
            <a:bodyPr rtlCol="0" anchor="ctr"/>
            <a:lstStyle/>
            <a:p>
              <a:endParaRPr lang="en-GB"/>
            </a:p>
          </p:txBody>
        </p:sp>
      </p:grpSp>
      <p:grpSp>
        <p:nvGrpSpPr>
          <p:cNvPr id="969" name="Graphic 79"/>
          <p:cNvGrpSpPr/>
          <p:nvPr/>
        </p:nvGrpSpPr>
        <p:grpSpPr>
          <a:xfrm>
            <a:off x="5635625" y="4225448"/>
            <a:ext cx="920115" cy="476726"/>
            <a:chOff x="5635625" y="4225448"/>
            <a:chExt cx="920115" cy="476726"/>
          </a:xfrm>
          <a:solidFill>
            <a:srgbClr val="002733"/>
          </a:solidFill>
        </p:grpSpPr>
        <p:sp>
          <p:nvSpPr>
            <p:cNvPr id="970" name="Freeform 969"/>
            <p:cNvSpPr/>
            <p:nvPr/>
          </p:nvSpPr>
          <p:spPr>
            <a:xfrm>
              <a:off x="6320154" y="4557395"/>
              <a:ext cx="235585" cy="139700"/>
            </a:xfrm>
            <a:custGeom>
              <a:avLst/>
              <a:gdLst>
                <a:gd name="connsiteX0" fmla="*/ 182245 w 235585"/>
                <a:gd name="connsiteY0" fmla="*/ 0 h 139700"/>
                <a:gd name="connsiteX1" fmla="*/ 97155 w 235585"/>
                <a:gd name="connsiteY1" fmla="*/ 0 h 139700"/>
                <a:gd name="connsiteX2" fmla="*/ 53340 w 235585"/>
                <a:gd name="connsiteY2" fmla="*/ 113665 h 139700"/>
                <a:gd name="connsiteX3" fmla="*/ 53340 w 235585"/>
                <a:gd name="connsiteY3" fmla="*/ 0 h 139700"/>
                <a:gd name="connsiteX4" fmla="*/ 0 w 235585"/>
                <a:gd name="connsiteY4" fmla="*/ 0 h 139700"/>
                <a:gd name="connsiteX5" fmla="*/ 0 w 235585"/>
                <a:gd name="connsiteY5" fmla="*/ 139700 h 139700"/>
                <a:gd name="connsiteX6" fmla="*/ 97790 w 235585"/>
                <a:gd name="connsiteY6" fmla="*/ 139700 h 139700"/>
                <a:gd name="connsiteX7" fmla="*/ 105410 w 235585"/>
                <a:gd name="connsiteY7" fmla="*/ 119380 h 139700"/>
                <a:gd name="connsiteX8" fmla="*/ 172085 w 235585"/>
                <a:gd name="connsiteY8" fmla="*/ 119380 h 139700"/>
                <a:gd name="connsiteX9" fmla="*/ 179705 w 235585"/>
                <a:gd name="connsiteY9" fmla="*/ 139700 h 139700"/>
                <a:gd name="connsiteX10" fmla="*/ 235585 w 235585"/>
                <a:gd name="connsiteY10" fmla="*/ 139700 h 139700"/>
                <a:gd name="connsiteX11" fmla="*/ 182245 w 235585"/>
                <a:gd name="connsiteY11" fmla="*/ 0 h 139700"/>
                <a:gd name="connsiteX12" fmla="*/ 120015 w 235585"/>
                <a:gd name="connsiteY12" fmla="*/ 82550 h 139700"/>
                <a:gd name="connsiteX13" fmla="*/ 139065 w 235585"/>
                <a:gd name="connsiteY13" fmla="*/ 32385 h 139700"/>
                <a:gd name="connsiteX14" fmla="*/ 158115 w 235585"/>
                <a:gd name="connsiteY14" fmla="*/ 82550 h 139700"/>
                <a:gd name="connsiteX15" fmla="*/ 120015 w 235585"/>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5" h="139700">
                  <a:moveTo>
                    <a:pt x="182245" y="0"/>
                  </a:moveTo>
                  <a:lnTo>
                    <a:pt x="97155" y="0"/>
                  </a:lnTo>
                  <a:lnTo>
                    <a:pt x="53340" y="113665"/>
                  </a:lnTo>
                  <a:lnTo>
                    <a:pt x="53340" y="0"/>
                  </a:lnTo>
                  <a:lnTo>
                    <a:pt x="0" y="0"/>
                  </a:lnTo>
                  <a:lnTo>
                    <a:pt x="0" y="139700"/>
                  </a:lnTo>
                  <a:lnTo>
                    <a:pt x="97790" y="139700"/>
                  </a:lnTo>
                  <a:lnTo>
                    <a:pt x="105410" y="119380"/>
                  </a:lnTo>
                  <a:lnTo>
                    <a:pt x="172085" y="119380"/>
                  </a:lnTo>
                  <a:lnTo>
                    <a:pt x="179705" y="139700"/>
                  </a:lnTo>
                  <a:lnTo>
                    <a:pt x="235585" y="139700"/>
                  </a:lnTo>
                  <a:lnTo>
                    <a:pt x="182245" y="0"/>
                  </a:lnTo>
                  <a:close/>
                  <a:moveTo>
                    <a:pt x="120015" y="82550"/>
                  </a:moveTo>
                  <a:lnTo>
                    <a:pt x="139065" y="32385"/>
                  </a:lnTo>
                  <a:lnTo>
                    <a:pt x="158115" y="82550"/>
                  </a:lnTo>
                  <a:lnTo>
                    <a:pt x="120015" y="82550"/>
                  </a:lnTo>
                  <a:close/>
                </a:path>
              </a:pathLst>
            </a:custGeom>
            <a:solidFill>
              <a:srgbClr val="002733"/>
            </a:solidFill>
            <a:ln w="6350" cap="flat">
              <a:noFill/>
              <a:prstDash val="solid"/>
              <a:miter/>
            </a:ln>
          </p:spPr>
          <p:txBody>
            <a:bodyPr rtlCol="0" anchor="ctr"/>
            <a:lstStyle/>
            <a:p>
              <a:endParaRPr lang="en-GB"/>
            </a:p>
          </p:txBody>
        </p:sp>
        <p:sp>
          <p:nvSpPr>
            <p:cNvPr id="971" name="Freeform 970"/>
            <p:cNvSpPr/>
            <p:nvPr/>
          </p:nvSpPr>
          <p:spPr>
            <a:xfrm>
              <a:off x="5635625" y="4550409"/>
              <a:ext cx="671195" cy="151765"/>
            </a:xfrm>
            <a:custGeom>
              <a:avLst/>
              <a:gdLst>
                <a:gd name="connsiteX0" fmla="*/ 619125 w 671195"/>
                <a:gd name="connsiteY0" fmla="*/ 80645 h 151765"/>
                <a:gd name="connsiteX1" fmla="*/ 563880 w 671195"/>
                <a:gd name="connsiteY1" fmla="*/ 6985 h 151765"/>
                <a:gd name="connsiteX2" fmla="*/ 497840 w 671195"/>
                <a:gd name="connsiteY2" fmla="*/ 6985 h 151765"/>
                <a:gd name="connsiteX3" fmla="*/ 497840 w 671195"/>
                <a:gd name="connsiteY3" fmla="*/ 120650 h 151765"/>
                <a:gd name="connsiteX4" fmla="*/ 453390 w 671195"/>
                <a:gd name="connsiteY4" fmla="*/ 6985 h 151765"/>
                <a:gd name="connsiteX5" fmla="*/ 368300 w 671195"/>
                <a:gd name="connsiteY5" fmla="*/ 6985 h 151765"/>
                <a:gd name="connsiteX6" fmla="*/ 336550 w 671195"/>
                <a:gd name="connsiteY6" fmla="*/ 89535 h 151765"/>
                <a:gd name="connsiteX7" fmla="*/ 284480 w 671195"/>
                <a:gd name="connsiteY7" fmla="*/ 89535 h 151765"/>
                <a:gd name="connsiteX8" fmla="*/ 255905 w 671195"/>
                <a:gd name="connsiteY8" fmla="*/ 114935 h 151765"/>
                <a:gd name="connsiteX9" fmla="*/ 226060 w 671195"/>
                <a:gd name="connsiteY9" fmla="*/ 76835 h 151765"/>
                <a:gd name="connsiteX10" fmla="*/ 255905 w 671195"/>
                <a:gd name="connsiteY10" fmla="*/ 38735 h 151765"/>
                <a:gd name="connsiteX11" fmla="*/ 283845 w 671195"/>
                <a:gd name="connsiteY11" fmla="*/ 60325 h 151765"/>
                <a:gd name="connsiteX12" fmla="*/ 341630 w 671195"/>
                <a:gd name="connsiteY12" fmla="*/ 60325 h 151765"/>
                <a:gd name="connsiteX13" fmla="*/ 341630 w 671195"/>
                <a:gd name="connsiteY13" fmla="*/ 56515 h 151765"/>
                <a:gd name="connsiteX14" fmla="*/ 256540 w 671195"/>
                <a:gd name="connsiteY14" fmla="*/ 0 h 151765"/>
                <a:gd name="connsiteX15" fmla="*/ 169545 w 671195"/>
                <a:gd name="connsiteY15" fmla="*/ 76200 h 151765"/>
                <a:gd name="connsiteX16" fmla="*/ 169545 w 671195"/>
                <a:gd name="connsiteY16" fmla="*/ 79375 h 151765"/>
                <a:gd name="connsiteX17" fmla="*/ 121285 w 671195"/>
                <a:gd name="connsiteY17" fmla="*/ 60325 h 151765"/>
                <a:gd name="connsiteX18" fmla="*/ 85090 w 671195"/>
                <a:gd name="connsiteY18" fmla="*/ 54610 h 151765"/>
                <a:gd name="connsiteX19" fmla="*/ 62865 w 671195"/>
                <a:gd name="connsiteY19" fmla="*/ 44450 h 151765"/>
                <a:gd name="connsiteX20" fmla="*/ 83185 w 671195"/>
                <a:gd name="connsiteY20" fmla="*/ 32385 h 151765"/>
                <a:gd name="connsiteX21" fmla="*/ 109220 w 671195"/>
                <a:gd name="connsiteY21" fmla="*/ 48895 h 151765"/>
                <a:gd name="connsiteX22" fmla="*/ 167640 w 671195"/>
                <a:gd name="connsiteY22" fmla="*/ 48895 h 151765"/>
                <a:gd name="connsiteX23" fmla="*/ 167640 w 671195"/>
                <a:gd name="connsiteY23" fmla="*/ 46990 h 151765"/>
                <a:gd name="connsiteX24" fmla="*/ 85090 w 671195"/>
                <a:gd name="connsiteY24" fmla="*/ 635 h 151765"/>
                <a:gd name="connsiteX25" fmla="*/ 3810 w 671195"/>
                <a:gd name="connsiteY25" fmla="*/ 50165 h 151765"/>
                <a:gd name="connsiteX26" fmla="*/ 53340 w 671195"/>
                <a:gd name="connsiteY26" fmla="*/ 90805 h 151765"/>
                <a:gd name="connsiteX27" fmla="*/ 94615 w 671195"/>
                <a:gd name="connsiteY27" fmla="*/ 96520 h 151765"/>
                <a:gd name="connsiteX28" fmla="*/ 114300 w 671195"/>
                <a:gd name="connsiteY28" fmla="*/ 107315 h 151765"/>
                <a:gd name="connsiteX29" fmla="*/ 89535 w 671195"/>
                <a:gd name="connsiteY29" fmla="*/ 119380 h 151765"/>
                <a:gd name="connsiteX30" fmla="*/ 61595 w 671195"/>
                <a:gd name="connsiteY30" fmla="*/ 99695 h 151765"/>
                <a:gd name="connsiteX31" fmla="*/ 0 w 671195"/>
                <a:gd name="connsiteY31" fmla="*/ 99695 h 151765"/>
                <a:gd name="connsiteX32" fmla="*/ 0 w 671195"/>
                <a:gd name="connsiteY32" fmla="*/ 102870 h 151765"/>
                <a:gd name="connsiteX33" fmla="*/ 86995 w 671195"/>
                <a:gd name="connsiteY33" fmla="*/ 151765 h 151765"/>
                <a:gd name="connsiteX34" fmla="*/ 175895 w 671195"/>
                <a:gd name="connsiteY34" fmla="*/ 110490 h 151765"/>
                <a:gd name="connsiteX35" fmla="*/ 256540 w 671195"/>
                <a:gd name="connsiteY35" fmla="*/ 151765 h 151765"/>
                <a:gd name="connsiteX36" fmla="*/ 321310 w 671195"/>
                <a:gd name="connsiteY36" fmla="*/ 128270 h 151765"/>
                <a:gd name="connsiteX37" fmla="*/ 314960 w 671195"/>
                <a:gd name="connsiteY37" fmla="*/ 145415 h 151765"/>
                <a:gd name="connsiteX38" fmla="*/ 369570 w 671195"/>
                <a:gd name="connsiteY38" fmla="*/ 145415 h 151765"/>
                <a:gd name="connsiteX39" fmla="*/ 377825 w 671195"/>
                <a:gd name="connsiteY39" fmla="*/ 125730 h 151765"/>
                <a:gd name="connsiteX40" fmla="*/ 444500 w 671195"/>
                <a:gd name="connsiteY40" fmla="*/ 125730 h 151765"/>
                <a:gd name="connsiteX41" fmla="*/ 452120 w 671195"/>
                <a:gd name="connsiteY41" fmla="*/ 146050 h 151765"/>
                <a:gd name="connsiteX42" fmla="*/ 549910 w 671195"/>
                <a:gd name="connsiteY42" fmla="*/ 146050 h 151765"/>
                <a:gd name="connsiteX43" fmla="*/ 549910 w 671195"/>
                <a:gd name="connsiteY43" fmla="*/ 66040 h 151765"/>
                <a:gd name="connsiteX44" fmla="*/ 610235 w 671195"/>
                <a:gd name="connsiteY44" fmla="*/ 146685 h 151765"/>
                <a:gd name="connsiteX45" fmla="*/ 671195 w 671195"/>
                <a:gd name="connsiteY45" fmla="*/ 146685 h 151765"/>
                <a:gd name="connsiteX46" fmla="*/ 671195 w 671195"/>
                <a:gd name="connsiteY46" fmla="*/ 6985 h 151765"/>
                <a:gd name="connsiteX47" fmla="*/ 619125 w 671195"/>
                <a:gd name="connsiteY47" fmla="*/ 6985 h 151765"/>
                <a:gd name="connsiteX48" fmla="*/ 619125 w 671195"/>
                <a:gd name="connsiteY48" fmla="*/ 80645 h 151765"/>
                <a:gd name="connsiteX49" fmla="*/ 391160 w 671195"/>
                <a:gd name="connsiteY49" fmla="*/ 89535 h 151765"/>
                <a:gd name="connsiteX50" fmla="*/ 410210 w 671195"/>
                <a:gd name="connsiteY50" fmla="*/ 39370 h 151765"/>
                <a:gd name="connsiteX51" fmla="*/ 429260 w 671195"/>
                <a:gd name="connsiteY51" fmla="*/ 89535 h 151765"/>
                <a:gd name="connsiteX52" fmla="*/ 391160 w 671195"/>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5"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002733"/>
            </a:solidFill>
            <a:ln w="6350" cap="flat">
              <a:noFill/>
              <a:prstDash val="solid"/>
              <a:miter/>
            </a:ln>
          </p:spPr>
          <p:txBody>
            <a:bodyPr rtlCol="0" anchor="ctr"/>
            <a:lstStyle/>
            <a:p>
              <a:endParaRPr lang="en-GB"/>
            </a:p>
          </p:txBody>
        </p:sp>
        <p:sp>
          <p:nvSpPr>
            <p:cNvPr id="972" name="Freeform 971"/>
            <p:cNvSpPr/>
            <p:nvPr/>
          </p:nvSpPr>
          <p:spPr>
            <a:xfrm>
              <a:off x="6117590"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002733"/>
            </a:solidFill>
            <a:ln w="6350" cap="flat">
              <a:noFill/>
              <a:prstDash val="solid"/>
              <a:miter/>
            </a:ln>
          </p:spPr>
          <p:txBody>
            <a:bodyPr rtlCol="0" anchor="ctr"/>
            <a:lstStyle/>
            <a:p>
              <a:endParaRPr lang="en-GB"/>
            </a:p>
          </p:txBody>
        </p:sp>
        <p:sp>
          <p:nvSpPr>
            <p:cNvPr id="973" name="Freeform 972"/>
            <p:cNvSpPr/>
            <p:nvPr/>
          </p:nvSpPr>
          <p:spPr>
            <a:xfrm>
              <a:off x="6084570" y="4344670"/>
              <a:ext cx="45170" cy="46989"/>
            </a:xfrm>
            <a:custGeom>
              <a:avLst/>
              <a:gdLst>
                <a:gd name="connsiteX0" fmla="*/ 18415 w 45170"/>
                <a:gd name="connsiteY0" fmla="*/ 22225 h 46989"/>
                <a:gd name="connsiteX1" fmla="*/ 15240 w 45170"/>
                <a:gd name="connsiteY1" fmla="*/ 19050 h 46989"/>
                <a:gd name="connsiteX2" fmla="*/ 15240 w 45170"/>
                <a:gd name="connsiteY2" fmla="*/ 24130 h 46989"/>
                <a:gd name="connsiteX3" fmla="*/ 10160 w 45170"/>
                <a:gd name="connsiteY3" fmla="*/ 34925 h 46989"/>
                <a:gd name="connsiteX4" fmla="*/ 9525 w 45170"/>
                <a:gd name="connsiteY4" fmla="*/ 25400 h 46989"/>
                <a:gd name="connsiteX5" fmla="*/ 5715 w 45170"/>
                <a:gd name="connsiteY5" fmla="*/ 27305 h 46989"/>
                <a:gd name="connsiteX6" fmla="*/ 3810 w 45170"/>
                <a:gd name="connsiteY6" fmla="*/ 37465 h 46989"/>
                <a:gd name="connsiteX7" fmla="*/ 0 w 45170"/>
                <a:gd name="connsiteY7" fmla="*/ 41275 h 46989"/>
                <a:gd name="connsiteX8" fmla="*/ 5080 w 45170"/>
                <a:gd name="connsiteY8" fmla="*/ 41275 h 46989"/>
                <a:gd name="connsiteX9" fmla="*/ 18415 w 45170"/>
                <a:gd name="connsiteY9" fmla="*/ 31750 h 46989"/>
                <a:gd name="connsiteX10" fmla="*/ 15240 w 45170"/>
                <a:gd name="connsiteY10" fmla="*/ 42545 h 46989"/>
                <a:gd name="connsiteX11" fmla="*/ 12700 w 45170"/>
                <a:gd name="connsiteY11" fmla="*/ 46990 h 46989"/>
                <a:gd name="connsiteX12" fmla="*/ 17780 w 45170"/>
                <a:gd name="connsiteY12" fmla="*/ 45720 h 46989"/>
                <a:gd name="connsiteX13" fmla="*/ 29845 w 45170"/>
                <a:gd name="connsiteY13" fmla="*/ 37465 h 46989"/>
                <a:gd name="connsiteX14" fmla="*/ 33020 w 45170"/>
                <a:gd name="connsiteY14" fmla="*/ 22225 h 46989"/>
                <a:gd name="connsiteX15" fmla="*/ 36195 w 45170"/>
                <a:gd name="connsiteY15" fmla="*/ 34925 h 46989"/>
                <a:gd name="connsiteX16" fmla="*/ 36195 w 45170"/>
                <a:gd name="connsiteY16" fmla="*/ 40640 h 46989"/>
                <a:gd name="connsiteX17" fmla="*/ 40005 w 45170"/>
                <a:gd name="connsiteY17" fmla="*/ 36195 h 46989"/>
                <a:gd name="connsiteX18" fmla="*/ 36195 w 45170"/>
                <a:gd name="connsiteY18" fmla="*/ 0 h 46989"/>
                <a:gd name="connsiteX19" fmla="*/ 34925 w 45170"/>
                <a:gd name="connsiteY19" fmla="*/ 4445 h 46989"/>
                <a:gd name="connsiteX20" fmla="*/ 40005 w 45170"/>
                <a:gd name="connsiteY20" fmla="*/ 27940 h 46989"/>
                <a:gd name="connsiteX21" fmla="*/ 30480 w 45170"/>
                <a:gd name="connsiteY21" fmla="*/ 15240 h 46989"/>
                <a:gd name="connsiteX22" fmla="*/ 26670 w 45170"/>
                <a:gd name="connsiteY22" fmla="*/ 13970 h 46989"/>
                <a:gd name="connsiteX23" fmla="*/ 27940 w 45170"/>
                <a:gd name="connsiteY23" fmla="*/ 17780 h 46989"/>
                <a:gd name="connsiteX24" fmla="*/ 26670 w 45170"/>
                <a:gd name="connsiteY24" fmla="*/ 34925 h 46989"/>
                <a:gd name="connsiteX25" fmla="*/ 22225 w 45170"/>
                <a:gd name="connsiteY25" fmla="*/ 39370 h 46989"/>
                <a:gd name="connsiteX26" fmla="*/ 18415 w 45170"/>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0" h="46989">
                  <a:moveTo>
                    <a:pt x="18415" y="22225"/>
                  </a:moveTo>
                  <a:cubicBezTo>
                    <a:pt x="18415" y="21590"/>
                    <a:pt x="15240" y="19050"/>
                    <a:pt x="15240" y="19050"/>
                  </a:cubicBezTo>
                  <a:lnTo>
                    <a:pt x="15240" y="24130"/>
                  </a:lnTo>
                  <a:cubicBezTo>
                    <a:pt x="15240" y="28575"/>
                    <a:pt x="13335" y="32385"/>
                    <a:pt x="10160" y="34925"/>
                  </a:cubicBezTo>
                  <a:cubicBezTo>
                    <a:pt x="11430" y="31750"/>
                    <a:pt x="10795" y="28575"/>
                    <a:pt x="9525" y="25400"/>
                  </a:cubicBezTo>
                  <a:lnTo>
                    <a:pt x="5715" y="27305"/>
                  </a:lnTo>
                  <a:cubicBezTo>
                    <a:pt x="7620" y="31115"/>
                    <a:pt x="6350" y="34925"/>
                    <a:pt x="3810" y="37465"/>
                  </a:cubicBezTo>
                  <a:lnTo>
                    <a:pt x="0" y="41275"/>
                  </a:lnTo>
                  <a:cubicBezTo>
                    <a:pt x="0" y="41275"/>
                    <a:pt x="3810"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0" y="44450"/>
                    <a:pt x="26670" y="41275"/>
                    <a:pt x="29845" y="37465"/>
                  </a:cubicBezTo>
                  <a:cubicBezTo>
                    <a:pt x="32385" y="33020"/>
                    <a:pt x="33655" y="27940"/>
                    <a:pt x="33020" y="22225"/>
                  </a:cubicBezTo>
                  <a:cubicBezTo>
                    <a:pt x="35560" y="26035"/>
                    <a:pt x="36830" y="30480"/>
                    <a:pt x="36195" y="34925"/>
                  </a:cubicBezTo>
                  <a:lnTo>
                    <a:pt x="36195" y="40640"/>
                  </a:lnTo>
                  <a:cubicBezTo>
                    <a:pt x="37465" y="39370"/>
                    <a:pt x="38735" y="38100"/>
                    <a:pt x="40005" y="36195"/>
                  </a:cubicBezTo>
                  <a:cubicBezTo>
                    <a:pt x="48260" y="24765"/>
                    <a:pt x="46355" y="9525"/>
                    <a:pt x="36195" y="0"/>
                  </a:cubicBezTo>
                  <a:lnTo>
                    <a:pt x="34925" y="4445"/>
                  </a:lnTo>
                  <a:cubicBezTo>
                    <a:pt x="40640" y="10795"/>
                    <a:pt x="42545" y="19685"/>
                    <a:pt x="40005" y="27940"/>
                  </a:cubicBezTo>
                  <a:cubicBezTo>
                    <a:pt x="39370" y="22225"/>
                    <a:pt x="35560" y="17780"/>
                    <a:pt x="30480" y="15240"/>
                  </a:cubicBezTo>
                  <a:cubicBezTo>
                    <a:pt x="29210" y="14605"/>
                    <a:pt x="27940" y="13970"/>
                    <a:pt x="26670" y="13970"/>
                  </a:cubicBezTo>
                  <a:lnTo>
                    <a:pt x="27940" y="17780"/>
                  </a:lnTo>
                  <a:cubicBezTo>
                    <a:pt x="29845" y="23495"/>
                    <a:pt x="29210" y="29845"/>
                    <a:pt x="26670" y="34925"/>
                  </a:cubicBezTo>
                  <a:cubicBezTo>
                    <a:pt x="25400" y="36830"/>
                    <a:pt x="24130" y="38100"/>
                    <a:pt x="22225" y="39370"/>
                  </a:cubicBezTo>
                  <a:cubicBezTo>
                    <a:pt x="22860" y="32385"/>
                    <a:pt x="22225" y="26670"/>
                    <a:pt x="18415" y="22225"/>
                  </a:cubicBezTo>
                  <a:close/>
                </a:path>
              </a:pathLst>
            </a:custGeom>
            <a:solidFill>
              <a:srgbClr val="002733"/>
            </a:solidFill>
            <a:ln w="6350" cap="flat">
              <a:noFill/>
              <a:prstDash val="solid"/>
              <a:miter/>
            </a:ln>
          </p:spPr>
          <p:txBody>
            <a:bodyPr rtlCol="0" anchor="ctr"/>
            <a:lstStyle/>
            <a:p>
              <a:endParaRPr lang="en-GB"/>
            </a:p>
          </p:txBody>
        </p:sp>
        <p:sp>
          <p:nvSpPr>
            <p:cNvPr id="974" name="Freeform 973"/>
            <p:cNvSpPr/>
            <p:nvPr/>
          </p:nvSpPr>
          <p:spPr>
            <a:xfrm>
              <a:off x="6015990"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002733"/>
            </a:solidFill>
            <a:ln w="6350" cap="flat">
              <a:noFill/>
              <a:prstDash val="solid"/>
              <a:miter/>
            </a:ln>
          </p:spPr>
          <p:txBody>
            <a:bodyPr rtlCol="0" anchor="ctr"/>
            <a:lstStyle/>
            <a:p>
              <a:endParaRPr lang="en-GB"/>
            </a:p>
          </p:txBody>
        </p:sp>
        <p:sp>
          <p:nvSpPr>
            <p:cNvPr id="975" name="Freeform 974"/>
            <p:cNvSpPr/>
            <p:nvPr/>
          </p:nvSpPr>
          <p:spPr>
            <a:xfrm>
              <a:off x="6080759"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002733"/>
            </a:solidFill>
            <a:ln w="6350" cap="flat">
              <a:noFill/>
              <a:prstDash val="solid"/>
              <a:miter/>
            </a:ln>
          </p:spPr>
          <p:txBody>
            <a:bodyPr rtlCol="0" anchor="ctr"/>
            <a:lstStyle/>
            <a:p>
              <a:endParaRPr lang="en-GB"/>
            </a:p>
          </p:txBody>
        </p:sp>
        <p:sp>
          <p:nvSpPr>
            <p:cNvPr id="976" name="Freeform 975"/>
            <p:cNvSpPr/>
            <p:nvPr/>
          </p:nvSpPr>
          <p:spPr>
            <a:xfrm>
              <a:off x="5948679" y="4225448"/>
              <a:ext cx="294004" cy="278288"/>
            </a:xfrm>
            <a:custGeom>
              <a:avLst/>
              <a:gdLst>
                <a:gd name="connsiteX0" fmla="*/ 19050 w 294004"/>
                <a:gd name="connsiteY0" fmla="*/ 117316 h 278288"/>
                <a:gd name="connsiteX1" fmla="*/ 18415 w 294004"/>
                <a:gd name="connsiteY1" fmla="*/ 128111 h 278288"/>
                <a:gd name="connsiteX2" fmla="*/ 92710 w 294004"/>
                <a:gd name="connsiteY2" fmla="*/ 244951 h 278288"/>
                <a:gd name="connsiteX3" fmla="*/ 100330 w 294004"/>
                <a:gd name="connsiteY3" fmla="*/ 268446 h 278288"/>
                <a:gd name="connsiteX4" fmla="*/ 100965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5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90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5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5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5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5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5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5" y="124301"/>
                    <a:pt x="18415" y="128111"/>
                  </a:cubicBezTo>
                  <a:cubicBezTo>
                    <a:pt x="18415" y="178276"/>
                    <a:pt x="47625" y="223361"/>
                    <a:pt x="92710" y="244951"/>
                  </a:cubicBezTo>
                  <a:cubicBezTo>
                    <a:pt x="95250" y="252571"/>
                    <a:pt x="98425" y="260826"/>
                    <a:pt x="100330" y="268446"/>
                  </a:cubicBezTo>
                  <a:lnTo>
                    <a:pt x="100965" y="270986"/>
                  </a:lnTo>
                  <a:lnTo>
                    <a:pt x="102870" y="271621"/>
                  </a:lnTo>
                  <a:cubicBezTo>
                    <a:pt x="132080" y="280511"/>
                    <a:pt x="162560" y="280511"/>
                    <a:pt x="191770" y="271621"/>
                  </a:cubicBezTo>
                  <a:lnTo>
                    <a:pt x="194310" y="270986"/>
                  </a:lnTo>
                  <a:lnTo>
                    <a:pt x="194945" y="269081"/>
                  </a:lnTo>
                  <a:cubicBezTo>
                    <a:pt x="197485" y="260826"/>
                    <a:pt x="200025" y="253206"/>
                    <a:pt x="202565" y="244951"/>
                  </a:cubicBezTo>
                  <a:cubicBezTo>
                    <a:pt x="247650" y="223996"/>
                    <a:pt x="276860" y="178276"/>
                    <a:pt x="276860" y="128746"/>
                  </a:cubicBezTo>
                  <a:cubicBezTo>
                    <a:pt x="276860" y="124936"/>
                    <a:pt x="276860" y="121761"/>
                    <a:pt x="276225" y="117951"/>
                  </a:cubicBezTo>
                  <a:cubicBezTo>
                    <a:pt x="281940"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90"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5" y="232886"/>
                  </a:cubicBezTo>
                  <a:cubicBezTo>
                    <a:pt x="50165" y="211931"/>
                    <a:pt x="26670" y="171926"/>
                    <a:pt x="26670" y="128111"/>
                  </a:cubicBezTo>
                  <a:lnTo>
                    <a:pt x="26670" y="128111"/>
                  </a:lnTo>
                  <a:close/>
                  <a:moveTo>
                    <a:pt x="187325" y="264636"/>
                  </a:moveTo>
                  <a:cubicBezTo>
                    <a:pt x="161290" y="272256"/>
                    <a:pt x="133350" y="272256"/>
                    <a:pt x="107315" y="264636"/>
                  </a:cubicBezTo>
                  <a:cubicBezTo>
                    <a:pt x="106045" y="259556"/>
                    <a:pt x="104140"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40" y="76676"/>
                    <a:pt x="253365" y="49371"/>
                    <a:pt x="229870" y="29686"/>
                  </a:cubicBezTo>
                  <a:cubicBezTo>
                    <a:pt x="234950" y="28416"/>
                    <a:pt x="240030" y="27781"/>
                    <a:pt x="245110" y="26511"/>
                  </a:cubicBezTo>
                  <a:lnTo>
                    <a:pt x="245110" y="26511"/>
                  </a:lnTo>
                  <a:close/>
                  <a:moveTo>
                    <a:pt x="147320" y="8096"/>
                  </a:moveTo>
                  <a:cubicBezTo>
                    <a:pt x="168910" y="8096"/>
                    <a:pt x="190500" y="13811"/>
                    <a:pt x="208915" y="25241"/>
                  </a:cubicBezTo>
                  <a:cubicBezTo>
                    <a:pt x="188595" y="28416"/>
                    <a:pt x="167640" y="29686"/>
                    <a:pt x="147320" y="29686"/>
                  </a:cubicBezTo>
                  <a:cubicBezTo>
                    <a:pt x="126365" y="29686"/>
                    <a:pt x="106045" y="27781"/>
                    <a:pt x="85725" y="24606"/>
                  </a:cubicBezTo>
                  <a:cubicBezTo>
                    <a:pt x="104140" y="13811"/>
                    <a:pt x="125730" y="7461"/>
                    <a:pt x="147320" y="8096"/>
                  </a:cubicBezTo>
                  <a:lnTo>
                    <a:pt x="147320" y="8096"/>
                  </a:lnTo>
                  <a:close/>
                  <a:moveTo>
                    <a:pt x="75565" y="31591"/>
                  </a:moveTo>
                  <a:cubicBezTo>
                    <a:pt x="99060" y="36036"/>
                    <a:pt x="123190" y="37941"/>
                    <a:pt x="147320" y="37941"/>
                  </a:cubicBezTo>
                  <a:cubicBezTo>
                    <a:pt x="171450" y="37941"/>
                    <a:pt x="195580" y="36036"/>
                    <a:pt x="219075" y="31591"/>
                  </a:cubicBezTo>
                  <a:cubicBezTo>
                    <a:pt x="245745" y="51276"/>
                    <a:pt x="262890" y="81756"/>
                    <a:pt x="266700" y="114776"/>
                  </a:cubicBezTo>
                  <a:cubicBezTo>
                    <a:pt x="235585" y="151606"/>
                    <a:pt x="211455" y="193516"/>
                    <a:pt x="194945" y="238601"/>
                  </a:cubicBezTo>
                  <a:cubicBezTo>
                    <a:pt x="164465" y="251936"/>
                    <a:pt x="129540" y="251936"/>
                    <a:pt x="98425" y="238601"/>
                  </a:cubicBezTo>
                  <a:cubicBezTo>
                    <a:pt x="81915" y="193516"/>
                    <a:pt x="57785" y="151606"/>
                    <a:pt x="26670" y="114776"/>
                  </a:cubicBezTo>
                  <a:cubicBezTo>
                    <a:pt x="31115" y="81756"/>
                    <a:pt x="48895" y="51276"/>
                    <a:pt x="75565" y="31591"/>
                  </a:cubicBezTo>
                  <a:close/>
                  <a:moveTo>
                    <a:pt x="49530" y="25876"/>
                  </a:moveTo>
                  <a:cubicBezTo>
                    <a:pt x="54610" y="27146"/>
                    <a:pt x="59690"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002733"/>
            </a:solidFill>
            <a:ln w="6350" cap="flat">
              <a:noFill/>
              <a:prstDash val="solid"/>
              <a:miter/>
            </a:ln>
          </p:spPr>
          <p:txBody>
            <a:bodyPr rtlCol="0" anchor="ctr"/>
            <a:lstStyle/>
            <a:p>
              <a:endParaRPr lang="en-GB"/>
            </a:p>
          </p:txBody>
        </p:sp>
      </p:grpSp>
      <p:sp>
        <p:nvSpPr>
          <p:cNvPr id="3" name="Date Placeholder 2"/>
          <p:cNvSpPr>
            <a:spLocks noGrp="1"/>
          </p:cNvSpPr>
          <p:nvPr>
            <p:ph type="dt" sz="half" idx="10"/>
          </p:nvPr>
        </p:nvSpPr>
        <p:spPr/>
        <p:txBody>
          <a:bodyPr/>
          <a:lstStyle/>
          <a:p>
            <a:fld id="{7134DA6F-27E8-4476-BE29-43520A327BA0}" type="datetime1">
              <a:rPr lang="zh-CN" altLang="en-US" smtClean="0"/>
            </a:fld>
            <a:endParaRPr lang="en-GB"/>
          </a:p>
        </p:txBody>
      </p:sp>
      <p:sp>
        <p:nvSpPr>
          <p:cNvPr id="4" name="Footer Placeholder 3"/>
          <p:cNvSpPr>
            <a:spLocks noGrp="1"/>
          </p:cNvSpPr>
          <p:nvPr>
            <p:ph type="ftr" sz="quarter" idx="11"/>
          </p:nvPr>
        </p:nvSpPr>
        <p:spPr/>
        <p:txBody>
          <a:bodyPr/>
          <a:lstStyle/>
          <a:p>
            <a:r>
              <a:rPr lang="en-US" smtClean="0"/>
              <a:t>Department VWA-DT  |  Hackathon Challenge Release  |  CSD-class</a:t>
            </a:r>
            <a:endParaRPr lang="en-GB"/>
          </a:p>
        </p:txBody>
      </p:sp>
      <p:sp>
        <p:nvSpPr>
          <p:cNvPr id="5" name="Slide Number Placeholder 4"/>
          <p:cNvSpPr>
            <a:spLocks noGrp="1"/>
          </p:cNvSpPr>
          <p:nvPr>
            <p:ph type="sldNum" sz="quarter" idx="12"/>
          </p:nvPr>
        </p:nvSpPr>
        <p:spPr/>
        <p:txBody>
          <a:bodyPr/>
          <a:lstStyle/>
          <a:p>
            <a:fld id="{53C98C43-8B83-4748-BA0D-B0C90A16569F}" type="slidenum">
              <a:rPr lang="en-GB" smtClean="0"/>
            </a:fld>
            <a:endParaRPr lang="en-GB"/>
          </a:p>
        </p:txBody>
      </p:sp>
      <p:sp>
        <p:nvSpPr>
          <p:cNvPr id="76" name="Rectangle 75"/>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dirty="0">
                <a:solidFill>
                  <a:srgbClr val="002733"/>
                </a:solidFill>
              </a:rPr>
              <a:t>These logos are available </a:t>
            </a:r>
            <a:br>
              <a:rPr lang="en-GB" sz="1000" dirty="0">
                <a:solidFill>
                  <a:srgbClr val="002733"/>
                </a:solidFill>
              </a:rPr>
            </a:br>
            <a:r>
              <a:rPr lang="en-GB" sz="1000" dirty="0">
                <a:solidFill>
                  <a:srgbClr val="002733"/>
                </a:solidFill>
              </a:rPr>
              <a:t>in master view.</a:t>
            </a:r>
            <a:endParaRPr lang="en-GB" sz="1000" dirty="0">
              <a:solidFill>
                <a:srgbClr val="002733"/>
              </a:solidFill>
            </a:endParaRPr>
          </a:p>
        </p:txBody>
      </p:sp>
      <p:sp>
        <p:nvSpPr>
          <p:cNvPr id="2" name="Freeform 1"/>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002733"/>
          </a:solidFill>
          <a:ln w="6350" cap="flat">
            <a:noFill/>
            <a:prstDash val="solid"/>
            <a:miter/>
          </a:ln>
        </p:spPr>
        <p:txBody>
          <a:bodyPr rtlCol="0" anchor="ctr"/>
          <a:lstStyle/>
          <a:p>
            <a:endParaRPr lang="en-GB"/>
          </a:p>
        </p:txBody>
      </p:sp>
      <p:pic>
        <p:nvPicPr>
          <p:cNvPr id="8" name="Graphic 7"/>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96092" y="3050112"/>
            <a:ext cx="550452" cy="736884"/>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showMasterSp="0" userDrawn="1">
  <p:cSld name="Final slide Deep Space Blue">
    <p:bg>
      <p:bgPr>
        <a:solidFill>
          <a:schemeClr val="bg2"/>
        </a:solidFill>
        <a:effectLst/>
      </p:bgPr>
    </p:bg>
    <p:spTree>
      <p:nvGrpSpPr>
        <p:cNvPr id="1" name=""/>
        <p:cNvGrpSpPr/>
        <p:nvPr/>
      </p:nvGrpSpPr>
      <p:grpSpPr>
        <a:xfrm>
          <a:off x="0" y="0"/>
          <a:ext cx="0" cy="0"/>
          <a:chOff x="0" y="0"/>
          <a:chExt cx="0" cy="0"/>
        </a:xfrm>
      </p:grpSpPr>
      <p:sp>
        <p:nvSpPr>
          <p:cNvPr id="7" name="Graphic 6"/>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endParaRPr lang="en-GB"/>
          </a:p>
        </p:txBody>
      </p:sp>
      <p:sp>
        <p:nvSpPr>
          <p:cNvPr id="8" name="Graphic 7"/>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37000">
                <a:srgbClr val="183F49">
                  <a:alpha val="23000"/>
                </a:srgbClr>
              </a:gs>
              <a:gs pos="24000">
                <a:srgbClr val="0D323D">
                  <a:alpha val="0"/>
                </a:srgbClr>
              </a:gs>
              <a:gs pos="53000">
                <a:srgbClr val="224B55">
                  <a:alpha val="60000"/>
                </a:srgbClr>
              </a:gs>
              <a:gs pos="72000">
                <a:srgbClr val="7E989F">
                  <a:alpha val="45000"/>
                </a:srgbClr>
              </a:gs>
              <a:gs pos="100000">
                <a:srgbClr val="7E989F"/>
              </a:gs>
            </a:gsLst>
            <a:lin ang="180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p:cNvSpPr>
            <a:spLocks noGrp="1"/>
          </p:cNvSpPr>
          <p:nvPr userDrawn="1">
            <p:ph type="ctrTitle" hasCustomPrompt="1"/>
          </p:nvPr>
        </p:nvSpPr>
        <p:spPr bwMode="auto">
          <a:xfrm>
            <a:off x="407988" y="1177189"/>
            <a:ext cx="6120000" cy="1828193"/>
          </a:xfrm>
        </p:spPr>
        <p:txBody>
          <a:bodyPr wrap="square" anchor="b">
            <a:spAutoFit/>
          </a:bodyPr>
          <a:lstStyle>
            <a:lvl1pPr algn="l">
              <a:defRPr sz="4400">
                <a:solidFill>
                  <a:srgbClr val="C2FE06"/>
                </a:solidFill>
              </a:defRPr>
            </a:lvl1pPr>
          </a:lstStyle>
          <a:p>
            <a:r>
              <a:rPr lang="en-US" noProof="0"/>
              <a:t>Final message in </a:t>
            </a:r>
            <a:br>
              <a:rPr lang="en-US" noProof="0"/>
            </a:br>
            <a:r>
              <a:rPr lang="en-US" noProof="0"/>
              <a:t>The Group Head Light 44pt, Electric Neon</a:t>
            </a:r>
            <a:endParaRPr lang="en-US" noProof="0"/>
          </a:p>
        </p:txBody>
      </p:sp>
      <p:sp>
        <p:nvSpPr>
          <p:cNvPr id="3" name="Untertitel 2"/>
          <p:cNvSpPr>
            <a:spLocks noGrp="1"/>
          </p:cNvSpPr>
          <p:nvPr userDrawn="1">
            <p:ph type="subTitle" idx="1" hasCustomPrompt="1"/>
          </p:nvPr>
        </p:nvSpPr>
        <p:spPr bwMode="auto">
          <a:xfrm>
            <a:off x="407036" y="3226587"/>
            <a:ext cx="6120000"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Contact Details</a:t>
            </a:r>
            <a:endParaRPr lang="en-US" noProof="0"/>
          </a:p>
        </p:txBody>
      </p:sp>
      <p:sp>
        <p:nvSpPr>
          <p:cNvPr id="30" name="Datumsplatzhalter 29"/>
          <p:cNvSpPr>
            <a:spLocks noGrp="1"/>
          </p:cNvSpPr>
          <p:nvPr userDrawn="1">
            <p:ph type="dt" sz="half" idx="15"/>
          </p:nvPr>
        </p:nvSpPr>
        <p:spPr bwMode="auto"/>
        <p:txBody>
          <a:bodyPr/>
          <a:lstStyle>
            <a:lvl1pPr>
              <a:defRPr>
                <a:solidFill>
                  <a:schemeClr val="accent4"/>
                </a:solidFill>
              </a:defRPr>
            </a:lvl1pPr>
          </a:lstStyle>
          <a:p>
            <a:fld id="{377B91F1-FA3C-4F22-9D9D-363203F30765}" type="datetime1">
              <a:rPr lang="zh-CN" altLang="en-US" noProof="0" smtClean="0"/>
            </a:fld>
            <a:endParaRPr lang="en-US" noProof="0"/>
          </a:p>
        </p:txBody>
      </p:sp>
      <p:sp>
        <p:nvSpPr>
          <p:cNvPr id="31" name="Fußzeilenplatzhalter 30"/>
          <p:cNvSpPr>
            <a:spLocks noGrp="1"/>
          </p:cNvSpPr>
          <p:nvPr userDrawn="1">
            <p:ph type="ftr" sz="quarter" idx="16"/>
          </p:nvPr>
        </p:nvSpPr>
        <p:spPr bwMode="auto"/>
        <p:txBody>
          <a:bodyPr/>
          <a:lstStyle>
            <a:lvl1pPr>
              <a:defRPr>
                <a:solidFill>
                  <a:schemeClr val="accent4"/>
                </a:solidFill>
              </a:defRPr>
            </a:lvl1pPr>
          </a:lstStyle>
          <a:p>
            <a:r>
              <a:rPr lang="en-US" noProof="0" smtClean="0"/>
              <a:t>Department VWA-DT  |  Hackathon Challenge Release  |  CSD-class</a:t>
            </a:r>
            <a:endParaRPr lang="en-US" noProof="0"/>
          </a:p>
        </p:txBody>
      </p:sp>
      <p:sp>
        <p:nvSpPr>
          <p:cNvPr id="32" name="Foliennummernplatzhalter 31"/>
          <p:cNvSpPr>
            <a:spLocks noGrp="1"/>
          </p:cNvSpPr>
          <p:nvPr userDrawn="1">
            <p:ph type="sldNum" sz="quarter" idx="17"/>
          </p:nvPr>
        </p:nvSpPr>
        <p:spPr bwMode="auto">
          <a:xfrm>
            <a:off x="11426400" y="6580800"/>
            <a:ext cx="360000" cy="126000"/>
          </a:xfrm>
        </p:spPr>
        <p:txBody>
          <a:bodyPr/>
          <a:lstStyle>
            <a:lvl1pPr>
              <a:defRPr>
                <a:solidFill>
                  <a:schemeClr val="accent4"/>
                </a:solidFill>
              </a:defRPr>
            </a:lvl1pPr>
          </a:lstStyle>
          <a:p>
            <a:fld id="{53C98C43-8B83-4748-BA0D-B0C90A16569F}" type="slidenum">
              <a:rPr lang="en-US" noProof="0" smtClean="0"/>
            </a:fld>
            <a:endParaRPr lang="en-US" noProof="0"/>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9367459" y="-1333"/>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ith gradient 2">
    <p:bg>
      <p:bgRef idx="1001">
        <a:schemeClr val="bg1"/>
      </p:bgRef>
    </p:bg>
    <p:spTree>
      <p:nvGrpSpPr>
        <p:cNvPr id="1" name=""/>
        <p:cNvGrpSpPr/>
        <p:nvPr/>
      </p:nvGrpSpPr>
      <p:grpSpPr>
        <a:xfrm>
          <a:off x="0" y="0"/>
          <a:ext cx="0" cy="0"/>
          <a:chOff x="0" y="0"/>
          <a:chExt cx="0" cy="0"/>
        </a:xfrm>
      </p:grpSpPr>
      <p:sp>
        <p:nvSpPr>
          <p:cNvPr id="4" name="Graphic 6"/>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8" name="Graphic 7"/>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endParaRPr lang="en-GB">
              <a:solidFill>
                <a:schemeClr val="tx1"/>
              </a:solidFill>
            </a:endParaRPr>
          </a:p>
        </p:txBody>
      </p:sp>
      <p:sp>
        <p:nvSpPr>
          <p:cNvPr id="2" name="Titel 1"/>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endParaRPr lang="en-US" noProof="0"/>
          </a:p>
        </p:txBody>
      </p:sp>
      <p:sp>
        <p:nvSpPr>
          <p:cNvPr id="3" name="Untertitel 2"/>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endParaRPr lang="en-US" noProof="0"/>
          </a:p>
        </p:txBody>
      </p:sp>
      <p:sp>
        <p:nvSpPr>
          <p:cNvPr id="5" name="Textplatzhalter 8"/>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endParaRPr lang="en-US" sz="1200" cap="all" baseline="0"/>
          </a:p>
        </p:txBody>
      </p:sp>
      <p:sp>
        <p:nvSpPr>
          <p:cNvPr id="9" name="Rectangle 8"/>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9375770" y="-1333"/>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uide: Shape language overview">
    <p:bg bwMode="gray">
      <p:bgRef idx="1001">
        <a:schemeClr val="bg1"/>
      </p:bgRef>
    </p:bg>
    <p:spTree>
      <p:nvGrpSpPr>
        <p:cNvPr id="1" name=""/>
        <p:cNvGrpSpPr/>
        <p:nvPr/>
      </p:nvGrpSpPr>
      <p:grpSpPr>
        <a:xfrm>
          <a:off x="0" y="0"/>
          <a:ext cx="0" cy="0"/>
          <a:chOff x="0" y="0"/>
          <a:chExt cx="0" cy="0"/>
        </a:xfrm>
      </p:grpSpPr>
      <p:pic>
        <p:nvPicPr>
          <p:cNvPr id="61" name="Grafik 8" descr="Ein Bild, das draußen, Baum, Wasser, Himmel enthält.&#10;&#10;Automatisch generierte Beschreibung"/>
          <p:cNvPicPr>
            <a:picLocks noChangeAspect="1"/>
          </p:cNvPicPr>
          <p:nvPr userDrawn="1"/>
        </p:nvPicPr>
        <p:blipFill rotWithShape="1">
          <a:blip r:embed="rId2" cstate="hqprint"/>
          <a:srcRect/>
          <a:stretch>
            <a:fillRect/>
          </a:stretch>
        </p:blipFill>
        <p:spPr bwMode="ltGray">
          <a:xfrm>
            <a:off x="9229626" y="1844703"/>
            <a:ext cx="2551176" cy="1571214"/>
          </a:xfrm>
          <a:prstGeom prst="rect">
            <a:avLst/>
          </a:prstGeom>
        </p:spPr>
      </p:pic>
      <p:sp>
        <p:nvSpPr>
          <p:cNvPr id="3" name="Datumsplatzhalter 2"/>
          <p:cNvSpPr>
            <a:spLocks noGrp="1"/>
          </p:cNvSpPr>
          <p:nvPr>
            <p:ph type="dt" sz="half" idx="10"/>
          </p:nvPr>
        </p:nvSpPr>
        <p:spPr bwMode="auto"/>
        <p:txBody>
          <a:bodyPr/>
          <a:lstStyle/>
          <a:p>
            <a:fld id="{378462A6-6B69-4E25-9EA1-A5A11CE6EAED}"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29" name="Title 5"/>
          <p:cNvSpPr txBox="1"/>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a:t>Shape language overview</a:t>
            </a:r>
            <a:endParaRPr lang="en-GB" noProof="0"/>
          </a:p>
        </p:txBody>
      </p:sp>
      <p:sp>
        <p:nvSpPr>
          <p:cNvPr id="30" name="Rectangle 29"/>
          <p:cNvSpPr/>
          <p:nvPr userDrawn="1"/>
        </p:nvSpPr>
        <p:spPr>
          <a:xfrm>
            <a:off x="411198" y="1844676"/>
            <a:ext cx="2551176" cy="3530584"/>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1" name="Rectangle 30"/>
          <p:cNvSpPr/>
          <p:nvPr userDrawn="1"/>
        </p:nvSpPr>
        <p:spPr>
          <a:xfrm>
            <a:off x="6292288" y="3804019"/>
            <a:ext cx="2551176" cy="15715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pic>
        <p:nvPicPr>
          <p:cNvPr id="32" name="Picture 31"/>
          <p:cNvPicPr>
            <a:picLocks noChangeAspect="1"/>
          </p:cNvPicPr>
          <p:nvPr userDrawn="1"/>
        </p:nvPicPr>
        <p:blipFill>
          <a:blip r:embed="rId3"/>
          <a:stretch>
            <a:fillRect/>
          </a:stretch>
        </p:blipFill>
        <p:spPr>
          <a:xfrm>
            <a:off x="6786409" y="4110373"/>
            <a:ext cx="1562934" cy="969020"/>
          </a:xfrm>
          <a:prstGeom prst="rect">
            <a:avLst/>
          </a:prstGeom>
        </p:spPr>
      </p:pic>
      <p:sp>
        <p:nvSpPr>
          <p:cNvPr id="33" name="Rectangle 32"/>
          <p:cNvSpPr/>
          <p:nvPr userDrawn="1"/>
        </p:nvSpPr>
        <p:spPr>
          <a:xfrm>
            <a:off x="3351743" y="1844676"/>
            <a:ext cx="2551176" cy="1571545"/>
          </a:xfrm>
          <a:prstGeom prst="rect">
            <a:avLst/>
          </a:prstGeom>
          <a:solidFill>
            <a:srgbClr val="D9EE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nvGrpSpPr>
          <p:cNvPr id="34" name="Group 33"/>
          <p:cNvGrpSpPr/>
          <p:nvPr userDrawn="1"/>
        </p:nvGrpSpPr>
        <p:grpSpPr bwMode="ltGray">
          <a:xfrm>
            <a:off x="3345393" y="1844676"/>
            <a:ext cx="2557526" cy="1571545"/>
            <a:chOff x="0" y="-21795"/>
            <a:chExt cx="12192000" cy="6881128"/>
          </a:xfrm>
        </p:grpSpPr>
        <p:sp>
          <p:nvSpPr>
            <p:cNvPr id="35" name="Rectangle 34"/>
            <p:cNvSpPr/>
            <p:nvPr/>
          </p:nvSpPr>
          <p:spPr bwMode="ltGray">
            <a:xfrm>
              <a:off x="0" y="-21795"/>
              <a:ext cx="12192000" cy="687979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Graphic 7"/>
            <p:cNvSpPr/>
            <p:nvPr/>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37" name="Rectangle 36"/>
          <p:cNvSpPr/>
          <p:nvPr userDrawn="1"/>
        </p:nvSpPr>
        <p:spPr>
          <a:xfrm>
            <a:off x="6292288" y="1844676"/>
            <a:ext cx="2551176" cy="1571545"/>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8" name="Rectangle 37"/>
          <p:cNvSpPr/>
          <p:nvPr userDrawn="1"/>
        </p:nvSpPr>
        <p:spPr bwMode="invGray">
          <a:xfrm>
            <a:off x="3351743" y="3804019"/>
            <a:ext cx="2551176" cy="157154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9" name="Title 4"/>
          <p:cNvSpPr txBox="1"/>
          <p:nvPr userDrawn="1"/>
        </p:nvSpPr>
        <p:spPr bwMode="gray">
          <a:xfrm>
            <a:off x="589601" y="2459744"/>
            <a:ext cx="2194370" cy="11633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2800" b="0" i="0" u="none" strike="noStrike" kern="1200" cap="none" spc="0" normalizeH="0" baseline="0" noProof="0">
                <a:ln>
                  <a:noFill/>
                </a:ln>
                <a:solidFill>
                  <a:srgbClr val="002733"/>
                </a:solidFill>
                <a:effectLst/>
                <a:uLnTx/>
                <a:uFillTx/>
                <a:latin typeface="The Group HEAD Light" panose="00000400000000000000" pitchFamily="2" charset="0"/>
                <a:ea typeface="+mj-ea"/>
                <a:cs typeface="+mj-cs"/>
              </a:rPr>
              <a:t>Headline in The Group Head</a:t>
            </a:r>
            <a:endParaRPr kumimoji="0" lang="en-GB" sz="2800" b="0" i="0" u="none" strike="noStrike" kern="1200" cap="none" spc="0" normalizeH="0" baseline="0" noProof="0">
              <a:ln>
                <a:noFill/>
              </a:ln>
              <a:solidFill>
                <a:srgbClr val="002733"/>
              </a:solidFill>
              <a:effectLst/>
              <a:uLnTx/>
              <a:uFillTx/>
              <a:latin typeface="The Group HEAD Light" panose="00000400000000000000" pitchFamily="2" charset="0"/>
              <a:ea typeface="+mj-ea"/>
              <a:cs typeface="+mj-cs"/>
            </a:endParaRPr>
          </a:p>
        </p:txBody>
      </p:sp>
      <p:sp>
        <p:nvSpPr>
          <p:cNvPr id="40" name="Title 4"/>
          <p:cNvSpPr txBox="1"/>
          <p:nvPr userDrawn="1"/>
        </p:nvSpPr>
        <p:spPr bwMode="gray">
          <a:xfrm>
            <a:off x="589601" y="3701899"/>
            <a:ext cx="219437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800" b="0" i="0" u="none" strike="noStrike" kern="1200" cap="none" spc="0" normalizeH="0" baseline="0" noProof="0" dirty="0">
                <a:ln>
                  <a:noFill/>
                </a:ln>
                <a:solidFill>
                  <a:srgbClr val="008C82"/>
                </a:solidFill>
                <a:effectLst/>
                <a:uLnTx/>
                <a:uFillTx/>
                <a:latin typeface="The Group TEXT" panose="00000500000000000000" pitchFamily="2" charset="0"/>
                <a:ea typeface="+mj-ea"/>
                <a:cs typeface="+mj-cs"/>
              </a:rPr>
              <a:t>Subheadline in </a:t>
            </a:r>
            <a:br>
              <a:rPr kumimoji="0" lang="en-GB" sz="1800" b="0" i="0" u="none" strike="noStrike" kern="1200" cap="none" spc="0" normalizeH="0" baseline="0" noProof="0" dirty="0">
                <a:ln>
                  <a:noFill/>
                </a:ln>
                <a:solidFill>
                  <a:srgbClr val="008C82"/>
                </a:solidFill>
                <a:effectLst/>
                <a:uLnTx/>
                <a:uFillTx/>
                <a:latin typeface="The Group TEXT" panose="00000500000000000000" pitchFamily="2" charset="0"/>
                <a:ea typeface="+mj-ea"/>
                <a:cs typeface="+mj-cs"/>
              </a:rPr>
            </a:br>
            <a:r>
              <a:rPr kumimoji="0" lang="en-GB" sz="1800" b="0" i="0" u="none" strike="noStrike" kern="1200" cap="none" spc="0" normalizeH="0" baseline="0" noProof="0" dirty="0">
                <a:ln>
                  <a:noFill/>
                </a:ln>
                <a:solidFill>
                  <a:srgbClr val="008C82"/>
                </a:solidFill>
                <a:effectLst/>
                <a:uLnTx/>
                <a:uFillTx/>
                <a:latin typeface="The Group TEXT" panose="00000500000000000000" pitchFamily="2" charset="0"/>
                <a:ea typeface="+mj-ea"/>
                <a:cs typeface="+mj-cs"/>
              </a:rPr>
              <a:t>The Group Text</a:t>
            </a:r>
            <a:endParaRPr kumimoji="0" lang="en-GB" sz="1800" b="0" i="0" u="none" strike="noStrike" kern="1200" cap="none" spc="0" normalizeH="0" baseline="0" noProof="0" dirty="0">
              <a:ln>
                <a:noFill/>
              </a:ln>
              <a:solidFill>
                <a:srgbClr val="008C82"/>
              </a:solidFill>
              <a:effectLst/>
              <a:uLnTx/>
              <a:uFillTx/>
              <a:latin typeface="The Group TEXT" panose="00000500000000000000" pitchFamily="2" charset="0"/>
              <a:ea typeface="+mj-ea"/>
              <a:cs typeface="+mj-cs"/>
            </a:endParaRPr>
          </a:p>
        </p:txBody>
      </p:sp>
      <p:sp>
        <p:nvSpPr>
          <p:cNvPr id="41" name="Title 4"/>
          <p:cNvSpPr txBox="1"/>
          <p:nvPr userDrawn="1"/>
        </p:nvSpPr>
        <p:spPr bwMode="gray">
          <a:xfrm>
            <a:off x="589601" y="4533519"/>
            <a:ext cx="2194370" cy="664797"/>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Lorem ipsum dolor sit amet, </a:t>
            </a:r>
            <a:endPar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defRPr/>
            </a:pP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Consectetuer adipiscing elit, </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sed diam nonummy nibh.</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sp>
        <p:nvSpPr>
          <p:cNvPr id="42" name="Title 4"/>
          <p:cNvSpPr txBox="1"/>
          <p:nvPr userDrawn="1"/>
        </p:nvSpPr>
        <p:spPr bwMode="black">
          <a:xfrm>
            <a:off x="352697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phical elements</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3" name="Title 4"/>
          <p:cNvSpPr txBox="1"/>
          <p:nvPr userDrawn="1"/>
        </p:nvSpPr>
        <p:spPr bwMode="black">
          <a:xfrm>
            <a:off x="352697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dien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4" name="Title 4"/>
          <p:cNvSpPr txBox="1"/>
          <p:nvPr userDrawn="1"/>
        </p:nvSpPr>
        <p:spPr bwMode="gray">
          <a:xfrm>
            <a:off x="58960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yp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sp>
        <p:nvSpPr>
          <p:cNvPr id="45" name="Title 4"/>
          <p:cNvSpPr txBox="1"/>
          <p:nvPr userDrawn="1"/>
        </p:nvSpPr>
        <p:spPr bwMode="gray">
          <a:xfrm>
            <a:off x="647069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Char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6" name="Title 4"/>
          <p:cNvSpPr txBox="1"/>
          <p:nvPr userDrawn="1"/>
        </p:nvSpPr>
        <p:spPr bwMode="black">
          <a:xfrm>
            <a:off x="9408029"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Photography</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7" name="Title 4"/>
          <p:cNvSpPr txBox="1"/>
          <p:nvPr userDrawn="1"/>
        </p:nvSpPr>
        <p:spPr bwMode="black">
          <a:xfrm>
            <a:off x="647069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Icon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cxnSp>
        <p:nvCxnSpPr>
          <p:cNvPr id="48" name="Straight Connector 47"/>
          <p:cNvCxnSpPr/>
          <p:nvPr userDrawn="1"/>
        </p:nvCxnSpPr>
        <p:spPr>
          <a:xfrm>
            <a:off x="3526971" y="4517866"/>
            <a:ext cx="2194370" cy="0"/>
          </a:xfrm>
          <a:prstGeom prst="line">
            <a:avLst/>
          </a:prstGeom>
          <a:ln w="9525">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userDrawn="1"/>
        </p:nvCxnSpPr>
        <p:spPr>
          <a:xfrm>
            <a:off x="3526971" y="4624753"/>
            <a:ext cx="2194370" cy="0"/>
          </a:xfrm>
          <a:prstGeom prst="line">
            <a:avLst/>
          </a:prstGeom>
          <a:ln w="9525">
            <a:solidFill>
              <a:srgbClr val="99A9AD"/>
            </a:solidFill>
            <a:prstDash val="sysDot"/>
            <a:tailEnd type="none" w="med" len="sm"/>
          </a:ln>
        </p:spPr>
        <p:style>
          <a:lnRef idx="1">
            <a:schemeClr val="accent1"/>
          </a:lnRef>
          <a:fillRef idx="0">
            <a:schemeClr val="accent1"/>
          </a:fillRef>
          <a:effectRef idx="0">
            <a:schemeClr val="accent1"/>
          </a:effectRef>
          <a:fontRef idx="minor">
            <a:schemeClr val="tx1"/>
          </a:fontRef>
        </p:style>
      </p:cxnSp>
      <p:sp>
        <p:nvSpPr>
          <p:cNvPr id="50" name="Title 4"/>
          <p:cNvSpPr txBox="1"/>
          <p:nvPr userDrawn="1"/>
        </p:nvSpPr>
        <p:spPr bwMode="black">
          <a:xfrm>
            <a:off x="3526971" y="4313985"/>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Arrow and separator lines at 0.75pt</a:t>
            </a:r>
            <a:endPar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cxnSp>
        <p:nvCxnSpPr>
          <p:cNvPr id="51" name="Straight Connector 50"/>
          <p:cNvCxnSpPr/>
          <p:nvPr userDrawn="1"/>
        </p:nvCxnSpPr>
        <p:spPr>
          <a:xfrm>
            <a:off x="3526971" y="5030995"/>
            <a:ext cx="2194370" cy="0"/>
          </a:xfrm>
          <a:prstGeom prst="line">
            <a:avLst/>
          </a:prstGeom>
          <a:ln w="19050">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3526971" y="5137882"/>
            <a:ext cx="2194370" cy="0"/>
          </a:xfrm>
          <a:prstGeom prst="line">
            <a:avLst/>
          </a:prstGeom>
          <a:ln w="19050">
            <a:solidFill>
              <a:schemeClr val="bg1"/>
            </a:solidFill>
            <a:prstDash val="solid"/>
            <a:tailEnd type="none" w="med" len="sm"/>
          </a:ln>
        </p:spPr>
        <p:style>
          <a:lnRef idx="1">
            <a:schemeClr val="accent1"/>
          </a:lnRef>
          <a:fillRef idx="0">
            <a:schemeClr val="accent1"/>
          </a:fillRef>
          <a:effectRef idx="0">
            <a:schemeClr val="accent1"/>
          </a:effectRef>
          <a:fontRef idx="minor">
            <a:schemeClr val="tx1"/>
          </a:fontRef>
        </p:style>
      </p:cxnSp>
      <p:sp>
        <p:nvSpPr>
          <p:cNvPr id="53" name="Title 4"/>
          <p:cNvSpPr txBox="1"/>
          <p:nvPr userDrawn="1"/>
        </p:nvSpPr>
        <p:spPr bwMode="black">
          <a:xfrm>
            <a:off x="3526971" y="4827114"/>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Emphasis line at 1.5pt</a:t>
            </a:r>
            <a:endPar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54" name="Oval 53"/>
          <p:cNvSpPr/>
          <p:nvPr userDrawn="1"/>
        </p:nvSpPr>
        <p:spPr>
          <a:xfrm>
            <a:off x="2805695"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55" name="Title 4"/>
          <p:cNvSpPr txBox="1"/>
          <p:nvPr userDrawn="1"/>
        </p:nvSpPr>
        <p:spPr bwMode="gray">
          <a:xfrm>
            <a:off x="2760627" y="5800104"/>
            <a:ext cx="187056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Use sharp corners for </a:t>
            </a:r>
            <a:b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b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ext boxes and image placeholders.</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sp>
        <p:nvSpPr>
          <p:cNvPr id="56" name="Oval 55"/>
          <p:cNvSpPr/>
          <p:nvPr userDrawn="1"/>
        </p:nvSpPr>
        <p:spPr>
          <a:xfrm>
            <a:off x="3203996"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cxnSp>
        <p:nvCxnSpPr>
          <p:cNvPr id="57" name="Straight Connector 56"/>
          <p:cNvCxnSpPr>
            <a:stCxn id="54" idx="4"/>
          </p:cNvCxnSpPr>
          <p:nvPr userDrawn="1"/>
        </p:nvCxnSpPr>
        <p:spPr>
          <a:xfrm>
            <a:off x="2962374"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3358805"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60" name="Textplatzhalter 5"/>
          <p:cNvSpPr txBox="1"/>
          <p:nvPr userDrawn="1"/>
        </p:nvSpPr>
        <p:spPr bwMode="black">
          <a:xfrm>
            <a:off x="9229625" y="3804019"/>
            <a:ext cx="2754393" cy="1571241"/>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79705" indent="-179705" algn="l" defTabSz="914400" rtl="0" eaLnBrk="1" latinLnBrk="0" hangingPunct="1">
              <a:lnSpc>
                <a:spcPct val="100000"/>
              </a:lnSpc>
              <a:spcBef>
                <a:spcPts val="600"/>
              </a:spcBef>
              <a:buFont typeface="The Group TEXT" panose="00000500000000000000" pitchFamily="2" charset="0"/>
              <a:buChar char="•"/>
              <a:defRPr sz="1400" kern="1200">
                <a:solidFill>
                  <a:schemeClr val="tx2"/>
                </a:solidFill>
                <a:latin typeface="+mn-lt"/>
                <a:ea typeface="+mn-ea"/>
                <a:cs typeface="+mn-cs"/>
              </a:defRPr>
            </a:lvl3pPr>
            <a:lvl4pPr marL="431800" indent="-252095"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79705"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sz="1200" b="0" dirty="0"/>
              <a:t>Relevant assets available on the Volkswagen Group </a:t>
            </a:r>
            <a:r>
              <a:rPr lang="en-GB" sz="1200" b="0"/>
              <a:t>CD portal.</a:t>
            </a:r>
            <a:endParaRPr lang="en-GB" sz="1200" dirty="0"/>
          </a:p>
          <a:p>
            <a:endParaRPr lang="en-GB" sz="1200" dirty="0"/>
          </a:p>
        </p:txBody>
      </p:sp>
      <p:pic>
        <p:nvPicPr>
          <p:cNvPr id="21" name="Graphic 20"/>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714739" y="2563151"/>
            <a:ext cx="213644" cy="323806"/>
          </a:xfrm>
          <a:prstGeom prst="rect">
            <a:avLst/>
          </a:prstGeom>
        </p:spPr>
      </p:pic>
      <p:pic>
        <p:nvPicPr>
          <p:cNvPr id="23" name="Graphic 22"/>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191853" y="2604879"/>
            <a:ext cx="290424" cy="240350"/>
          </a:xfrm>
          <a:prstGeom prst="rect">
            <a:avLst/>
          </a:prstGeom>
        </p:spPr>
      </p:pic>
      <p:pic>
        <p:nvPicPr>
          <p:cNvPr id="25" name="Graphic 24"/>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583093" y="2563151"/>
            <a:ext cx="261662" cy="323806"/>
          </a:xfrm>
          <a:prstGeom prst="rect">
            <a:avLst/>
          </a:prstGeom>
        </p:spPr>
      </p:pic>
      <p:pic>
        <p:nvPicPr>
          <p:cNvPr id="62" name="Graphic 61"/>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121868" y="2563151"/>
            <a:ext cx="323806" cy="323806"/>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uide: Colour specification">
    <p:bg bwMode="gray">
      <p:bgRef idx="1001">
        <a:schemeClr val="bg1"/>
      </p:bgRef>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73333" t="11831" r="14047" b="48933"/>
          <a:stretch>
            <a:fillRect/>
          </a:stretch>
        </p:blipFill>
        <p:spPr>
          <a:xfrm>
            <a:off x="407985" y="1848022"/>
            <a:ext cx="1914889" cy="3347382"/>
          </a:xfrm>
          <a:prstGeom prst="rect">
            <a:avLst/>
          </a:prstGeom>
        </p:spPr>
      </p:pic>
      <p:sp>
        <p:nvSpPr>
          <p:cNvPr id="3" name="Datumsplatzhalter 2"/>
          <p:cNvSpPr>
            <a:spLocks noGrp="1"/>
          </p:cNvSpPr>
          <p:nvPr>
            <p:ph type="dt" sz="half" idx="10"/>
          </p:nvPr>
        </p:nvSpPr>
        <p:spPr bwMode="auto"/>
        <p:txBody>
          <a:bodyPr/>
          <a:lstStyle/>
          <a:p>
            <a:fld id="{68FABA82-F45E-46E5-957C-7618B1CA2748}"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30" name="Titel 2"/>
          <p:cNvSpPr txBox="1"/>
          <p:nvPr userDrawn="1"/>
        </p:nvSpPr>
        <p:spPr bwMode="black">
          <a:xfrm>
            <a:off x="407986" y="5443734"/>
            <a:ext cx="1928339" cy="73388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spcAft>
                <a:spcPts val="0"/>
              </a:spcAft>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rPr>
              <a:t>Please use only Theme</a:t>
            </a:r>
            <a:b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rPr>
            </a:b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rPr>
              <a:t>and Custom Colours — </a:t>
            </a:r>
            <a:r>
              <a:rPr lang="en-GB" sz="1200" b="0">
                <a:solidFill>
                  <a:schemeClr val="tx2"/>
                </a:solidFill>
                <a:latin typeface="The Group TEXT" panose="00000500000000000000" pitchFamily="2" charset="0"/>
                <a:cs typeface="The Group TEXT" panose="00000500000000000000" pitchFamily="2" charset="0"/>
              </a:rPr>
              <a:t>do NOT </a:t>
            </a: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rPr>
              <a:t>use automated tints generated by PowerPoint.</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endParaRPr>
          </a:p>
        </p:txBody>
      </p:sp>
      <p:sp>
        <p:nvSpPr>
          <p:cNvPr id="31" name="Title 5"/>
          <p:cNvSpPr txBox="1"/>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dirty="0"/>
              <a:t>Colour specifications </a:t>
            </a:r>
            <a:endParaRPr lang="en-GB" noProof="0" dirty="0"/>
          </a:p>
        </p:txBody>
      </p:sp>
      <p:grpSp>
        <p:nvGrpSpPr>
          <p:cNvPr id="32" name="Group 31"/>
          <p:cNvGrpSpPr/>
          <p:nvPr userDrawn="1"/>
        </p:nvGrpSpPr>
        <p:grpSpPr>
          <a:xfrm>
            <a:off x="421993" y="2389336"/>
            <a:ext cx="1914331" cy="2777040"/>
            <a:chOff x="10651997" y="2418364"/>
            <a:chExt cx="1914331" cy="2777040"/>
          </a:xfrm>
        </p:grpSpPr>
        <p:sp>
          <p:nvSpPr>
            <p:cNvPr id="34" name="Rechteck 111"/>
            <p:cNvSpPr/>
            <p:nvPr/>
          </p:nvSpPr>
          <p:spPr>
            <a:xfrm>
              <a:off x="10665447" y="2418364"/>
              <a:ext cx="1900881" cy="87927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Rechteck 111"/>
            <p:cNvSpPr/>
            <p:nvPr/>
          </p:nvSpPr>
          <p:spPr>
            <a:xfrm>
              <a:off x="10651997" y="4651237"/>
              <a:ext cx="1900881" cy="54416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61" name="Rounded Rectangle 63"/>
          <p:cNvSpPr/>
          <p:nvPr userDrawn="1"/>
        </p:nvSpPr>
        <p:spPr bwMode="gray">
          <a:xfrm>
            <a:off x="3144412" y="3954119"/>
            <a:ext cx="1546344" cy="484188"/>
          </a:xfrm>
          <a:prstGeom prst="rect">
            <a:avLst/>
          </a:prstGeom>
          <a:solidFill>
            <a:srgbClr val="E6736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rPr>
              <a:t>Coral</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E67364</a:t>
            </a:r>
            <a:endPar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endParaRPr>
          </a:p>
        </p:txBody>
      </p:sp>
      <p:sp>
        <p:nvSpPr>
          <p:cNvPr id="62" name="Titel 2"/>
          <p:cNvSpPr txBox="1"/>
          <p:nvPr userDrawn="1"/>
        </p:nvSpPr>
        <p:spPr bwMode="black">
          <a:xfrm>
            <a:off x="3144411" y="3665186"/>
            <a:ext cx="6324143" cy="197164"/>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rPr>
              <a:t>Secondary palette </a:t>
            </a:r>
            <a:r>
              <a:rPr lang="en-GB" sz="900" b="0">
                <a:solidFill>
                  <a:schemeClr val="tx2"/>
                </a:solidFill>
                <a:latin typeface="The Group TEXT" panose="00000500000000000000" pitchFamily="2" charset="0"/>
                <a:cs typeface="The Group TEXT" panose="00000500000000000000" pitchFamily="2" charset="0"/>
              </a:rPr>
              <a:t>— these colours can be used to emphasise/highlight data</a:t>
            </a:r>
            <a:endParaRPr lang="en-GB" sz="900" b="0">
              <a:solidFill>
                <a:schemeClr val="tx2"/>
              </a:solidFill>
              <a:latin typeface="The Group TEXT" panose="00000500000000000000" pitchFamily="2" charset="0"/>
              <a:cs typeface="The Group TEXT" panose="00000500000000000000" pitchFamily="2" charset="0"/>
            </a:endParaRPr>
          </a:p>
        </p:txBody>
      </p:sp>
      <p:sp>
        <p:nvSpPr>
          <p:cNvPr id="63" name="Rounded Rectangle 63"/>
          <p:cNvSpPr/>
          <p:nvPr userDrawn="1"/>
        </p:nvSpPr>
        <p:spPr bwMode="gray">
          <a:xfrm>
            <a:off x="3144412" y="5693958"/>
            <a:ext cx="1546344" cy="484188"/>
          </a:xfrm>
          <a:prstGeom prst="rect">
            <a:avLst/>
          </a:prstGeom>
          <a:solidFill>
            <a:srgbClr val="DA0C1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0000500000000000000" pitchFamily="2" charset="0"/>
              </a:rPr>
              <a:t>Red</a:t>
            </a:r>
            <a:endPar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 DA0C1F</a:t>
            </a:r>
            <a:endPar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64" name="Titel 2"/>
          <p:cNvSpPr txBox="1"/>
          <p:nvPr userDrawn="1"/>
        </p:nvSpPr>
        <p:spPr bwMode="black">
          <a:xfrm>
            <a:off x="3144412" y="5405025"/>
            <a:ext cx="4731544" cy="197164"/>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rPr>
              <a:t>Traffic light system </a:t>
            </a:r>
            <a:r>
              <a:rPr lang="en-GB" sz="900" b="0">
                <a:solidFill>
                  <a:schemeClr val="tx2"/>
                </a:solidFill>
                <a:latin typeface="The Group TEXT" panose="00000500000000000000" pitchFamily="2" charset="0"/>
                <a:cs typeface="The Group TEXT" panose="00000500000000000000" pitchFamily="2" charset="0"/>
              </a:rPr>
              <a:t>— only for showcasing process</a:t>
            </a:r>
            <a:endParaRPr lang="en-GB" sz="900" b="0">
              <a:solidFill>
                <a:schemeClr val="tx2"/>
              </a:solidFill>
              <a:latin typeface="The Group TEXT" panose="00000500000000000000" pitchFamily="2" charset="0"/>
              <a:cs typeface="The Group TEXT" panose="00000500000000000000" pitchFamily="2" charset="0"/>
            </a:endParaRPr>
          </a:p>
        </p:txBody>
      </p:sp>
      <p:sp>
        <p:nvSpPr>
          <p:cNvPr id="65" name="Rounded Rectangle 63"/>
          <p:cNvSpPr/>
          <p:nvPr userDrawn="1"/>
        </p:nvSpPr>
        <p:spPr bwMode="gray">
          <a:xfrm>
            <a:off x="4737012" y="5693958"/>
            <a:ext cx="1542434" cy="484188"/>
          </a:xfrm>
          <a:prstGeom prst="rect">
            <a:avLst/>
          </a:prstGeom>
          <a:solidFill>
            <a:srgbClr val="FCCD2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rPr>
              <a:t>Amber</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CCD22</a:t>
            </a:r>
            <a:endPar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endParaRPr>
          </a:p>
        </p:txBody>
      </p:sp>
      <p:sp>
        <p:nvSpPr>
          <p:cNvPr id="66" name="Rounded Rectangle 63"/>
          <p:cNvSpPr/>
          <p:nvPr userDrawn="1"/>
        </p:nvSpPr>
        <p:spPr bwMode="gray">
          <a:xfrm>
            <a:off x="4737012" y="3954119"/>
            <a:ext cx="1546344" cy="484188"/>
          </a:xfrm>
          <a:prstGeom prst="rect">
            <a:avLst/>
          </a:prstGeom>
          <a:solidFill>
            <a:srgbClr val="FAAA3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rPr>
              <a:t>Orange</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AAA3C</a:t>
            </a:r>
            <a:endPar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endParaRPr>
          </a:p>
        </p:txBody>
      </p:sp>
      <p:sp>
        <p:nvSpPr>
          <p:cNvPr id="67" name="Rounded Rectangle 63"/>
          <p:cNvSpPr/>
          <p:nvPr userDrawn="1"/>
        </p:nvSpPr>
        <p:spPr bwMode="gray">
          <a:xfrm>
            <a:off x="6329612" y="3954119"/>
            <a:ext cx="1546344" cy="484188"/>
          </a:xfrm>
          <a:prstGeom prst="rect">
            <a:avLst/>
          </a:prstGeom>
          <a:solidFill>
            <a:srgbClr val="FAD2A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rPr>
              <a:t>Beige</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endParaRPr>
          </a:p>
          <a:p>
            <a:pPr algn="ctr">
              <a:defRPr/>
            </a:pPr>
            <a:r>
              <a:rPr lang="en-GB" sz="800">
                <a:solidFill>
                  <a:schemeClr val="tx2"/>
                </a:solidFill>
                <a:latin typeface="The Group TEXT" panose="00000500000000000000" pitchFamily="2" charset="0"/>
              </a:rPr>
              <a:t>#FAD2AA</a:t>
            </a:r>
            <a:endParaRPr lang="en-GB" sz="800">
              <a:solidFill>
                <a:schemeClr val="tx2"/>
              </a:solidFill>
              <a:latin typeface="The Group TEXT" panose="00000500000000000000" pitchFamily="2" charset="0"/>
            </a:endParaRPr>
          </a:p>
        </p:txBody>
      </p:sp>
      <p:sp>
        <p:nvSpPr>
          <p:cNvPr id="68" name="Rounded Rectangle 63"/>
          <p:cNvSpPr/>
          <p:nvPr userDrawn="1"/>
        </p:nvSpPr>
        <p:spPr bwMode="gray">
          <a:xfrm>
            <a:off x="7922211" y="3954119"/>
            <a:ext cx="1546344" cy="484188"/>
          </a:xfrm>
          <a:prstGeom prst="rect">
            <a:avLst/>
          </a:prstGeom>
          <a:solidFill>
            <a:srgbClr val="8CBE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rPr>
              <a:t>Blue</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8CBEE6</a:t>
            </a:r>
            <a:endPar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endParaRPr>
          </a:p>
        </p:txBody>
      </p:sp>
      <p:sp>
        <p:nvSpPr>
          <p:cNvPr id="69" name="Rounded Rectangle 63"/>
          <p:cNvSpPr/>
          <p:nvPr userDrawn="1"/>
        </p:nvSpPr>
        <p:spPr bwMode="gray">
          <a:xfrm>
            <a:off x="3144412" y="4497093"/>
            <a:ext cx="1546344" cy="484188"/>
          </a:xfrm>
          <a:prstGeom prst="rect">
            <a:avLst/>
          </a:prstGeom>
          <a:solidFill>
            <a:srgbClr val="C882B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rPr>
              <a:t>Violet</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882BE</a:t>
            </a:r>
            <a:endPar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endParaRPr>
          </a:p>
        </p:txBody>
      </p:sp>
      <p:sp>
        <p:nvSpPr>
          <p:cNvPr id="70" name="Rounded Rectangle 63"/>
          <p:cNvSpPr/>
          <p:nvPr userDrawn="1"/>
        </p:nvSpPr>
        <p:spPr bwMode="gray">
          <a:xfrm>
            <a:off x="4737012" y="4497093"/>
            <a:ext cx="1546344" cy="484188"/>
          </a:xfrm>
          <a:prstGeom prst="rect">
            <a:avLst/>
          </a:prstGeom>
          <a:solidFill>
            <a:srgbClr val="DCCD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rPr>
              <a:t>Lavender</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DCCDF0</a:t>
            </a:r>
            <a:endPar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endParaRPr>
          </a:p>
        </p:txBody>
      </p:sp>
      <p:sp>
        <p:nvSpPr>
          <p:cNvPr id="71" name="Rounded Rectangle 63"/>
          <p:cNvSpPr/>
          <p:nvPr userDrawn="1"/>
        </p:nvSpPr>
        <p:spPr bwMode="gray">
          <a:xfrm>
            <a:off x="6333522" y="5693958"/>
            <a:ext cx="1542434" cy="484188"/>
          </a:xfrm>
          <a:prstGeom prst="rect">
            <a:avLst/>
          </a:prstGeom>
          <a:solidFill>
            <a:srgbClr val="64A84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0000500000000000000" pitchFamily="2" charset="0"/>
              </a:rPr>
              <a:t>Green</a:t>
            </a:r>
            <a:endPar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C2FE06</a:t>
            </a:r>
            <a:endPar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endParaRPr>
          </a:p>
        </p:txBody>
      </p:sp>
      <p:sp>
        <p:nvSpPr>
          <p:cNvPr id="2" name="Rounded Rectangle 63"/>
          <p:cNvSpPr/>
          <p:nvPr userDrawn="1"/>
        </p:nvSpPr>
        <p:spPr bwMode="gray">
          <a:xfrm>
            <a:off x="3144412" y="2287969"/>
            <a:ext cx="1546344" cy="484188"/>
          </a:xfrm>
          <a:prstGeom prst="rect">
            <a:avLst/>
          </a:prstGeom>
          <a:solidFill>
            <a:srgbClr val="00273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0000500000000000000" pitchFamily="2" charset="0"/>
              </a:rPr>
              <a:t>Deep Space Blue</a:t>
            </a:r>
            <a:endPar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002733</a:t>
            </a:r>
            <a:endPar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8" name="Titel 2"/>
          <p:cNvSpPr txBox="1"/>
          <p:nvPr userDrawn="1"/>
        </p:nvSpPr>
        <p:spPr bwMode="black">
          <a:xfrm>
            <a:off x="3144412" y="1840923"/>
            <a:ext cx="1501621" cy="355278"/>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rPr>
              <a:t>Primary palette</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endParaRPr>
          </a:p>
        </p:txBody>
      </p:sp>
      <p:sp>
        <p:nvSpPr>
          <p:cNvPr id="9" name="Rounded Rectangle 63"/>
          <p:cNvSpPr/>
          <p:nvPr userDrawn="1"/>
        </p:nvSpPr>
        <p:spPr bwMode="gray">
          <a:xfrm>
            <a:off x="3144412" y="2829561"/>
            <a:ext cx="1546344" cy="484188"/>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0000500000000000000" pitchFamily="2" charset="0"/>
              </a:rPr>
              <a:t>Vivid Green</a:t>
            </a:r>
            <a:endPar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008C82</a:t>
            </a:r>
            <a:endPar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endParaRPr>
          </a:p>
        </p:txBody>
      </p:sp>
      <p:sp>
        <p:nvSpPr>
          <p:cNvPr id="10" name="Rectangle 9"/>
          <p:cNvSpPr/>
          <p:nvPr userDrawn="1"/>
        </p:nvSpPr>
        <p:spPr>
          <a:xfrm>
            <a:off x="4737887" y="2287969"/>
            <a:ext cx="484188" cy="484188"/>
          </a:xfrm>
          <a:prstGeom prst="rect">
            <a:avLst/>
          </a:prstGeom>
          <a:solidFill>
            <a:srgbClr val="193D4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0000500000000000000" pitchFamily="2" charset="0"/>
              </a:rPr>
              <a:t>90%</a:t>
            </a:r>
            <a:endParaRPr lang="en-GB" sz="1200">
              <a:solidFill>
                <a:srgbClr val="FFFFFF"/>
              </a:solidFill>
              <a:latin typeface="The Group TEXT" panose="00000500000000000000" pitchFamily="2" charset="0"/>
              <a:cs typeface="The Group TEXT" panose="00000500000000000000" pitchFamily="2" charset="0"/>
            </a:endParaRPr>
          </a:p>
        </p:txBody>
      </p:sp>
      <p:sp>
        <p:nvSpPr>
          <p:cNvPr id="13" name="Rectangle 12"/>
          <p:cNvSpPr/>
          <p:nvPr userDrawn="1"/>
        </p:nvSpPr>
        <p:spPr>
          <a:xfrm>
            <a:off x="5269206" y="2287969"/>
            <a:ext cx="484188" cy="484188"/>
          </a:xfrm>
          <a:prstGeom prst="rect">
            <a:avLst/>
          </a:prstGeom>
          <a:solidFill>
            <a:srgbClr val="667D8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0000500000000000000" pitchFamily="2" charset="0"/>
              </a:rPr>
              <a:t>60%</a:t>
            </a:r>
            <a:endParaRPr lang="en-GB" sz="1200">
              <a:solidFill>
                <a:srgbClr val="FFFFFF"/>
              </a:solidFill>
              <a:latin typeface="The Group TEXT" panose="00000500000000000000" pitchFamily="2" charset="0"/>
              <a:cs typeface="The Group TEXT" panose="00000500000000000000" pitchFamily="2" charset="0"/>
            </a:endParaRPr>
          </a:p>
        </p:txBody>
      </p:sp>
      <p:sp>
        <p:nvSpPr>
          <p:cNvPr id="15" name="Rectangle 14"/>
          <p:cNvSpPr/>
          <p:nvPr userDrawn="1"/>
        </p:nvSpPr>
        <p:spPr>
          <a:xfrm>
            <a:off x="5800525" y="2287969"/>
            <a:ext cx="484188" cy="484188"/>
          </a:xfrm>
          <a:prstGeom prst="rect">
            <a:avLst/>
          </a:prstGeom>
          <a:solidFill>
            <a:srgbClr val="99A9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0000500000000000000" pitchFamily="2" charset="0"/>
              </a:rPr>
              <a:t>40%</a:t>
            </a:r>
            <a:endParaRPr lang="en-GB" sz="1200">
              <a:solidFill>
                <a:schemeClr val="tx2"/>
              </a:solidFill>
              <a:latin typeface="The Group TEXT" panose="00000500000000000000" pitchFamily="2" charset="0"/>
              <a:cs typeface="The Group TEXT" panose="00000500000000000000" pitchFamily="2" charset="0"/>
            </a:endParaRPr>
          </a:p>
        </p:txBody>
      </p:sp>
      <p:sp>
        <p:nvSpPr>
          <p:cNvPr id="17" name="Rectangle 16"/>
          <p:cNvSpPr/>
          <p:nvPr userDrawn="1"/>
        </p:nvSpPr>
        <p:spPr>
          <a:xfrm>
            <a:off x="6331844" y="2287969"/>
            <a:ext cx="484188" cy="484188"/>
          </a:xfrm>
          <a:prstGeom prst="rect">
            <a:avLst/>
          </a:prstGeom>
          <a:solidFill>
            <a:srgbClr val="CCD4D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0000500000000000000" pitchFamily="2" charset="0"/>
              </a:rPr>
              <a:t>20%</a:t>
            </a:r>
            <a:endParaRPr lang="en-GB" sz="1200">
              <a:solidFill>
                <a:schemeClr val="tx2"/>
              </a:solidFill>
              <a:latin typeface="The Group TEXT" panose="00000500000000000000" pitchFamily="2" charset="0"/>
              <a:cs typeface="The Group TEXT" panose="00000500000000000000" pitchFamily="2" charset="0"/>
            </a:endParaRPr>
          </a:p>
        </p:txBody>
      </p:sp>
      <p:sp>
        <p:nvSpPr>
          <p:cNvPr id="18" name="Rectangle 17"/>
          <p:cNvSpPr/>
          <p:nvPr userDrawn="1"/>
        </p:nvSpPr>
        <p:spPr>
          <a:xfrm>
            <a:off x="6863163" y="2287969"/>
            <a:ext cx="484188" cy="484188"/>
          </a:xfrm>
          <a:prstGeom prst="rect">
            <a:avLst/>
          </a:prstGeom>
          <a:solidFill>
            <a:srgbClr val="E5E9E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0000500000000000000" pitchFamily="2" charset="0"/>
              </a:rPr>
              <a:t>10%</a:t>
            </a:r>
            <a:endParaRPr lang="en-GB" sz="1200">
              <a:solidFill>
                <a:schemeClr val="tx2"/>
              </a:solidFill>
              <a:latin typeface="The Group TEXT" panose="00000500000000000000" pitchFamily="2" charset="0"/>
              <a:cs typeface="The Group TEXT" panose="00000500000000000000" pitchFamily="2" charset="0"/>
            </a:endParaRPr>
          </a:p>
        </p:txBody>
      </p:sp>
      <p:sp>
        <p:nvSpPr>
          <p:cNvPr id="19" name="Titel 2"/>
          <p:cNvSpPr txBox="1"/>
          <p:nvPr userDrawn="1"/>
        </p:nvSpPr>
        <p:spPr bwMode="black">
          <a:xfrm>
            <a:off x="4739813" y="1840923"/>
            <a:ext cx="3670176" cy="355278"/>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defRPr/>
            </a:pPr>
            <a:r>
              <a:rPr kumimoji="0" lang="en-GB" sz="1400" b="0" i="0" u="none" strike="noStrike" kern="1200" cap="none" spc="0" normalizeH="0" baseline="0" noProof="0" dirty="0">
                <a:ln>
                  <a:noFill/>
                </a:ln>
                <a:solidFill>
                  <a:schemeClr val="tx2"/>
                </a:solidFill>
                <a:effectLst/>
                <a:uLnTx/>
                <a:uFillTx/>
                <a:latin typeface="The Group TEXT" panose="00000500000000000000" pitchFamily="2" charset="0"/>
                <a:ea typeface="+mj-ea"/>
                <a:cs typeface="The Group TEXT" panose="00000500000000000000" pitchFamily="2" charset="0"/>
              </a:rPr>
              <a:t>Tints</a:t>
            </a:r>
            <a:endParaRPr kumimoji="0" lang="en-GB" sz="1200" b="0" i="0" u="none" strike="noStrike" kern="1200" cap="none" spc="0" normalizeH="0" baseline="0" noProof="0" dirty="0">
              <a:ln>
                <a:noFill/>
              </a:ln>
              <a:solidFill>
                <a:schemeClr val="tx2"/>
              </a:solidFill>
              <a:effectLst/>
              <a:uLnTx/>
              <a:uFillTx/>
              <a:latin typeface="The Group TEXT" panose="00000500000000000000" pitchFamily="2" charset="0"/>
              <a:ea typeface="+mj-ea"/>
              <a:cs typeface="The Group TEXT" panose="00000500000000000000" pitchFamily="2" charset="0"/>
            </a:endParaRPr>
          </a:p>
        </p:txBody>
      </p:sp>
      <p:sp>
        <p:nvSpPr>
          <p:cNvPr id="21" name="Rectangle 20"/>
          <p:cNvSpPr/>
          <p:nvPr userDrawn="1"/>
        </p:nvSpPr>
        <p:spPr>
          <a:xfrm>
            <a:off x="4737887" y="2823613"/>
            <a:ext cx="484188" cy="484188"/>
          </a:xfrm>
          <a:prstGeom prst="rect">
            <a:avLst/>
          </a:prstGeom>
          <a:solidFill>
            <a:srgbClr val="33A39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0000500000000000000" pitchFamily="2" charset="0"/>
              </a:rPr>
              <a:t>80%</a:t>
            </a:r>
            <a:endParaRPr lang="en-GB" sz="1200">
              <a:solidFill>
                <a:srgbClr val="FFFFFF"/>
              </a:solidFill>
              <a:latin typeface="The Group TEXT" panose="00000500000000000000" pitchFamily="2" charset="0"/>
              <a:cs typeface="The Group TEXT" panose="00000500000000000000" pitchFamily="2" charset="0"/>
            </a:endParaRPr>
          </a:p>
        </p:txBody>
      </p:sp>
      <p:sp>
        <p:nvSpPr>
          <p:cNvPr id="23" name="Rectangle 22"/>
          <p:cNvSpPr/>
          <p:nvPr userDrawn="1"/>
        </p:nvSpPr>
        <p:spPr>
          <a:xfrm>
            <a:off x="5269206" y="2823613"/>
            <a:ext cx="484188" cy="484188"/>
          </a:xfrm>
          <a:prstGeom prst="rect">
            <a:avLst/>
          </a:prstGeom>
          <a:solidFill>
            <a:srgbClr val="66BAB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0000500000000000000" pitchFamily="2" charset="0"/>
              </a:rPr>
              <a:t>60%</a:t>
            </a:r>
            <a:endParaRPr lang="en-GB" sz="1200">
              <a:solidFill>
                <a:srgbClr val="FFFFFF"/>
              </a:solidFill>
              <a:latin typeface="The Group TEXT" panose="00000500000000000000" pitchFamily="2" charset="0"/>
              <a:cs typeface="The Group TEXT" panose="00000500000000000000" pitchFamily="2" charset="0"/>
            </a:endParaRPr>
          </a:p>
        </p:txBody>
      </p:sp>
      <p:sp>
        <p:nvSpPr>
          <p:cNvPr id="25" name="Rectangle 24"/>
          <p:cNvSpPr/>
          <p:nvPr userDrawn="1"/>
        </p:nvSpPr>
        <p:spPr>
          <a:xfrm>
            <a:off x="5800525" y="2823613"/>
            <a:ext cx="484188" cy="484188"/>
          </a:xfrm>
          <a:prstGeom prst="rect">
            <a:avLst/>
          </a:prstGeom>
          <a:solidFill>
            <a:srgbClr val="99D1C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0000500000000000000" pitchFamily="2" charset="0"/>
              </a:rPr>
              <a:t>40%</a:t>
            </a:r>
            <a:endParaRPr lang="en-GB" sz="1200">
              <a:solidFill>
                <a:schemeClr val="tx2"/>
              </a:solidFill>
              <a:latin typeface="The Group TEXT" panose="00000500000000000000" pitchFamily="2" charset="0"/>
              <a:cs typeface="The Group TEXT" panose="00000500000000000000" pitchFamily="2" charset="0"/>
            </a:endParaRPr>
          </a:p>
        </p:txBody>
      </p:sp>
      <p:sp>
        <p:nvSpPr>
          <p:cNvPr id="27" name="Rectangle 26"/>
          <p:cNvSpPr/>
          <p:nvPr userDrawn="1"/>
        </p:nvSpPr>
        <p:spPr>
          <a:xfrm>
            <a:off x="6331844" y="2823613"/>
            <a:ext cx="484188" cy="484188"/>
          </a:xfrm>
          <a:prstGeom prst="rect">
            <a:avLst/>
          </a:prstGeom>
          <a:solidFill>
            <a:srgbClr val="CCE8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0000500000000000000" pitchFamily="2" charset="0"/>
              </a:rPr>
              <a:t>20%</a:t>
            </a:r>
            <a:endParaRPr lang="en-GB" sz="1200">
              <a:solidFill>
                <a:schemeClr val="tx2"/>
              </a:solidFill>
              <a:latin typeface="The Group TEXT" panose="00000500000000000000" pitchFamily="2" charset="0"/>
              <a:cs typeface="The Group TEXT" panose="00000500000000000000" pitchFamily="2" charset="0"/>
            </a:endParaRPr>
          </a:p>
        </p:txBody>
      </p:sp>
      <p:sp>
        <p:nvSpPr>
          <p:cNvPr id="28" name="Rectangle 27"/>
          <p:cNvSpPr/>
          <p:nvPr userDrawn="1"/>
        </p:nvSpPr>
        <p:spPr>
          <a:xfrm>
            <a:off x="6863163" y="2823613"/>
            <a:ext cx="484188" cy="484188"/>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0000500000000000000" pitchFamily="2" charset="0"/>
              </a:rPr>
              <a:t>10%</a:t>
            </a:r>
            <a:endParaRPr lang="en-GB" sz="1200">
              <a:solidFill>
                <a:schemeClr val="tx2"/>
              </a:solidFill>
              <a:latin typeface="The Group TEXT" panose="00000500000000000000" pitchFamily="2" charset="0"/>
              <a:cs typeface="The Group TEXT" panose="00000500000000000000" pitchFamily="2" charset="0"/>
            </a:endParaRPr>
          </a:p>
        </p:txBody>
      </p:sp>
      <p:sp>
        <p:nvSpPr>
          <p:cNvPr id="29" name="Rounded Rectangle 63"/>
          <p:cNvSpPr/>
          <p:nvPr userDrawn="1"/>
        </p:nvSpPr>
        <p:spPr bwMode="gray">
          <a:xfrm>
            <a:off x="9519754" y="2287969"/>
            <a:ext cx="1546344" cy="484188"/>
          </a:xfrm>
          <a:prstGeom prst="rect">
            <a:avLst/>
          </a:prstGeom>
          <a:solidFill>
            <a:srgbClr val="C2FE0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rPr>
              <a:t>Electric Neon</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2FE06</a:t>
            </a:r>
            <a:endPar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endParaRPr>
          </a:p>
        </p:txBody>
      </p:sp>
      <p:sp>
        <p:nvSpPr>
          <p:cNvPr id="41" name="Titel 2"/>
          <p:cNvSpPr txBox="1"/>
          <p:nvPr userDrawn="1"/>
        </p:nvSpPr>
        <p:spPr bwMode="black">
          <a:xfrm>
            <a:off x="9519755" y="1840923"/>
            <a:ext cx="1546343" cy="355278"/>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rPr>
              <a:t>Accent</a:t>
            </a:r>
            <a:r>
              <a:rPr lang="en-GB" sz="1400" b="0">
                <a:solidFill>
                  <a:schemeClr val="tx2"/>
                </a:solidFill>
                <a:latin typeface="The Group TEXT" panose="00000500000000000000" pitchFamily="2" charset="0"/>
                <a:cs typeface="The Group TEXT" panose="00000500000000000000" pitchFamily="2" charset="0"/>
              </a:rPr>
              <a:t> colour </a:t>
            </a:r>
            <a:br>
              <a:rPr lang="en-GB" sz="1400" b="0">
                <a:solidFill>
                  <a:schemeClr val="tx2"/>
                </a:solidFill>
                <a:latin typeface="The Group TEXT" panose="00000500000000000000" pitchFamily="2" charset="0"/>
                <a:cs typeface="The Group TEXT" panose="00000500000000000000" pitchFamily="2" charset="0"/>
              </a:rPr>
            </a:br>
            <a:r>
              <a:rPr lang="en-GB" sz="900" b="0">
                <a:solidFill>
                  <a:schemeClr val="tx2"/>
                </a:solidFill>
                <a:latin typeface="The Group TEXT" panose="00000500000000000000" pitchFamily="2" charset="0"/>
                <a:cs typeface="The Group TEXT" panose="00000500000000000000" pitchFamily="2" charset="0"/>
              </a:rPr>
              <a:t>(on dark background only)</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ssets: Icons">
    <p:spTree>
      <p:nvGrpSpPr>
        <p:cNvPr id="1" name=""/>
        <p:cNvGrpSpPr/>
        <p:nvPr/>
      </p:nvGrpSpPr>
      <p:grpSpPr>
        <a:xfrm>
          <a:off x="0" y="0"/>
          <a:ext cx="0" cy="0"/>
          <a:chOff x="0" y="0"/>
          <a:chExt cx="0" cy="0"/>
        </a:xfrm>
      </p:grpSpPr>
      <p:sp>
        <p:nvSpPr>
          <p:cNvPr id="111" name="Rectangle 110"/>
          <p:cNvSpPr/>
          <p:nvPr userDrawn="1"/>
        </p:nvSpPr>
        <p:spPr bwMode="ltGray">
          <a:xfrm>
            <a:off x="6095995" y="2592162"/>
            <a:ext cx="5688008" cy="38610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2" name="Rectangle 111"/>
          <p:cNvSpPr/>
          <p:nvPr userDrawn="1"/>
        </p:nvSpPr>
        <p:spPr>
          <a:xfrm>
            <a:off x="629998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3" name="Rectangle 112"/>
          <p:cNvSpPr/>
          <p:nvPr userDrawn="1"/>
        </p:nvSpPr>
        <p:spPr>
          <a:xfrm>
            <a:off x="770107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4" name="Rectangle 113"/>
          <p:cNvSpPr/>
          <p:nvPr userDrawn="1"/>
        </p:nvSpPr>
        <p:spPr>
          <a:xfrm>
            <a:off x="9102162"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5" name="Rectangle 114"/>
          <p:cNvSpPr/>
          <p:nvPr userDrawn="1"/>
        </p:nvSpPr>
        <p:spPr>
          <a:xfrm>
            <a:off x="10503251"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6" name="Rectangle 115"/>
          <p:cNvSpPr/>
          <p:nvPr userDrawn="1"/>
        </p:nvSpPr>
        <p:spPr>
          <a:xfrm>
            <a:off x="629998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7" name="Rectangle 116"/>
          <p:cNvSpPr/>
          <p:nvPr userDrawn="1"/>
        </p:nvSpPr>
        <p:spPr>
          <a:xfrm>
            <a:off x="770107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8" name="Rectangle 117"/>
          <p:cNvSpPr/>
          <p:nvPr userDrawn="1"/>
        </p:nvSpPr>
        <p:spPr>
          <a:xfrm>
            <a:off x="9102162"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9" name="Rectangle 118"/>
          <p:cNvSpPr/>
          <p:nvPr userDrawn="1"/>
        </p:nvSpPr>
        <p:spPr>
          <a:xfrm>
            <a:off x="10503251"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0" name="Rectangle 119"/>
          <p:cNvSpPr/>
          <p:nvPr userDrawn="1"/>
        </p:nvSpPr>
        <p:spPr>
          <a:xfrm>
            <a:off x="629998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1" name="Rectangle 120"/>
          <p:cNvSpPr/>
          <p:nvPr userDrawn="1"/>
        </p:nvSpPr>
        <p:spPr>
          <a:xfrm>
            <a:off x="770107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2" name="Rectangle 121"/>
          <p:cNvSpPr/>
          <p:nvPr userDrawn="1"/>
        </p:nvSpPr>
        <p:spPr>
          <a:xfrm>
            <a:off x="9102162"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3" name="Rectangle 122"/>
          <p:cNvSpPr/>
          <p:nvPr userDrawn="1"/>
        </p:nvSpPr>
        <p:spPr>
          <a:xfrm>
            <a:off x="10503251"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4" name="Rectangle 123"/>
          <p:cNvSpPr/>
          <p:nvPr userDrawn="1"/>
        </p:nvSpPr>
        <p:spPr>
          <a:xfrm>
            <a:off x="629998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5" name="Rectangle 124"/>
          <p:cNvSpPr/>
          <p:nvPr userDrawn="1"/>
        </p:nvSpPr>
        <p:spPr>
          <a:xfrm>
            <a:off x="770107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6" name="Rectangle 125"/>
          <p:cNvSpPr/>
          <p:nvPr userDrawn="1"/>
        </p:nvSpPr>
        <p:spPr>
          <a:xfrm>
            <a:off x="9102162"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7" name="Rectangle 126"/>
          <p:cNvSpPr/>
          <p:nvPr userDrawn="1"/>
        </p:nvSpPr>
        <p:spPr>
          <a:xfrm>
            <a:off x="10503251"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9" name="Title 4"/>
          <p:cNvSpPr txBox="1"/>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dirty="0">
                <a:solidFill>
                  <a:srgbClr val="002733"/>
                </a:solidFill>
              </a:rPr>
              <a:t>Graphical assets (in master)</a:t>
            </a:r>
            <a:endParaRPr lang="en-GB" dirty="0">
              <a:solidFill>
                <a:srgbClr val="002733"/>
              </a:solidFill>
            </a:endParaRPr>
          </a:p>
        </p:txBody>
      </p:sp>
      <p:sp>
        <p:nvSpPr>
          <p:cNvPr id="3" name="Date Placeholder 2"/>
          <p:cNvSpPr>
            <a:spLocks noGrp="1"/>
          </p:cNvSpPr>
          <p:nvPr userDrawn="1">
            <p:ph type="dt" sz="half" idx="10"/>
          </p:nvPr>
        </p:nvSpPr>
        <p:spPr/>
        <p:txBody>
          <a:bodyPr/>
          <a:lstStyle/>
          <a:p>
            <a:fld id="{5C3274E1-2937-45A7-A138-34799B91D0D6}" type="datetime1">
              <a:rPr lang="zh-CN" altLang="en-US" smtClean="0"/>
            </a:fld>
            <a:endParaRPr lang="en-GB"/>
          </a:p>
        </p:txBody>
      </p:sp>
      <p:sp>
        <p:nvSpPr>
          <p:cNvPr id="4" name="Footer Placeholder 3"/>
          <p:cNvSpPr>
            <a:spLocks noGrp="1"/>
          </p:cNvSpPr>
          <p:nvPr userDrawn="1">
            <p:ph type="ftr" sz="quarter" idx="11"/>
          </p:nvPr>
        </p:nvSpPr>
        <p:spPr/>
        <p:txBody>
          <a:bodyPr/>
          <a:lstStyle/>
          <a:p>
            <a:r>
              <a:rPr lang="en-US" smtClean="0"/>
              <a:t>Department VWA-DT  |  Hackathon Challenge Release  |  CSD-class</a:t>
            </a:r>
            <a:endParaRPr lang="en-GB"/>
          </a:p>
        </p:txBody>
      </p:sp>
      <p:sp>
        <p:nvSpPr>
          <p:cNvPr id="5" name="Slide Number Placeholder 4"/>
          <p:cNvSpPr>
            <a:spLocks noGrp="1"/>
          </p:cNvSpPr>
          <p:nvPr userDrawn="1">
            <p:ph type="sldNum" sz="quarter" idx="12"/>
          </p:nvPr>
        </p:nvSpPr>
        <p:spPr/>
        <p:txBody>
          <a:bodyPr/>
          <a:lstStyle/>
          <a:p>
            <a:fld id="{53C98C43-8B83-4748-BA0D-B0C90A16569F}" type="slidenum">
              <a:rPr lang="en-GB" smtClean="0"/>
            </a:fld>
            <a:endParaRPr lang="en-GB"/>
          </a:p>
        </p:txBody>
      </p:sp>
      <p:sp>
        <p:nvSpPr>
          <p:cNvPr id="2" name="Textplatzhalter 1"/>
          <p:cNvSpPr txBox="1"/>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cons — with editable colour</a:t>
            </a:r>
            <a:endParaRPr lang="en-GB"/>
          </a:p>
        </p:txBody>
      </p:sp>
      <p:sp>
        <p:nvSpPr>
          <p:cNvPr id="106" name="Content Placeholder 5"/>
          <p:cNvSpPr txBox="1"/>
          <p:nvPr userDrawn="1"/>
        </p:nvSpPr>
        <p:spPr bwMode="auto">
          <a:xfrm>
            <a:off x="407987" y="1851538"/>
            <a:ext cx="11376021" cy="432195"/>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79705" indent="-179705" algn="l" defTabSz="914400" rtl="0" eaLnBrk="1" latinLnBrk="0" hangingPunct="1">
              <a:lnSpc>
                <a:spcPct val="100000"/>
              </a:lnSpc>
              <a:spcBef>
                <a:spcPts val="600"/>
              </a:spcBef>
              <a:buFont typeface="The Group TEXT" panose="00000500000000000000" pitchFamily="2" charset="0"/>
              <a:buChar char="•"/>
              <a:defRPr sz="1400" kern="1200">
                <a:solidFill>
                  <a:schemeClr val="tx2"/>
                </a:solidFill>
                <a:latin typeface="+mn-lt"/>
                <a:ea typeface="+mn-ea"/>
                <a:cs typeface="+mn-cs"/>
              </a:defRPr>
            </a:lvl3pPr>
            <a:lvl4pPr marL="431800" indent="-252095"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79705"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defRPr/>
            </a:pP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dit colour: Select icon &gt; Shape fill &gt; Select White for Deep Space Blue background and select Vivid Green for White background. </a:t>
            </a:r>
            <a:b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b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or more, go to </a:t>
            </a:r>
            <a:r>
              <a:rPr kumimoji="0" lang="en-GB" sz="1400" b="0" i="0" u="none" strike="noStrike" kern="1200" cap="none" spc="0" normalizeH="0" baseline="0" noProof="0" err="1">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t>
            </a:r>
            <a:endPar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43" name="Rectangle 42"/>
          <p:cNvSpPr/>
          <p:nvPr userDrawn="1"/>
        </p:nvSpPr>
        <p:spPr bwMode="ltGray">
          <a:xfrm>
            <a:off x="407987" y="2592162"/>
            <a:ext cx="5688008" cy="38610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6" name="Rectangle 5"/>
          <p:cNvSpPr/>
          <p:nvPr userDrawn="1"/>
        </p:nvSpPr>
        <p:spPr>
          <a:xfrm>
            <a:off x="611976"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7" name="Rectangle 6"/>
          <p:cNvSpPr/>
          <p:nvPr userDrawn="1"/>
        </p:nvSpPr>
        <p:spPr>
          <a:xfrm>
            <a:off x="2013065"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8" name="Rectangle 7"/>
          <p:cNvSpPr/>
          <p:nvPr userDrawn="1"/>
        </p:nvSpPr>
        <p:spPr>
          <a:xfrm>
            <a:off x="341415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0" name="Rectangle 9"/>
          <p:cNvSpPr/>
          <p:nvPr userDrawn="1"/>
        </p:nvSpPr>
        <p:spPr>
          <a:xfrm>
            <a:off x="481524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5" name="Rectangle 14"/>
          <p:cNvSpPr/>
          <p:nvPr userDrawn="1"/>
        </p:nvSpPr>
        <p:spPr>
          <a:xfrm>
            <a:off x="611976"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6" name="Rectangle 15"/>
          <p:cNvSpPr/>
          <p:nvPr userDrawn="1"/>
        </p:nvSpPr>
        <p:spPr>
          <a:xfrm>
            <a:off x="2013065"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7" name="Rectangle 16"/>
          <p:cNvSpPr/>
          <p:nvPr userDrawn="1"/>
        </p:nvSpPr>
        <p:spPr>
          <a:xfrm>
            <a:off x="341415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8" name="Rectangle 17"/>
          <p:cNvSpPr/>
          <p:nvPr userDrawn="1"/>
        </p:nvSpPr>
        <p:spPr>
          <a:xfrm>
            <a:off x="481524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 name="Rectangle 10"/>
          <p:cNvSpPr/>
          <p:nvPr userDrawn="1"/>
        </p:nvSpPr>
        <p:spPr>
          <a:xfrm>
            <a:off x="611976"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 name="Rectangle 11"/>
          <p:cNvSpPr/>
          <p:nvPr userDrawn="1"/>
        </p:nvSpPr>
        <p:spPr>
          <a:xfrm>
            <a:off x="2013065"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3" name="Rectangle 12"/>
          <p:cNvSpPr/>
          <p:nvPr userDrawn="1"/>
        </p:nvSpPr>
        <p:spPr>
          <a:xfrm>
            <a:off x="341415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4" name="Rectangle 13"/>
          <p:cNvSpPr/>
          <p:nvPr userDrawn="1"/>
        </p:nvSpPr>
        <p:spPr>
          <a:xfrm>
            <a:off x="481524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9" name="Rectangle 18"/>
          <p:cNvSpPr/>
          <p:nvPr userDrawn="1"/>
        </p:nvSpPr>
        <p:spPr>
          <a:xfrm>
            <a:off x="611976"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0" name="Rectangle 19"/>
          <p:cNvSpPr/>
          <p:nvPr userDrawn="1"/>
        </p:nvSpPr>
        <p:spPr>
          <a:xfrm>
            <a:off x="2013065"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1" name="Rectangle 20"/>
          <p:cNvSpPr/>
          <p:nvPr userDrawn="1"/>
        </p:nvSpPr>
        <p:spPr>
          <a:xfrm>
            <a:off x="341415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2" name="Rectangle 21"/>
          <p:cNvSpPr/>
          <p:nvPr userDrawn="1"/>
        </p:nvSpPr>
        <p:spPr>
          <a:xfrm>
            <a:off x="481524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pic>
        <p:nvPicPr>
          <p:cNvPr id="24" name="Graphic 23"/>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54850" y="5595384"/>
            <a:ext cx="393192" cy="393192"/>
          </a:xfrm>
          <a:prstGeom prst="rect">
            <a:avLst/>
          </a:prstGeom>
        </p:spPr>
      </p:pic>
      <p:pic>
        <p:nvPicPr>
          <p:cNvPr id="29" name="Graphic 28"/>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04422" y="5661618"/>
            <a:ext cx="498403" cy="264111"/>
          </a:xfrm>
          <a:prstGeom prst="rect">
            <a:avLst/>
          </a:prstGeom>
        </p:spPr>
      </p:pic>
      <p:pic>
        <p:nvPicPr>
          <p:cNvPr id="30" name="Graphic 29"/>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92431" y="5661618"/>
            <a:ext cx="498403" cy="264111"/>
          </a:xfrm>
          <a:prstGeom prst="rect">
            <a:avLst/>
          </a:prstGeom>
        </p:spPr>
      </p:pic>
      <p:pic>
        <p:nvPicPr>
          <p:cNvPr id="23" name="Graphic 22"/>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359764" y="4747869"/>
            <a:ext cx="383365" cy="396144"/>
          </a:xfrm>
          <a:prstGeom prst="rect">
            <a:avLst/>
          </a:prstGeom>
        </p:spPr>
      </p:pic>
      <p:pic>
        <p:nvPicPr>
          <p:cNvPr id="25" name="Graphic 24"/>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47772" y="4747869"/>
            <a:ext cx="383365" cy="396144"/>
          </a:xfrm>
          <a:prstGeom prst="rect">
            <a:avLst/>
          </a:prstGeom>
        </p:spPr>
      </p:pic>
      <p:pic>
        <p:nvPicPr>
          <p:cNvPr id="28" name="Graphic 27"/>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8042858" y="5595384"/>
            <a:ext cx="393192" cy="393192"/>
          </a:xfrm>
          <a:prstGeom prst="rect">
            <a:avLst/>
          </a:prstGeom>
        </p:spPr>
      </p:pic>
      <p:pic>
        <p:nvPicPr>
          <p:cNvPr id="57" name="Graphic 56"/>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5137850" y="3035632"/>
            <a:ext cx="431548" cy="435740"/>
          </a:xfrm>
          <a:prstGeom prst="rect">
            <a:avLst/>
          </a:prstGeom>
        </p:spPr>
      </p:pic>
      <p:pic>
        <p:nvPicPr>
          <p:cNvPr id="59" name="Graphic 58"/>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49330" y="3067055"/>
            <a:ext cx="406412" cy="372894"/>
          </a:xfrm>
          <a:prstGeom prst="rect">
            <a:avLst/>
          </a:prstGeom>
        </p:spPr>
      </p:pic>
      <p:pic>
        <p:nvPicPr>
          <p:cNvPr id="60" name="Graphic 59"/>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68101" y="3102669"/>
            <a:ext cx="364512" cy="301666"/>
          </a:xfrm>
          <a:prstGeom prst="rect">
            <a:avLst/>
          </a:prstGeom>
        </p:spPr>
      </p:pic>
      <p:pic>
        <p:nvPicPr>
          <p:cNvPr id="61" name="Graphic 60"/>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2348240" y="3064961"/>
            <a:ext cx="406412" cy="377082"/>
          </a:xfrm>
          <a:prstGeom prst="rect">
            <a:avLst/>
          </a:prstGeom>
        </p:spPr>
      </p:pic>
      <p:pic>
        <p:nvPicPr>
          <p:cNvPr id="62" name="Graphic 61"/>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873829" y="4789883"/>
            <a:ext cx="553056" cy="314236"/>
          </a:xfrm>
          <a:prstGeom prst="rect">
            <a:avLst/>
          </a:prstGeom>
        </p:spPr>
      </p:pic>
      <p:pic>
        <p:nvPicPr>
          <p:cNvPr id="63" name="Graphic 62"/>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139944" y="4800357"/>
            <a:ext cx="427360" cy="293286"/>
          </a:xfrm>
          <a:prstGeom prst="rect">
            <a:avLst/>
          </a:prstGeom>
        </p:spPr>
      </p:pic>
      <p:pic>
        <p:nvPicPr>
          <p:cNvPr id="64" name="Graphic 63"/>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784943" y="4743795"/>
            <a:ext cx="335184" cy="406410"/>
          </a:xfrm>
          <a:prstGeom prst="rect">
            <a:avLst/>
          </a:prstGeom>
        </p:spPr>
      </p:pic>
      <p:pic>
        <p:nvPicPr>
          <p:cNvPr id="65" name="Graphic 64"/>
          <p:cNvPicPr>
            <a:picLocks noChangeAspect="1"/>
          </p:cNvPicPr>
          <p:nvPr userDrawn="1"/>
        </p:nvPicPr>
        <p:blipFill>
          <a:blip r:embed="rId28">
            <a:extLst>
              <a:ext uri="{96DAC541-7B7A-43D3-8B79-37D633B846F1}">
                <asvg:svgBlip xmlns:asvg="http://schemas.microsoft.com/office/drawing/2016/SVG/main" r:embed="rId29"/>
              </a:ext>
            </a:extLst>
          </a:blip>
          <a:stretch>
            <a:fillRect/>
          </a:stretch>
        </p:blipFill>
        <p:spPr>
          <a:xfrm>
            <a:off x="1016283" y="3897046"/>
            <a:ext cx="268148" cy="406410"/>
          </a:xfrm>
          <a:prstGeom prst="rect">
            <a:avLst/>
          </a:prstGeom>
        </p:spPr>
      </p:pic>
      <p:pic>
        <p:nvPicPr>
          <p:cNvPr id="66" name="Graphic 65"/>
          <p:cNvPicPr>
            <a:picLocks noChangeAspect="1"/>
          </p:cNvPicPr>
          <p:nvPr userDrawn="1"/>
        </p:nvPicPr>
        <p:blipFill>
          <a:blip r:embed="rId30">
            <a:extLst>
              <a:ext uri="{96DAC541-7B7A-43D3-8B79-37D633B846F1}">
                <asvg:svgBlip xmlns:asvg="http://schemas.microsoft.com/office/drawing/2016/SVG/main" r:embed="rId31"/>
              </a:ext>
            </a:extLst>
          </a:blip>
          <a:stretch>
            <a:fillRect/>
          </a:stretch>
        </p:blipFill>
        <p:spPr>
          <a:xfrm>
            <a:off x="5169272" y="3905425"/>
            <a:ext cx="368704" cy="389652"/>
          </a:xfrm>
          <a:prstGeom prst="rect">
            <a:avLst/>
          </a:prstGeom>
        </p:spPr>
      </p:pic>
      <p:pic>
        <p:nvPicPr>
          <p:cNvPr id="67" name="Graphic 66"/>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3745139" y="3917993"/>
            <a:ext cx="414794" cy="364516"/>
          </a:xfrm>
          <a:prstGeom prst="rect">
            <a:avLst/>
          </a:prstGeom>
        </p:spPr>
      </p:pic>
      <p:pic>
        <p:nvPicPr>
          <p:cNvPr id="68" name="Graphic 67"/>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2383855" y="3892856"/>
            <a:ext cx="335184" cy="414790"/>
          </a:xfrm>
          <a:prstGeom prst="rect">
            <a:avLst/>
          </a:prstGeom>
        </p:spPr>
      </p:pic>
      <p:pic>
        <p:nvPicPr>
          <p:cNvPr id="69" name="Graphic 68"/>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10825858" y="3035632"/>
            <a:ext cx="431548" cy="435740"/>
          </a:xfrm>
          <a:prstGeom prst="rect">
            <a:avLst/>
          </a:prstGeom>
        </p:spPr>
      </p:pic>
      <p:pic>
        <p:nvPicPr>
          <p:cNvPr id="70" name="Graphic 69"/>
          <p:cNvPicPr>
            <a:picLocks noChangeAspect="1"/>
          </p:cNvPicPr>
          <p:nvPr userDrawn="1"/>
        </p:nvPicPr>
        <p:blipFill>
          <a:blip r:embed="rId38">
            <a:extLst>
              <a:ext uri="{96DAC541-7B7A-43D3-8B79-37D633B846F1}">
                <asvg:svgBlip xmlns:asvg="http://schemas.microsoft.com/office/drawing/2016/SVG/main" r:embed="rId39"/>
              </a:ext>
            </a:extLst>
          </a:blip>
          <a:stretch>
            <a:fillRect/>
          </a:stretch>
        </p:blipFill>
        <p:spPr>
          <a:xfrm>
            <a:off x="9437338" y="3067055"/>
            <a:ext cx="406412" cy="372894"/>
          </a:xfrm>
          <a:prstGeom prst="rect">
            <a:avLst/>
          </a:prstGeom>
        </p:spPr>
      </p:pic>
      <p:pic>
        <p:nvPicPr>
          <p:cNvPr id="71" name="Graphic 70"/>
          <p:cNvPicPr>
            <a:picLocks noChangeAspect="1"/>
          </p:cNvPicPr>
          <p:nvPr userDrawn="1"/>
        </p:nvPicPr>
        <p:blipFill>
          <a:blip r:embed="rId40">
            <a:extLst>
              <a:ext uri="{96DAC541-7B7A-43D3-8B79-37D633B846F1}">
                <asvg:svgBlip xmlns:asvg="http://schemas.microsoft.com/office/drawing/2016/SVG/main" r:embed="rId41"/>
              </a:ext>
            </a:extLst>
          </a:blip>
          <a:stretch>
            <a:fillRect/>
          </a:stretch>
        </p:blipFill>
        <p:spPr>
          <a:xfrm>
            <a:off x="6656109" y="3102669"/>
            <a:ext cx="364512" cy="301666"/>
          </a:xfrm>
          <a:prstGeom prst="rect">
            <a:avLst/>
          </a:prstGeom>
        </p:spPr>
      </p:pic>
      <p:pic>
        <p:nvPicPr>
          <p:cNvPr id="72" name="Graphic 71"/>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8036248" y="3064961"/>
            <a:ext cx="406412" cy="377082"/>
          </a:xfrm>
          <a:prstGeom prst="rect">
            <a:avLst/>
          </a:prstGeom>
        </p:spPr>
      </p:pic>
      <p:pic>
        <p:nvPicPr>
          <p:cNvPr id="73" name="Graphic 72"/>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6561837" y="4789883"/>
            <a:ext cx="553056" cy="314236"/>
          </a:xfrm>
          <a:prstGeom prst="rect">
            <a:avLst/>
          </a:prstGeom>
        </p:spPr>
      </p:pic>
      <p:pic>
        <p:nvPicPr>
          <p:cNvPr id="74" name="Graphic 73"/>
          <p:cNvPicPr>
            <a:picLocks noChangeAspect="1"/>
          </p:cNvPicPr>
          <p:nvPr userDrawn="1"/>
        </p:nvPicPr>
        <p:blipFill>
          <a:blip r:embed="rId46">
            <a:extLst>
              <a:ext uri="{96DAC541-7B7A-43D3-8B79-37D633B846F1}">
                <asvg:svgBlip xmlns:asvg="http://schemas.microsoft.com/office/drawing/2016/SVG/main" r:embed="rId47"/>
              </a:ext>
            </a:extLst>
          </a:blip>
          <a:stretch>
            <a:fillRect/>
          </a:stretch>
        </p:blipFill>
        <p:spPr>
          <a:xfrm>
            <a:off x="10827952" y="4800357"/>
            <a:ext cx="427360" cy="293286"/>
          </a:xfrm>
          <a:prstGeom prst="rect">
            <a:avLst/>
          </a:prstGeom>
        </p:spPr>
      </p:pic>
      <p:pic>
        <p:nvPicPr>
          <p:cNvPr id="75" name="Graphic 74"/>
          <p:cNvPicPr>
            <a:picLocks noChangeAspect="1"/>
          </p:cNvPicPr>
          <p:nvPr userDrawn="1"/>
        </p:nvPicPr>
        <p:blipFill>
          <a:blip r:embed="rId48">
            <a:extLst>
              <a:ext uri="{96DAC541-7B7A-43D3-8B79-37D633B846F1}">
                <asvg:svgBlip xmlns:asvg="http://schemas.microsoft.com/office/drawing/2016/SVG/main" r:embed="rId49"/>
              </a:ext>
            </a:extLst>
          </a:blip>
          <a:stretch>
            <a:fillRect/>
          </a:stretch>
        </p:blipFill>
        <p:spPr>
          <a:xfrm>
            <a:off x="9472951" y="4743795"/>
            <a:ext cx="335184" cy="406410"/>
          </a:xfrm>
          <a:prstGeom prst="rect">
            <a:avLst/>
          </a:prstGeom>
        </p:spPr>
      </p:pic>
      <p:pic>
        <p:nvPicPr>
          <p:cNvPr id="76" name="Graphic 75"/>
          <p:cNvPicPr>
            <a:picLocks noChangeAspect="1"/>
          </p:cNvPicPr>
          <p:nvPr userDrawn="1"/>
        </p:nvPicPr>
        <p:blipFill>
          <a:blip r:embed="rId50">
            <a:extLst>
              <a:ext uri="{96DAC541-7B7A-43D3-8B79-37D633B846F1}">
                <asvg:svgBlip xmlns:asvg="http://schemas.microsoft.com/office/drawing/2016/SVG/main" r:embed="rId51"/>
              </a:ext>
            </a:extLst>
          </a:blip>
          <a:stretch>
            <a:fillRect/>
          </a:stretch>
        </p:blipFill>
        <p:spPr>
          <a:xfrm>
            <a:off x="6704291" y="3897046"/>
            <a:ext cx="268148" cy="406410"/>
          </a:xfrm>
          <a:prstGeom prst="rect">
            <a:avLst/>
          </a:prstGeom>
        </p:spPr>
      </p:pic>
      <p:pic>
        <p:nvPicPr>
          <p:cNvPr id="77" name="Graphic 76"/>
          <p:cNvPicPr>
            <a:picLocks noChangeAspect="1"/>
          </p:cNvPicPr>
          <p:nvPr userDrawn="1"/>
        </p:nvPicPr>
        <p:blipFill>
          <a:blip r:embed="rId52">
            <a:extLst>
              <a:ext uri="{96DAC541-7B7A-43D3-8B79-37D633B846F1}">
                <asvg:svgBlip xmlns:asvg="http://schemas.microsoft.com/office/drawing/2016/SVG/main" r:embed="rId53"/>
              </a:ext>
            </a:extLst>
          </a:blip>
          <a:stretch>
            <a:fillRect/>
          </a:stretch>
        </p:blipFill>
        <p:spPr>
          <a:xfrm>
            <a:off x="10857280" y="3905425"/>
            <a:ext cx="368704" cy="389652"/>
          </a:xfrm>
          <a:prstGeom prst="rect">
            <a:avLst/>
          </a:prstGeom>
        </p:spPr>
      </p:pic>
      <p:pic>
        <p:nvPicPr>
          <p:cNvPr id="78" name="Graphic 77"/>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a:off x="9433147" y="3917993"/>
            <a:ext cx="414794" cy="364516"/>
          </a:xfrm>
          <a:prstGeom prst="rect">
            <a:avLst/>
          </a:prstGeom>
        </p:spPr>
      </p:pic>
      <p:pic>
        <p:nvPicPr>
          <p:cNvPr id="79" name="Graphic 78"/>
          <p:cNvPicPr>
            <a:picLocks noChangeAspect="1"/>
          </p:cNvPicPr>
          <p:nvPr userDrawn="1"/>
        </p:nvPicPr>
        <p:blipFill>
          <a:blip r:embed="rId56">
            <a:extLst>
              <a:ext uri="{96DAC541-7B7A-43D3-8B79-37D633B846F1}">
                <asvg:svgBlip xmlns:asvg="http://schemas.microsoft.com/office/drawing/2016/SVG/main" r:embed="rId57"/>
              </a:ext>
            </a:extLst>
          </a:blip>
          <a:stretch>
            <a:fillRect/>
          </a:stretch>
        </p:blipFill>
        <p:spPr>
          <a:xfrm>
            <a:off x="8071863" y="3892856"/>
            <a:ext cx="335184" cy="414790"/>
          </a:xfrm>
          <a:prstGeom prst="rect">
            <a:avLst/>
          </a:prstGeom>
        </p:spPr>
      </p:pic>
      <p:pic>
        <p:nvPicPr>
          <p:cNvPr id="80" name="Graphic 79"/>
          <p:cNvPicPr>
            <a:picLocks noChangeAspect="1"/>
          </p:cNvPicPr>
          <p:nvPr userDrawn="1"/>
        </p:nvPicPr>
        <p:blipFill>
          <a:blip r:embed="rId58">
            <a:extLst>
              <a:ext uri="{96DAC541-7B7A-43D3-8B79-37D633B846F1}">
                <asvg:svgBlip xmlns:asvg="http://schemas.microsoft.com/office/drawing/2016/SVG/main" r:embed="rId59"/>
              </a:ext>
            </a:extLst>
          </a:blip>
          <a:stretch>
            <a:fillRect/>
          </a:stretch>
        </p:blipFill>
        <p:spPr>
          <a:xfrm>
            <a:off x="3761899" y="5626158"/>
            <a:ext cx="381274" cy="335186"/>
          </a:xfrm>
          <a:prstGeom prst="rect">
            <a:avLst/>
          </a:prstGeom>
        </p:spPr>
      </p:pic>
      <p:pic>
        <p:nvPicPr>
          <p:cNvPr id="81" name="Graphic 80"/>
          <p:cNvPicPr>
            <a:picLocks noChangeAspect="1"/>
          </p:cNvPicPr>
          <p:nvPr userDrawn="1"/>
        </p:nvPicPr>
        <p:blipFill>
          <a:blip r:embed="rId60">
            <a:extLst>
              <a:ext uri="{96DAC541-7B7A-43D3-8B79-37D633B846F1}">
                <asvg:svgBlip xmlns:asvg="http://schemas.microsoft.com/office/drawing/2016/SVG/main" r:embed="rId61"/>
              </a:ext>
            </a:extLst>
          </a:blip>
          <a:stretch>
            <a:fillRect/>
          </a:stretch>
        </p:blipFill>
        <p:spPr>
          <a:xfrm>
            <a:off x="9449907" y="5626158"/>
            <a:ext cx="381274" cy="335186"/>
          </a:xfrm>
          <a:prstGeom prst="rect">
            <a:avLst/>
          </a:prstGeom>
        </p:spPr>
      </p:pic>
      <p:pic>
        <p:nvPicPr>
          <p:cNvPr id="82" name="Graphic 81"/>
          <p:cNvPicPr>
            <a:picLocks noChangeAspect="1"/>
          </p:cNvPicPr>
          <p:nvPr userDrawn="1"/>
        </p:nvPicPr>
        <p:blipFill>
          <a:blip r:embed="rId62">
            <a:extLst>
              <a:ext uri="{96DAC541-7B7A-43D3-8B79-37D633B846F1}">
                <asvg:svgBlip xmlns:asvg="http://schemas.microsoft.com/office/drawing/2016/SVG/main" r:embed="rId63"/>
              </a:ext>
            </a:extLst>
          </a:blip>
          <a:stretch>
            <a:fillRect/>
          </a:stretch>
        </p:blipFill>
        <p:spPr>
          <a:xfrm>
            <a:off x="873829" y="5691100"/>
            <a:ext cx="553056" cy="211090"/>
          </a:xfrm>
          <a:prstGeom prst="rect">
            <a:avLst/>
          </a:prstGeom>
        </p:spPr>
      </p:pic>
      <p:pic>
        <p:nvPicPr>
          <p:cNvPr id="83" name="Graphic 82"/>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6561837" y="5691100"/>
            <a:ext cx="553056" cy="2110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ssets: Flags">
    <p:spTree>
      <p:nvGrpSpPr>
        <p:cNvPr id="1" name=""/>
        <p:cNvGrpSpPr/>
        <p:nvPr/>
      </p:nvGrpSpPr>
      <p:grpSpPr>
        <a:xfrm>
          <a:off x="0" y="0"/>
          <a:ext cx="0" cy="0"/>
          <a:chOff x="0" y="0"/>
          <a:chExt cx="0" cy="0"/>
        </a:xfrm>
      </p:grpSpPr>
      <p:sp>
        <p:nvSpPr>
          <p:cNvPr id="9" name="Title 4"/>
          <p:cNvSpPr txBox="1"/>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t>Flags</a:t>
            </a:r>
            <a:endParaRPr lang="en-GB"/>
          </a:p>
        </p:txBody>
      </p:sp>
      <p:sp>
        <p:nvSpPr>
          <p:cNvPr id="3" name="Date Placeholder 2"/>
          <p:cNvSpPr>
            <a:spLocks noGrp="1"/>
          </p:cNvSpPr>
          <p:nvPr>
            <p:ph type="dt" sz="half" idx="10"/>
          </p:nvPr>
        </p:nvSpPr>
        <p:spPr/>
        <p:txBody>
          <a:bodyPr/>
          <a:lstStyle/>
          <a:p>
            <a:fld id="{9C7DAD51-30F4-4C8D-BDC4-9579C2009D7E}" type="datetime1">
              <a:rPr lang="zh-CN" altLang="en-US" smtClean="0"/>
            </a:fld>
            <a:endParaRPr lang="en-GB"/>
          </a:p>
        </p:txBody>
      </p:sp>
      <p:sp>
        <p:nvSpPr>
          <p:cNvPr id="4" name="Footer Placeholder 3"/>
          <p:cNvSpPr>
            <a:spLocks noGrp="1"/>
          </p:cNvSpPr>
          <p:nvPr>
            <p:ph type="ftr" sz="quarter" idx="11"/>
          </p:nvPr>
        </p:nvSpPr>
        <p:spPr/>
        <p:txBody>
          <a:bodyPr/>
          <a:lstStyle/>
          <a:p>
            <a:r>
              <a:rPr lang="en-US" smtClean="0"/>
              <a:t>Department VWA-DT  |  Hackathon Challenge Release  |  CSD-class</a:t>
            </a:r>
            <a:endParaRPr lang="en-GB"/>
          </a:p>
        </p:txBody>
      </p:sp>
      <p:sp>
        <p:nvSpPr>
          <p:cNvPr id="5" name="Slide Number Placeholder 4"/>
          <p:cNvSpPr>
            <a:spLocks noGrp="1"/>
          </p:cNvSpPr>
          <p:nvPr>
            <p:ph type="sldNum" sz="quarter" idx="12"/>
          </p:nvPr>
        </p:nvSpPr>
        <p:spPr/>
        <p:txBody>
          <a:bodyPr/>
          <a:lstStyle/>
          <a:p>
            <a:fld id="{53C98C43-8B83-4748-BA0D-B0C90A16569F}" type="slidenum">
              <a:rPr lang="en-GB" smtClean="0"/>
            </a:fld>
            <a:endParaRPr lang="en-GB"/>
          </a:p>
        </p:txBody>
      </p:sp>
      <p:sp>
        <p:nvSpPr>
          <p:cNvPr id="2" name="Textplatzhalter 1"/>
          <p:cNvSpPr txBox="1"/>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Graphical assets in master</a:t>
            </a:r>
            <a:endParaRPr lang="en-GB"/>
          </a:p>
        </p:txBody>
      </p:sp>
      <p:sp>
        <p:nvSpPr>
          <p:cNvPr id="106" name="Content Placeholder 5"/>
          <p:cNvSpPr txBox="1"/>
          <p:nvPr userDrawn="1"/>
        </p:nvSpPr>
        <p:spPr bwMode="auto">
          <a:xfrm>
            <a:off x="407987" y="1851538"/>
            <a:ext cx="7757421" cy="740624"/>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79705" indent="-179705" algn="l" defTabSz="914400" rtl="0" eaLnBrk="1" latinLnBrk="0" hangingPunct="1">
              <a:lnSpc>
                <a:spcPct val="100000"/>
              </a:lnSpc>
              <a:spcBef>
                <a:spcPts val="600"/>
              </a:spcBef>
              <a:buFont typeface="The Group TEXT" panose="00000500000000000000" pitchFamily="2" charset="0"/>
              <a:buChar char="•"/>
              <a:defRPr sz="1400" kern="1200">
                <a:solidFill>
                  <a:schemeClr val="tx2"/>
                </a:solidFill>
                <a:latin typeface="+mn-lt"/>
                <a:ea typeface="+mn-ea"/>
                <a:cs typeface="+mn-cs"/>
              </a:defRPr>
            </a:lvl3pPr>
            <a:lvl4pPr marL="431800" indent="-252095"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79705"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defRPr/>
            </a:pPr>
            <a:r>
              <a:rPr kumimoji="0" lang="en-GB" sz="1400" b="0" i="0" u="none" strike="noStrike" kern="1200" cap="none" spc="0" normalizeH="0" baseline="0" noProof="0" dirty="0">
                <a:ln>
                  <a:noFill/>
                </a:ln>
                <a:solidFill>
                  <a:srgbClr val="002733"/>
                </a:solidFill>
                <a:effectLst/>
                <a:uLnTx/>
                <a:uFillTx/>
                <a:latin typeface="The Group TEXT" panose="00000500000000000000" pitchFamily="2" charset="0"/>
                <a:ea typeface="+mn-ea"/>
                <a:cs typeface="+mn-cs"/>
              </a:rPr>
              <a:t>If you need to mark a whole slide for a specific country, you may place the flag under the wordmark on the top right to ensure they do not overlap. Flags may also be placed next to elements that need to be linked to specific countries. For more, go to </a:t>
            </a:r>
            <a:r>
              <a:rPr kumimoji="0" lang="en-GB" sz="1400" b="0" i="0" u="none" strike="noStrike" kern="1200" cap="none" spc="0" normalizeH="0" baseline="0" noProof="0" dirty="0">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dirty="0">
                <a:ln>
                  <a:noFill/>
                </a:ln>
                <a:solidFill>
                  <a:srgbClr val="002733"/>
                </a:solidFill>
                <a:effectLst/>
                <a:uLnTx/>
                <a:uFillTx/>
                <a:latin typeface="The Group TEXT" panose="00000500000000000000" pitchFamily="2" charset="0"/>
                <a:ea typeface="+mn-ea"/>
                <a:cs typeface="+mn-cs"/>
              </a:rPr>
              <a:t>.</a:t>
            </a:r>
            <a:endParaRPr kumimoji="0" lang="en-GB" sz="1400" b="0" i="0" u="none" strike="noStrike" kern="1200" cap="none" spc="0" normalizeH="0" baseline="0" noProof="0" dirty="0">
              <a:ln>
                <a:noFill/>
              </a:ln>
              <a:solidFill>
                <a:srgbClr val="002733"/>
              </a:solidFill>
              <a:effectLst/>
              <a:uLnTx/>
              <a:uFillTx/>
              <a:latin typeface="The Group TEXT" panose="00000500000000000000" pitchFamily="2" charset="0"/>
              <a:ea typeface="+mn-ea"/>
              <a:cs typeface="+mn-cs"/>
            </a:endParaRPr>
          </a:p>
        </p:txBody>
      </p:sp>
      <p:sp>
        <p:nvSpPr>
          <p:cNvPr id="107" name="Rectangle 93"/>
          <p:cNvSpPr>
            <a:spLocks noChangeArrowheads="1"/>
          </p:cNvSpPr>
          <p:nvPr userDrawn="1"/>
        </p:nvSpPr>
        <p:spPr bwMode="auto">
          <a:xfrm>
            <a:off x="867161" y="51688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hin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08" name="Picture 24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407987" y="5157111"/>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Rectangle 138"/>
          <p:cNvSpPr>
            <a:spLocks noChangeArrowheads="1"/>
          </p:cNvSpPr>
          <p:nvPr userDrawn="1"/>
        </p:nvSpPr>
        <p:spPr bwMode="auto">
          <a:xfrm>
            <a:off x="867161" y="554558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zech Republic</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14" name="Picture 254"/>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07987" y="5533589"/>
            <a:ext cx="388060" cy="263018"/>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123" name="Grafik 8"/>
          <p:cNvPicPr>
            <a:picLocks noChangeAspect="1"/>
          </p:cNvPicPr>
          <p:nvPr userDrawn="1"/>
        </p:nvPicPr>
        <p:blipFill>
          <a:blip r:embed="rId4"/>
          <a:stretch>
            <a:fillRect/>
          </a:stretch>
        </p:blipFill>
        <p:spPr>
          <a:xfrm>
            <a:off x="407987" y="4024988"/>
            <a:ext cx="388060" cy="259295"/>
          </a:xfrm>
          <a:prstGeom prst="rect">
            <a:avLst/>
          </a:prstGeom>
        </p:spPr>
      </p:pic>
      <p:sp>
        <p:nvSpPr>
          <p:cNvPr id="124" name="Rectangle 110"/>
          <p:cNvSpPr>
            <a:spLocks noChangeArrowheads="1"/>
          </p:cNvSpPr>
          <p:nvPr userDrawn="1"/>
        </p:nvSpPr>
        <p:spPr bwMode="auto">
          <a:xfrm>
            <a:off x="867161" y="403512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elgium</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29" name="Rectangle 118"/>
          <p:cNvSpPr>
            <a:spLocks noChangeArrowheads="1"/>
          </p:cNvSpPr>
          <p:nvPr userDrawn="1"/>
        </p:nvSpPr>
        <p:spPr bwMode="auto">
          <a:xfrm>
            <a:off x="867161" y="364722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ia</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30" name="Grafik 29"/>
          <p:cNvPicPr>
            <a:picLocks noChangeAspect="1"/>
          </p:cNvPicPr>
          <p:nvPr userDrawn="1"/>
        </p:nvPicPr>
        <p:blipFill>
          <a:blip r:embed="rId5"/>
          <a:stretch>
            <a:fillRect/>
          </a:stretch>
        </p:blipFill>
        <p:spPr>
          <a:xfrm>
            <a:off x="407987" y="3647221"/>
            <a:ext cx="387258" cy="264308"/>
          </a:xfrm>
          <a:prstGeom prst="rect">
            <a:avLst/>
          </a:prstGeom>
          <a:ln>
            <a:solidFill>
              <a:schemeClr val="accent6"/>
            </a:solidFill>
          </a:ln>
        </p:spPr>
      </p:pic>
      <p:pic>
        <p:nvPicPr>
          <p:cNvPr id="135" name="Grafik 33"/>
          <p:cNvPicPr>
            <a:picLocks noChangeAspect="1"/>
          </p:cNvPicPr>
          <p:nvPr userDrawn="1"/>
        </p:nvPicPr>
        <p:blipFill>
          <a:blip r:embed="rId6"/>
          <a:stretch>
            <a:fillRect/>
          </a:stretch>
        </p:blipFill>
        <p:spPr>
          <a:xfrm>
            <a:off x="407987" y="3267843"/>
            <a:ext cx="390500" cy="265918"/>
          </a:xfrm>
          <a:prstGeom prst="rect">
            <a:avLst/>
          </a:prstGeom>
        </p:spPr>
      </p:pic>
      <p:sp>
        <p:nvSpPr>
          <p:cNvPr id="136" name="Rectangle 93"/>
          <p:cNvSpPr>
            <a:spLocks noChangeArrowheads="1"/>
          </p:cNvSpPr>
          <p:nvPr userDrawn="1"/>
        </p:nvSpPr>
        <p:spPr bwMode="auto">
          <a:xfrm>
            <a:off x="867161" y="328129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ali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43" name="Rectangle 363"/>
          <p:cNvSpPr>
            <a:spLocks noChangeArrowheads="1"/>
          </p:cNvSpPr>
          <p:nvPr userDrawn="1"/>
        </p:nvSpPr>
        <p:spPr bwMode="auto">
          <a:xfrm>
            <a:off x="867161" y="290208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rgentina</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44" name="Grafik 58"/>
          <p:cNvPicPr>
            <a:picLocks noChangeAspect="1"/>
          </p:cNvPicPr>
          <p:nvPr userDrawn="1"/>
        </p:nvPicPr>
        <p:blipFill>
          <a:blip r:embed="rId7"/>
          <a:stretch>
            <a:fillRect/>
          </a:stretch>
        </p:blipFill>
        <p:spPr>
          <a:xfrm>
            <a:off x="407987" y="2891909"/>
            <a:ext cx="388060" cy="259381"/>
          </a:xfrm>
          <a:prstGeom prst="rect">
            <a:avLst/>
          </a:prstGeom>
          <a:ln>
            <a:solidFill>
              <a:schemeClr val="accent6"/>
            </a:solidFill>
          </a:ln>
        </p:spPr>
      </p:pic>
      <p:sp>
        <p:nvSpPr>
          <p:cNvPr id="149" name="Rectangle 85"/>
          <p:cNvSpPr>
            <a:spLocks noChangeArrowheads="1"/>
          </p:cNvSpPr>
          <p:nvPr userDrawn="1"/>
        </p:nvSpPr>
        <p:spPr bwMode="auto">
          <a:xfrm>
            <a:off x="867161" y="44165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razil</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50" name="Grafik 31"/>
          <p:cNvPicPr>
            <a:picLocks noChangeAspect="1"/>
          </p:cNvPicPr>
          <p:nvPr userDrawn="1"/>
        </p:nvPicPr>
        <p:blipFill>
          <a:blip r:embed="rId8"/>
          <a:stretch>
            <a:fillRect/>
          </a:stretch>
        </p:blipFill>
        <p:spPr>
          <a:xfrm>
            <a:off x="407987" y="4404971"/>
            <a:ext cx="390195" cy="262202"/>
          </a:xfrm>
          <a:prstGeom prst="rect">
            <a:avLst/>
          </a:prstGeom>
        </p:spPr>
      </p:pic>
      <p:sp>
        <p:nvSpPr>
          <p:cNvPr id="161" name="Rectangle 363"/>
          <p:cNvSpPr>
            <a:spLocks noChangeArrowheads="1"/>
          </p:cNvSpPr>
          <p:nvPr userDrawn="1"/>
        </p:nvSpPr>
        <p:spPr bwMode="auto">
          <a:xfrm>
            <a:off x="867161" y="479190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anada</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62" name="Grafik 66"/>
          <p:cNvPicPr>
            <a:picLocks noChangeAspect="1"/>
          </p:cNvPicPr>
          <p:nvPr userDrawn="1"/>
        </p:nvPicPr>
        <p:blipFill>
          <a:blip r:embed="rId9"/>
          <a:stretch>
            <a:fillRect/>
          </a:stretch>
        </p:blipFill>
        <p:spPr>
          <a:xfrm>
            <a:off x="407987" y="4780633"/>
            <a:ext cx="388569" cy="261560"/>
          </a:xfrm>
          <a:prstGeom prst="rect">
            <a:avLst/>
          </a:prstGeom>
          <a:ln>
            <a:solidFill>
              <a:schemeClr val="accent6"/>
            </a:solidFill>
          </a:ln>
        </p:spPr>
      </p:pic>
      <p:pic>
        <p:nvPicPr>
          <p:cNvPr id="121" name="Picture 24" descr="Dänemark Flagge"/>
          <p:cNvPicPr preferRelativeResize="0">
            <a:picLocks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533700" y="2896486"/>
            <a:ext cx="388060" cy="254803"/>
          </a:xfrm>
          <a:prstGeom prst="rect">
            <a:avLst/>
          </a:prstGeom>
          <a:noFill/>
          <a:extLst>
            <a:ext uri="{909E8E84-426E-40DD-AFC4-6F175D3DCCD1}">
              <a14:hiddenFill xmlns:a14="http://schemas.microsoft.com/office/drawing/2010/main">
                <a:solidFill>
                  <a:srgbClr val="FFFFFF"/>
                </a:solidFill>
              </a14:hiddenFill>
            </a:ext>
          </a:extLst>
        </p:spPr>
      </p:pic>
      <p:sp>
        <p:nvSpPr>
          <p:cNvPr id="122" name="Rectangle 363"/>
          <p:cNvSpPr>
            <a:spLocks noChangeArrowheads="1"/>
          </p:cNvSpPr>
          <p:nvPr userDrawn="1"/>
        </p:nvSpPr>
        <p:spPr bwMode="auto">
          <a:xfrm>
            <a:off x="2992875" y="29043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Denmark</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25" name="Rectangle 134"/>
          <p:cNvSpPr>
            <a:spLocks noChangeArrowheads="1"/>
          </p:cNvSpPr>
          <p:nvPr userDrawn="1"/>
        </p:nvSpPr>
        <p:spPr bwMode="auto">
          <a:xfrm>
            <a:off x="2984117" y="51686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taly</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26" name="Picture 251"/>
          <p:cNvPicPr>
            <a:picLocks noChangeAspect="1" noChangeArrowheads="1"/>
          </p:cNvPicPr>
          <p:nvPr userDrawn="1"/>
        </p:nvPicPr>
        <p:blipFill>
          <a:blip r:embed="rId11" cstate="hqprint">
            <a:extLst>
              <a:ext uri="{28A0092B-C50C-407E-A947-70E740481C1C}">
                <a14:useLocalDpi xmlns:a14="http://schemas.microsoft.com/office/drawing/2010/main" val="0"/>
              </a:ext>
            </a:extLst>
          </a:blip>
          <a:srcRect/>
          <a:stretch>
            <a:fillRect/>
          </a:stretch>
        </p:blipFill>
        <p:spPr bwMode="auto">
          <a:xfrm>
            <a:off x="2534503" y="5154887"/>
            <a:ext cx="388400" cy="266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 name="Rectangle 340"/>
          <p:cNvSpPr>
            <a:spLocks noChangeArrowheads="1"/>
          </p:cNvSpPr>
          <p:nvPr userDrawn="1"/>
        </p:nvSpPr>
        <p:spPr bwMode="auto">
          <a:xfrm>
            <a:off x="2984117" y="47866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ndia</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34" name="Grafik 54"/>
          <p:cNvPicPr>
            <a:picLocks noChangeAspect="1"/>
          </p:cNvPicPr>
          <p:nvPr userDrawn="1"/>
        </p:nvPicPr>
        <p:blipFill>
          <a:blip r:embed="rId12"/>
          <a:stretch>
            <a:fillRect/>
          </a:stretch>
        </p:blipFill>
        <p:spPr>
          <a:xfrm>
            <a:off x="2534503" y="4777120"/>
            <a:ext cx="388060" cy="258060"/>
          </a:xfrm>
          <a:prstGeom prst="rect">
            <a:avLst/>
          </a:prstGeom>
          <a:ln>
            <a:solidFill>
              <a:schemeClr val="accent6"/>
            </a:solidFill>
          </a:ln>
        </p:spPr>
      </p:pic>
      <p:sp>
        <p:nvSpPr>
          <p:cNvPr id="139" name="Rectangle 340"/>
          <p:cNvSpPr>
            <a:spLocks noChangeArrowheads="1"/>
          </p:cNvSpPr>
          <p:nvPr userDrawn="1"/>
        </p:nvSpPr>
        <p:spPr bwMode="auto">
          <a:xfrm>
            <a:off x="2984117" y="440933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reece</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40" name="Grafik 57"/>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2534503" y="4397742"/>
            <a:ext cx="388060" cy="262205"/>
          </a:xfrm>
          <a:prstGeom prst="rect">
            <a:avLst/>
          </a:prstGeom>
        </p:spPr>
      </p:pic>
      <p:sp>
        <p:nvSpPr>
          <p:cNvPr id="141" name="Rectangle 97"/>
          <p:cNvSpPr>
            <a:spLocks noChangeArrowheads="1"/>
          </p:cNvSpPr>
          <p:nvPr userDrawn="1"/>
        </p:nvSpPr>
        <p:spPr bwMode="auto">
          <a:xfrm>
            <a:off x="2984117" y="403353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ermany</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42" name="Picture 246"/>
          <p:cNvPicPr>
            <a:picLocks noChangeAspect="1" noChangeArrowheads="1"/>
          </p:cNvPicPr>
          <p:nvPr userDrawn="1"/>
        </p:nvPicPr>
        <p:blipFill>
          <a:blip r:embed="rId14" cstate="hqprint">
            <a:extLst>
              <a:ext uri="{28A0092B-C50C-407E-A947-70E740481C1C}">
                <a14:useLocalDpi xmlns:a14="http://schemas.microsoft.com/office/drawing/2010/main" val="0"/>
              </a:ext>
            </a:extLst>
          </a:blip>
          <a:srcRect/>
          <a:stretch>
            <a:fillRect/>
          </a:stretch>
        </p:blipFill>
        <p:spPr bwMode="auto">
          <a:xfrm>
            <a:off x="2534503" y="4021808"/>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 name="Rectangle 93"/>
          <p:cNvSpPr>
            <a:spLocks noChangeArrowheads="1"/>
          </p:cNvSpPr>
          <p:nvPr userDrawn="1"/>
        </p:nvSpPr>
        <p:spPr bwMode="auto">
          <a:xfrm>
            <a:off x="2984117" y="55464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Japan</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52" name="Grafik 64"/>
          <p:cNvPicPr preferRelativeResize="0"/>
          <p:nvPr userDrawn="1"/>
        </p:nvPicPr>
        <p:blipFill>
          <a:blip r:embed="rId15" cstate="print">
            <a:extLst>
              <a:ext uri="{28A0092B-C50C-407E-A947-70E740481C1C}">
                <a14:useLocalDpi xmlns:a14="http://schemas.microsoft.com/office/drawing/2010/main" val="0"/>
              </a:ext>
            </a:extLst>
          </a:blip>
          <a:stretch>
            <a:fillRect/>
          </a:stretch>
        </p:blipFill>
        <p:spPr>
          <a:xfrm>
            <a:off x="2534503" y="5534871"/>
            <a:ext cx="388569" cy="262202"/>
          </a:xfrm>
          <a:prstGeom prst="rect">
            <a:avLst/>
          </a:prstGeom>
          <a:ln>
            <a:solidFill>
              <a:schemeClr val="accent6"/>
            </a:solidFill>
          </a:ln>
        </p:spPr>
      </p:pic>
      <p:sp>
        <p:nvSpPr>
          <p:cNvPr id="155" name="Rectangle 93"/>
          <p:cNvSpPr>
            <a:spLocks noChangeArrowheads="1"/>
          </p:cNvSpPr>
          <p:nvPr userDrawn="1"/>
        </p:nvSpPr>
        <p:spPr bwMode="auto">
          <a:xfrm>
            <a:off x="2992875" y="328581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inland</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56" name="Grafik 65"/>
          <p:cNvPicPr>
            <a:picLocks noChangeAspect="1"/>
          </p:cNvPicPr>
          <p:nvPr userDrawn="1"/>
        </p:nvPicPr>
        <p:blipFill>
          <a:blip r:embed="rId16"/>
          <a:stretch>
            <a:fillRect/>
          </a:stretch>
        </p:blipFill>
        <p:spPr>
          <a:xfrm>
            <a:off x="2533700" y="3272148"/>
            <a:ext cx="388569" cy="266350"/>
          </a:xfrm>
          <a:prstGeom prst="rect">
            <a:avLst/>
          </a:prstGeom>
          <a:ln>
            <a:solidFill>
              <a:schemeClr val="accent6"/>
            </a:solidFill>
          </a:ln>
        </p:spPr>
      </p:pic>
      <p:sp>
        <p:nvSpPr>
          <p:cNvPr id="163" name="Rectangle 122"/>
          <p:cNvSpPr>
            <a:spLocks noChangeArrowheads="1"/>
          </p:cNvSpPr>
          <p:nvPr userDrawn="1"/>
        </p:nvSpPr>
        <p:spPr bwMode="auto">
          <a:xfrm>
            <a:off x="2992875" y="366859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rance</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64" name="Grafik 30"/>
          <p:cNvPicPr>
            <a:picLocks noChangeAspect="1"/>
          </p:cNvPicPr>
          <p:nvPr userDrawn="1"/>
        </p:nvPicPr>
        <p:blipFill>
          <a:blip r:embed="rId17"/>
          <a:stretch>
            <a:fillRect/>
          </a:stretch>
        </p:blipFill>
        <p:spPr>
          <a:xfrm>
            <a:off x="2533700" y="3655677"/>
            <a:ext cx="388060" cy="264854"/>
          </a:xfrm>
          <a:prstGeom prst="rect">
            <a:avLst/>
          </a:prstGeom>
          <a:ln>
            <a:solidFill>
              <a:schemeClr val="accent6"/>
            </a:solidFill>
          </a:ln>
        </p:spPr>
      </p:pic>
      <p:pic>
        <p:nvPicPr>
          <p:cNvPr id="109" name="Grafik 7"/>
          <p:cNvPicPr>
            <a:picLocks noChangeAspect="1"/>
          </p:cNvPicPr>
          <p:nvPr userDrawn="1"/>
        </p:nvPicPr>
        <p:blipFill>
          <a:blip r:embed="rId18"/>
          <a:stretch>
            <a:fillRect/>
          </a:stretch>
        </p:blipFill>
        <p:spPr>
          <a:xfrm>
            <a:off x="4659414" y="3282747"/>
            <a:ext cx="388060" cy="258060"/>
          </a:xfrm>
          <a:prstGeom prst="rect">
            <a:avLst/>
          </a:prstGeom>
          <a:ln>
            <a:solidFill>
              <a:schemeClr val="accent6"/>
            </a:solidFill>
          </a:ln>
        </p:spPr>
      </p:pic>
      <p:sp>
        <p:nvSpPr>
          <p:cNvPr id="110" name="Rectangle 114"/>
          <p:cNvSpPr>
            <a:spLocks noChangeArrowheads="1"/>
          </p:cNvSpPr>
          <p:nvPr userDrawn="1"/>
        </p:nvSpPr>
        <p:spPr bwMode="auto">
          <a:xfrm>
            <a:off x="5109027" y="329226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etherlands</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15" name="Picture 55" descr="http://ts2.mm.bing.net/th?id=HN.608007944726712025&amp;pid=15.1&amp;P=0"/>
          <p:cNvPicPr preferRelativeResize="0">
            <a:picLocks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4659414" y="3659225"/>
            <a:ext cx="388060" cy="266477"/>
          </a:xfrm>
          <a:prstGeom prst="rect">
            <a:avLst/>
          </a:prstGeom>
          <a:noFill/>
          <a:extLst>
            <a:ext uri="{909E8E84-426E-40DD-AFC4-6F175D3DCCD1}">
              <a14:hiddenFill xmlns:a14="http://schemas.microsoft.com/office/drawing/2010/main">
                <a:solidFill>
                  <a:srgbClr val="FFFFFF"/>
                </a:solidFill>
              </a14:hiddenFill>
            </a:ext>
          </a:extLst>
        </p:spPr>
      </p:pic>
      <p:sp>
        <p:nvSpPr>
          <p:cNvPr id="116" name="Rectangle 93"/>
          <p:cNvSpPr>
            <a:spLocks noChangeArrowheads="1"/>
          </p:cNvSpPr>
          <p:nvPr userDrawn="1"/>
        </p:nvSpPr>
        <p:spPr bwMode="auto">
          <a:xfrm>
            <a:off x="5109027" y="36729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orway</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19" name="Rectangle 336"/>
          <p:cNvSpPr>
            <a:spLocks noChangeArrowheads="1"/>
          </p:cNvSpPr>
          <p:nvPr userDrawn="1"/>
        </p:nvSpPr>
        <p:spPr bwMode="auto">
          <a:xfrm>
            <a:off x="5109027" y="40507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land</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20" name="Grafik 32"/>
          <p:cNvPicPr>
            <a:picLocks noChangeAspect="1"/>
          </p:cNvPicPr>
          <p:nvPr userDrawn="1"/>
        </p:nvPicPr>
        <p:blipFill>
          <a:blip r:embed="rId20"/>
          <a:stretch>
            <a:fillRect/>
          </a:stretch>
        </p:blipFill>
        <p:spPr>
          <a:xfrm>
            <a:off x="4659414" y="4039161"/>
            <a:ext cx="388061" cy="262202"/>
          </a:xfrm>
          <a:prstGeom prst="rect">
            <a:avLst/>
          </a:prstGeom>
          <a:ln>
            <a:solidFill>
              <a:schemeClr val="accent6"/>
            </a:solidFill>
          </a:ln>
        </p:spPr>
      </p:pic>
      <p:sp>
        <p:nvSpPr>
          <p:cNvPr id="137" name="Rectangle 93"/>
          <p:cNvSpPr>
            <a:spLocks noChangeArrowheads="1"/>
          </p:cNvSpPr>
          <p:nvPr userDrawn="1"/>
        </p:nvSpPr>
        <p:spPr bwMode="auto">
          <a:xfrm>
            <a:off x="5115713" y="555337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lovakia</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38" name="Grafik 56"/>
          <p:cNvPicPr>
            <a:picLocks noChangeAspect="1"/>
          </p:cNvPicPr>
          <p:nvPr userDrawn="1"/>
        </p:nvPicPr>
        <p:blipFill>
          <a:blip r:embed="rId21"/>
          <a:stretch>
            <a:fillRect/>
          </a:stretch>
        </p:blipFill>
        <p:spPr>
          <a:xfrm>
            <a:off x="4659414" y="5543855"/>
            <a:ext cx="388060" cy="258060"/>
          </a:xfrm>
          <a:prstGeom prst="rect">
            <a:avLst/>
          </a:prstGeom>
          <a:ln>
            <a:solidFill>
              <a:schemeClr val="accent6"/>
            </a:solidFill>
          </a:ln>
        </p:spPr>
      </p:pic>
      <p:pic>
        <p:nvPicPr>
          <p:cNvPr id="145" name="Picture 18" descr="Südafrika Flagge"/>
          <p:cNvPicPr preferRelativeResize="0">
            <a:picLocks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4659414" y="5167921"/>
            <a:ext cx="388569" cy="255134"/>
          </a:xfrm>
          <a:prstGeom prst="rect">
            <a:avLst/>
          </a:prstGeom>
          <a:noFill/>
          <a:extLst>
            <a:ext uri="{909E8E84-426E-40DD-AFC4-6F175D3DCCD1}">
              <a14:hiddenFill xmlns:a14="http://schemas.microsoft.com/office/drawing/2010/main">
                <a:solidFill>
                  <a:srgbClr val="FFFFFF"/>
                </a:solidFill>
              </a14:hiddenFill>
            </a:ext>
          </a:extLst>
        </p:spPr>
      </p:pic>
      <p:sp>
        <p:nvSpPr>
          <p:cNvPr id="146" name="Rectangle 340"/>
          <p:cNvSpPr>
            <a:spLocks noChangeArrowheads="1"/>
          </p:cNvSpPr>
          <p:nvPr userDrawn="1"/>
        </p:nvSpPr>
        <p:spPr bwMode="auto">
          <a:xfrm>
            <a:off x="5115713" y="51759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outh Africa</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53" name="Rectangle 93"/>
          <p:cNvSpPr>
            <a:spLocks noChangeArrowheads="1"/>
          </p:cNvSpPr>
          <p:nvPr userDrawn="1"/>
        </p:nvSpPr>
        <p:spPr bwMode="auto">
          <a:xfrm>
            <a:off x="5109027" y="44244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rtugal</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54" name="Grafik 55"/>
          <p:cNvPicPr>
            <a:picLocks noChangeAspect="1"/>
          </p:cNvPicPr>
          <p:nvPr userDrawn="1"/>
        </p:nvPicPr>
        <p:blipFill>
          <a:blip r:embed="rId23"/>
          <a:stretch>
            <a:fillRect/>
          </a:stretch>
        </p:blipFill>
        <p:spPr>
          <a:xfrm>
            <a:off x="4659414" y="4414823"/>
            <a:ext cx="388352" cy="258253"/>
          </a:xfrm>
          <a:prstGeom prst="rect">
            <a:avLst/>
          </a:prstGeom>
        </p:spPr>
      </p:pic>
      <p:sp>
        <p:nvSpPr>
          <p:cNvPr id="159" name="Rectangle 340"/>
          <p:cNvSpPr>
            <a:spLocks noChangeArrowheads="1"/>
          </p:cNvSpPr>
          <p:nvPr userDrawn="1"/>
        </p:nvSpPr>
        <p:spPr bwMode="auto">
          <a:xfrm>
            <a:off x="5109027" y="291635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Mexico</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60" name="Grafik 49"/>
          <p:cNvPicPr>
            <a:picLocks noChangeAspect="1"/>
          </p:cNvPicPr>
          <p:nvPr userDrawn="1"/>
        </p:nvPicPr>
        <p:blipFill>
          <a:blip r:embed="rId24"/>
          <a:stretch>
            <a:fillRect/>
          </a:stretch>
        </p:blipFill>
        <p:spPr>
          <a:xfrm>
            <a:off x="4659414" y="2906269"/>
            <a:ext cx="388060" cy="259201"/>
          </a:xfrm>
          <a:prstGeom prst="rect">
            <a:avLst/>
          </a:prstGeom>
        </p:spPr>
      </p:pic>
      <p:sp>
        <p:nvSpPr>
          <p:cNvPr id="165" name="Rectangle 363"/>
          <p:cNvSpPr>
            <a:spLocks noChangeArrowheads="1"/>
          </p:cNvSpPr>
          <p:nvPr userDrawn="1"/>
        </p:nvSpPr>
        <p:spPr bwMode="auto">
          <a:xfrm>
            <a:off x="5109027" y="479835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Russia</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66" name="Grafik 53"/>
          <p:cNvPicPr>
            <a:picLocks noChangeAspect="1"/>
          </p:cNvPicPr>
          <p:nvPr userDrawn="1"/>
        </p:nvPicPr>
        <p:blipFill>
          <a:blip r:embed="rId25"/>
          <a:stretch>
            <a:fillRect/>
          </a:stretch>
        </p:blipFill>
        <p:spPr>
          <a:xfrm>
            <a:off x="4659414" y="4798352"/>
            <a:ext cx="388060" cy="258061"/>
          </a:xfrm>
          <a:prstGeom prst="rect">
            <a:avLst/>
          </a:prstGeom>
          <a:ln>
            <a:solidFill>
              <a:schemeClr val="accent6"/>
            </a:solidFill>
          </a:ln>
        </p:spPr>
      </p:pic>
      <p:sp>
        <p:nvSpPr>
          <p:cNvPr id="111" name="Rectangle 89"/>
          <p:cNvSpPr>
            <a:spLocks noChangeArrowheads="1"/>
          </p:cNvSpPr>
          <p:nvPr userDrawn="1"/>
        </p:nvSpPr>
        <p:spPr bwMode="auto">
          <a:xfrm>
            <a:off x="7238551" y="442638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K</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12" name="Picture 253"/>
          <p:cNvPicPr>
            <a:picLocks noChangeAspect="1" noChangeArrowheads="1"/>
          </p:cNvPicPr>
          <p:nvPr userDrawn="1"/>
        </p:nvPicPr>
        <p:blipFill>
          <a:blip r:embed="rId26" cstate="hqprint">
            <a:extLst>
              <a:ext uri="{28A0092B-C50C-407E-A947-70E740481C1C}">
                <a14:useLocalDpi xmlns:a14="http://schemas.microsoft.com/office/drawing/2010/main" val="0"/>
              </a:ext>
            </a:extLst>
          </a:blip>
          <a:srcRect/>
          <a:stretch>
            <a:fillRect/>
          </a:stretch>
        </p:blipFill>
        <p:spPr bwMode="auto">
          <a:xfrm>
            <a:off x="6782251" y="4414387"/>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6" descr="http://wallpaperspoints.com/wp-content/uploads/2013/06/USA-flag-download-hd-wallpapers.gif">
            <a:hlinkClick r:id="rId27"/>
          </p:cNvPr>
          <p:cNvPicPr preferRelativeResize="0">
            <a:picLocks noChangeArrowheads="1"/>
          </p:cNvPicPr>
          <p:nvPr userDrawn="1"/>
        </p:nvPicPr>
        <p:blipFill>
          <a:blip r:embed="rId28" cstate="hqprint">
            <a:extLst>
              <a:ext uri="{28A0092B-C50C-407E-A947-70E740481C1C}">
                <a14:useLocalDpi xmlns:a14="http://schemas.microsoft.com/office/drawing/2010/main" val="0"/>
              </a:ext>
            </a:extLst>
          </a:blip>
          <a:srcRect/>
          <a:stretch>
            <a:fillRect/>
          </a:stretch>
        </p:blipFill>
        <p:spPr bwMode="auto">
          <a:xfrm>
            <a:off x="6782251" y="4790865"/>
            <a:ext cx="388060" cy="262202"/>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118" name="Rectangle 363"/>
          <p:cNvSpPr>
            <a:spLocks noChangeArrowheads="1"/>
          </p:cNvSpPr>
          <p:nvPr userDrawn="1"/>
        </p:nvSpPr>
        <p:spPr bwMode="auto">
          <a:xfrm>
            <a:off x="7238551" y="480245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SA</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27" name="Rectangle 371"/>
          <p:cNvSpPr>
            <a:spLocks noChangeArrowheads="1"/>
          </p:cNvSpPr>
          <p:nvPr userDrawn="1"/>
        </p:nvSpPr>
        <p:spPr bwMode="auto">
          <a:xfrm>
            <a:off x="7238551" y="329250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eden</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28" name="Grafik 51"/>
          <p:cNvPicPr>
            <a:picLocks noChangeAspect="1"/>
          </p:cNvPicPr>
          <p:nvPr userDrawn="1"/>
        </p:nvPicPr>
        <p:blipFill>
          <a:blip r:embed="rId29"/>
          <a:stretch>
            <a:fillRect/>
          </a:stretch>
        </p:blipFill>
        <p:spPr>
          <a:xfrm>
            <a:off x="6782251" y="3282264"/>
            <a:ext cx="388060" cy="259503"/>
          </a:xfrm>
          <a:prstGeom prst="rect">
            <a:avLst/>
          </a:prstGeom>
        </p:spPr>
      </p:pic>
      <p:sp>
        <p:nvSpPr>
          <p:cNvPr id="131" name="Rectangle 371"/>
          <p:cNvSpPr>
            <a:spLocks noChangeArrowheads="1"/>
          </p:cNvSpPr>
          <p:nvPr userDrawn="1"/>
        </p:nvSpPr>
        <p:spPr bwMode="auto">
          <a:xfrm>
            <a:off x="7238551" y="291401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pain</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32" name="Grafik 50"/>
          <p:cNvPicPr>
            <a:picLocks noChangeAspect="1"/>
          </p:cNvPicPr>
          <p:nvPr userDrawn="1"/>
        </p:nvPicPr>
        <p:blipFill>
          <a:blip r:embed="rId30"/>
          <a:stretch>
            <a:fillRect/>
          </a:stretch>
        </p:blipFill>
        <p:spPr>
          <a:xfrm flipH="1">
            <a:off x="6782251" y="2904497"/>
            <a:ext cx="388060" cy="258060"/>
          </a:xfrm>
          <a:prstGeom prst="rect">
            <a:avLst/>
          </a:prstGeom>
        </p:spPr>
      </p:pic>
      <p:sp>
        <p:nvSpPr>
          <p:cNvPr id="147" name="Rectangle 130"/>
          <p:cNvSpPr>
            <a:spLocks noChangeArrowheads="1"/>
          </p:cNvSpPr>
          <p:nvPr userDrawn="1"/>
        </p:nvSpPr>
        <p:spPr bwMode="auto">
          <a:xfrm>
            <a:off x="7238551" y="36738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itzerland</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48" name="Picture 255"/>
          <p:cNvPicPr>
            <a:picLocks noChangeAspect="1" noChangeArrowheads="1"/>
          </p:cNvPicPr>
          <p:nvPr userDrawn="1"/>
        </p:nvPicPr>
        <p:blipFill>
          <a:blip r:embed="rId31" cstate="hqprint">
            <a:extLst>
              <a:ext uri="{28A0092B-C50C-407E-A947-70E740481C1C}">
                <a14:useLocalDpi xmlns:a14="http://schemas.microsoft.com/office/drawing/2010/main" val="0"/>
              </a:ext>
            </a:extLst>
          </a:blip>
          <a:srcRect/>
          <a:stretch>
            <a:fillRect/>
          </a:stretch>
        </p:blipFill>
        <p:spPr bwMode="auto">
          <a:xfrm>
            <a:off x="6782251" y="3662248"/>
            <a:ext cx="388061" cy="26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 name="Rectangle 126"/>
          <p:cNvSpPr>
            <a:spLocks noChangeArrowheads="1"/>
          </p:cNvSpPr>
          <p:nvPr userDrawn="1"/>
        </p:nvSpPr>
        <p:spPr bwMode="auto">
          <a:xfrm>
            <a:off x="7238551" y="404990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Turkey</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58" name="Picture 256"/>
          <p:cNvPicPr>
            <a:picLocks noChangeAspect="1" noChangeArrowheads="1"/>
          </p:cNvPicPr>
          <p:nvPr userDrawn="1"/>
        </p:nvPicPr>
        <p:blipFill>
          <a:blip r:embed="rId32" cstate="hqprint">
            <a:extLst>
              <a:ext uri="{28A0092B-C50C-407E-A947-70E740481C1C}">
                <a14:useLocalDpi xmlns:a14="http://schemas.microsoft.com/office/drawing/2010/main" val="0"/>
              </a:ext>
            </a:extLst>
          </a:blip>
          <a:srcRect/>
          <a:stretch>
            <a:fillRect/>
          </a:stretch>
        </p:blipFill>
        <p:spPr bwMode="auto">
          <a:xfrm>
            <a:off x="6782251" y="4037909"/>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 name="Rectangle 93"/>
          <p:cNvSpPr>
            <a:spLocks noChangeArrowheads="1"/>
          </p:cNvSpPr>
          <p:nvPr userDrawn="1"/>
        </p:nvSpPr>
        <p:spPr bwMode="auto">
          <a:xfrm>
            <a:off x="7238551" y="552122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urope</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68" name="Grafik 68"/>
          <p:cNvPicPr>
            <a:picLocks noChangeAspect="1"/>
          </p:cNvPicPr>
          <p:nvPr userDrawn="1"/>
        </p:nvPicPr>
        <p:blipFill>
          <a:blip r:embed="rId33"/>
          <a:stretch>
            <a:fillRect/>
          </a:stretch>
        </p:blipFill>
        <p:spPr>
          <a:xfrm>
            <a:off x="6782251" y="5521227"/>
            <a:ext cx="388569" cy="261777"/>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ssets: Draft new tag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2B972256-E0E6-4F71-990B-EE107A5FBD1D}" type="datetime1">
              <a:rPr lang="zh-CN" altLang="en-US" smtClean="0"/>
            </a:fld>
            <a:endParaRPr lang="en-GB"/>
          </a:p>
        </p:txBody>
      </p:sp>
      <p:sp>
        <p:nvSpPr>
          <p:cNvPr id="4" name="Footer Placeholder 3"/>
          <p:cNvSpPr>
            <a:spLocks noGrp="1"/>
          </p:cNvSpPr>
          <p:nvPr>
            <p:ph type="ftr" sz="quarter" idx="11"/>
          </p:nvPr>
        </p:nvSpPr>
        <p:spPr/>
        <p:txBody>
          <a:bodyPr/>
          <a:lstStyle/>
          <a:p>
            <a:r>
              <a:rPr lang="en-US" smtClean="0"/>
              <a:t>Department VWA-DT  |  Hackathon Challenge Release  |  CSD-class</a:t>
            </a:r>
            <a:endParaRPr lang="en-GB"/>
          </a:p>
        </p:txBody>
      </p:sp>
      <p:sp>
        <p:nvSpPr>
          <p:cNvPr id="5" name="Slide Number Placeholder 4"/>
          <p:cNvSpPr>
            <a:spLocks noGrp="1"/>
          </p:cNvSpPr>
          <p:nvPr>
            <p:ph type="sldNum" sz="quarter" idx="12"/>
          </p:nvPr>
        </p:nvSpPr>
        <p:spPr/>
        <p:txBody>
          <a:bodyPr/>
          <a:lstStyle/>
          <a:p>
            <a:fld id="{53C98C43-8B83-4748-BA0D-B0C90A16569F}" type="slidenum">
              <a:rPr lang="en-GB" smtClean="0"/>
            </a:fld>
            <a:endParaRPr lang="en-GB"/>
          </a:p>
        </p:txBody>
      </p:sp>
      <p:grpSp>
        <p:nvGrpSpPr>
          <p:cNvPr id="6" name="Group 5"/>
          <p:cNvGrpSpPr/>
          <p:nvPr userDrawn="1"/>
        </p:nvGrpSpPr>
        <p:grpSpPr>
          <a:xfrm>
            <a:off x="5666870" y="259874"/>
            <a:ext cx="858253" cy="302506"/>
            <a:chOff x="5913580" y="2232837"/>
            <a:chExt cx="1178336" cy="457201"/>
          </a:xfrm>
        </p:grpSpPr>
        <p:sp>
          <p:nvSpPr>
            <p:cNvPr id="7" name="TextBox 48"/>
            <p:cNvSpPr txBox="1"/>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705" lvl="0" indent="-179705" defTabSz="914400" eaLnBrk="1" latinLnBrk="0" hangingPunct="1">
                <a:lnSpc>
                  <a:spcPct val="110000"/>
                </a:lnSpc>
                <a:spcBef>
                  <a:spcPts val="0"/>
                </a:spcBef>
                <a:spcAft>
                  <a:spcPts val="450"/>
                </a:spcAft>
                <a:buFont typeface="The Group TEXT" panose="00000500000000000000" pitchFamily="2" charset="0"/>
                <a:buChar char="•"/>
                <a:defRPr sz="1400">
                  <a:latin typeface="VWAG TheSans" panose="020B0502050302020203" pitchFamily="34" charset="0"/>
                  <a:sym typeface="VWAG TheSans" panose="020B0502050302020203" pitchFamily="34" charset="0"/>
                </a:defRPr>
              </a:lvl1pPr>
              <a:lvl2pPr marL="360045" lvl="1" indent="-179705" defTabSz="914400" eaLnBrk="1" latinLnBrk="0" hangingPunct="1">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6280" lvl="2" indent="-179705" defTabSz="914400" eaLnBrk="1" latinLnBrk="0" hangingPunct="1">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330" lvl="3" indent="-179705" defTabSz="914400" eaLnBrk="1" latinLnBrk="0" hangingPunct="1">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855" lvl="4" indent="-179705" defTabSz="914400" eaLnBrk="1" latinLnBrk="0" hangingPunct="1">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705" defTabSz="914400">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780" lvl="6" indent="-179705" defTabSz="914400">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9305" lvl="7" indent="-179705" defTabSz="914400">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355" lvl="8" indent="-179705" defTabSz="914400">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400" rtl="0" eaLnBrk="1" fontAlgn="base" latinLnBrk="0" hangingPunct="1">
                <a:lnSpc>
                  <a:spcPct val="100000"/>
                </a:lnSpc>
                <a:spcBef>
                  <a:spcPts val="0"/>
                </a:spcBef>
                <a:spcAft>
                  <a:spcPts val="450"/>
                </a:spcAft>
                <a:buClr>
                  <a:srgbClr val="4C5356"/>
                </a:buClr>
                <a:buSzPct val="100000"/>
                <a:buFont typeface="The Group TEXT" panose="00000500000000000000" pitchFamily="2" charset="0"/>
                <a:buNone/>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DRAFT</a:t>
              </a:r>
              <a:endPar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endParaRPr>
            </a:p>
          </p:txBody>
        </p:sp>
        <p:cxnSp>
          <p:nvCxnSpPr>
            <p:cNvPr id="8" name="Straight Connector 7"/>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 name="Group 9"/>
          <p:cNvGrpSpPr/>
          <p:nvPr userDrawn="1"/>
        </p:nvGrpSpPr>
        <p:grpSpPr>
          <a:xfrm>
            <a:off x="6973014" y="259874"/>
            <a:ext cx="858253" cy="302506"/>
            <a:chOff x="5913580" y="2232837"/>
            <a:chExt cx="1178336" cy="457201"/>
          </a:xfrm>
        </p:grpSpPr>
        <p:sp>
          <p:nvSpPr>
            <p:cNvPr id="11" name="TextBox 48"/>
            <p:cNvSpPr txBox="1"/>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705" lvl="0" indent="-179705" defTabSz="914400" eaLnBrk="1" latinLnBrk="0" hangingPunct="1">
                <a:lnSpc>
                  <a:spcPct val="110000"/>
                </a:lnSpc>
                <a:spcBef>
                  <a:spcPts val="0"/>
                </a:spcBef>
                <a:spcAft>
                  <a:spcPts val="450"/>
                </a:spcAft>
                <a:buFont typeface="The Group TEXT" panose="00000500000000000000" pitchFamily="2" charset="0"/>
                <a:buChar char="•"/>
                <a:defRPr sz="1400">
                  <a:latin typeface="VWAG TheSans" panose="020B0502050302020203" pitchFamily="34" charset="0"/>
                  <a:sym typeface="VWAG TheSans" panose="020B0502050302020203" pitchFamily="34" charset="0"/>
                </a:defRPr>
              </a:lvl1pPr>
              <a:lvl2pPr marL="360045" lvl="1" indent="-179705" defTabSz="914400" eaLnBrk="1" latinLnBrk="0" hangingPunct="1">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6280" lvl="2" indent="-179705" defTabSz="914400" eaLnBrk="1" latinLnBrk="0" hangingPunct="1">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330" lvl="3" indent="-179705" defTabSz="914400" eaLnBrk="1" latinLnBrk="0" hangingPunct="1">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855" lvl="4" indent="-179705" defTabSz="914400" eaLnBrk="1" latinLnBrk="0" hangingPunct="1">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705" defTabSz="914400">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780" lvl="6" indent="-179705" defTabSz="914400">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9305" lvl="7" indent="-179705" defTabSz="914400">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355" lvl="8" indent="-179705" defTabSz="914400">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400" rtl="0" eaLnBrk="1" fontAlgn="base" latinLnBrk="0" hangingPunct="1">
                <a:lnSpc>
                  <a:spcPct val="100000"/>
                </a:lnSpc>
                <a:spcBef>
                  <a:spcPts val="0"/>
                </a:spcBef>
                <a:spcAft>
                  <a:spcPts val="450"/>
                </a:spcAft>
                <a:buClr>
                  <a:srgbClr val="4C5356"/>
                </a:buClr>
                <a:buSzPct val="100000"/>
                <a:buFont typeface="The Group TEXT" panose="00000500000000000000" pitchFamily="2" charset="0"/>
                <a:buNone/>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NEW</a:t>
              </a:r>
              <a:endPar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endParaRPr>
            </a:p>
          </p:txBody>
        </p:sp>
        <p:cxnSp>
          <p:nvCxnSpPr>
            <p:cNvPr id="12" name="Straight Connector 11"/>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 name="Title 4"/>
          <p:cNvSpPr txBox="1"/>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Content status markers</a:t>
            </a:r>
            <a:endParaRPr lang="en-GB">
              <a:solidFill>
                <a:srgbClr val="002733"/>
              </a:solidFill>
            </a:endParaRPr>
          </a:p>
        </p:txBody>
      </p:sp>
      <p:sp>
        <p:nvSpPr>
          <p:cNvPr id="14" name="Textplatzhalter 1"/>
          <p:cNvSpPr txBox="1"/>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DRAFT and NEW markers in master</a:t>
            </a:r>
            <a:endParaRPr lang="en-GB"/>
          </a:p>
        </p:txBody>
      </p:sp>
      <p:sp>
        <p:nvSpPr>
          <p:cNvPr id="17" name="Content Placeholder 5"/>
          <p:cNvSpPr txBox="1"/>
          <p:nvPr userDrawn="1"/>
        </p:nvSpPr>
        <p:spPr bwMode="auto">
          <a:xfrm>
            <a:off x="406402" y="1851538"/>
            <a:ext cx="3962398"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79705" indent="-179705" algn="l" defTabSz="914400" rtl="0" eaLnBrk="1" latinLnBrk="0" hangingPunct="1">
              <a:lnSpc>
                <a:spcPct val="100000"/>
              </a:lnSpc>
              <a:spcBef>
                <a:spcPts val="600"/>
              </a:spcBef>
              <a:buFont typeface="The Group TEXT" panose="00000500000000000000" pitchFamily="2" charset="0"/>
              <a:buChar char="•"/>
              <a:defRPr sz="1400" kern="1200">
                <a:solidFill>
                  <a:schemeClr val="tx1"/>
                </a:solidFill>
                <a:latin typeface="+mn-lt"/>
                <a:ea typeface="+mn-ea"/>
                <a:cs typeface="+mn-cs"/>
              </a:defRPr>
            </a:lvl3pPr>
            <a:lvl4pPr marL="431800" indent="-252095"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79705"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dirty="0">
                <a:solidFill>
                  <a:schemeClr val="tx2"/>
                </a:solidFill>
              </a:rPr>
              <a:t>These content status markers are available as graphic assets you can copy from master view.</a:t>
            </a:r>
            <a:endParaRPr lang="en-GB" b="0" dirty="0">
              <a:solidFill>
                <a:schemeClr val="tx2"/>
              </a:solidFill>
            </a:endParaRPr>
          </a:p>
          <a:p>
            <a:r>
              <a:rPr lang="en-GB" b="0" dirty="0">
                <a:solidFill>
                  <a:schemeClr val="tx2"/>
                </a:solidFill>
              </a:rPr>
              <a:t>The selected tag will need to be placed </a:t>
            </a:r>
            <a:br>
              <a:rPr lang="en-GB" b="0" dirty="0">
                <a:solidFill>
                  <a:schemeClr val="tx2"/>
                </a:solidFill>
              </a:rPr>
            </a:br>
            <a:r>
              <a:rPr lang="en-GB" b="0" dirty="0">
                <a:solidFill>
                  <a:schemeClr val="tx2"/>
                </a:solidFill>
              </a:rPr>
              <a:t>centre-aligned and horizontally-aligned to the Volkswagen logo. If you need it to be applied to all slides within a presentation, go to View &gt; Slide master and place it on the first slide of the master theme.</a:t>
            </a:r>
            <a:endParaRPr lang="en-GB" b="0" dirty="0">
              <a:solidFill>
                <a:schemeClr val="tx2"/>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B6F149C-6B19-46BF-9EF8-631199B0A510}" type="datetime1">
              <a:rPr lang="zh-CN" altLang="en-US" smtClean="0"/>
            </a:fld>
            <a:endParaRPr lang="en-GB"/>
          </a:p>
        </p:txBody>
      </p:sp>
      <p:sp>
        <p:nvSpPr>
          <p:cNvPr id="4" name="Footer Placeholder 3"/>
          <p:cNvSpPr>
            <a:spLocks noGrp="1"/>
          </p:cNvSpPr>
          <p:nvPr>
            <p:ph type="ftr" sz="quarter" idx="11"/>
          </p:nvPr>
        </p:nvSpPr>
        <p:spPr/>
        <p:txBody>
          <a:bodyPr/>
          <a:lstStyle/>
          <a:p>
            <a:r>
              <a:rPr lang="en-US" smtClean="0"/>
              <a:t>Department VWA-DT  |  Hackathon Challenge Release  |  CSD-class</a:t>
            </a:r>
            <a:endParaRPr lang="en-GB"/>
          </a:p>
        </p:txBody>
      </p:sp>
      <p:sp>
        <p:nvSpPr>
          <p:cNvPr id="5" name="Slide Number Placeholder 4"/>
          <p:cNvSpPr>
            <a:spLocks noGrp="1"/>
          </p:cNvSpPr>
          <p:nvPr>
            <p:ph type="sldNum" sz="quarter" idx="12"/>
          </p:nvPr>
        </p:nvSpPr>
        <p:spPr/>
        <p:txBody>
          <a:bodyPr/>
          <a:lstStyle/>
          <a:p>
            <a:fld id="{53C98C43-8B83-4748-BA0D-B0C90A16569F}" type="slidenum">
              <a:rPr lang="en-GB" smtClean="0"/>
            </a:fld>
            <a:endParaRPr lang="en-GB"/>
          </a:p>
        </p:txBody>
      </p:sp>
      <p:sp>
        <p:nvSpPr>
          <p:cNvPr id="7" name="Content Placeholder 5"/>
          <p:cNvSpPr txBox="1"/>
          <p:nvPr userDrawn="1"/>
        </p:nvSpPr>
        <p:spPr bwMode="auto">
          <a:xfrm>
            <a:off x="406404" y="1851538"/>
            <a:ext cx="10108364"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79705" indent="-179705" algn="l" defTabSz="914400" rtl="0" eaLnBrk="1" latinLnBrk="0" hangingPunct="1">
              <a:lnSpc>
                <a:spcPct val="100000"/>
              </a:lnSpc>
              <a:spcBef>
                <a:spcPts val="600"/>
              </a:spcBef>
              <a:buFont typeface="The Group TEXT" panose="00000500000000000000" pitchFamily="2" charset="0"/>
              <a:buChar char="•"/>
              <a:defRPr sz="1400" kern="1200">
                <a:solidFill>
                  <a:schemeClr val="tx1"/>
                </a:solidFill>
                <a:latin typeface="+mn-lt"/>
                <a:ea typeface="+mn-ea"/>
                <a:cs typeface="+mn-cs"/>
              </a:defRPr>
            </a:lvl3pPr>
            <a:lvl4pPr marL="431800" indent="-252095"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79705"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dirty="0">
                <a:solidFill>
                  <a:schemeClr val="tx2"/>
                </a:solidFill>
              </a:rPr>
              <a:t>The classification set as public, internal, confidential and secret will be automatically set by Office 365. </a:t>
            </a:r>
            <a:br>
              <a:rPr lang="en-GB" b="0" dirty="0">
                <a:solidFill>
                  <a:schemeClr val="tx2"/>
                </a:solidFill>
              </a:rPr>
            </a:br>
            <a:r>
              <a:rPr lang="en-GB" b="0" dirty="0">
                <a:solidFill>
                  <a:schemeClr val="tx2"/>
                </a:solidFill>
              </a:rPr>
              <a:t>As soon as the document is created, the class has to be defined. </a:t>
            </a:r>
            <a:endParaRPr lang="en-GB" b="0" dirty="0">
              <a:solidFill>
                <a:schemeClr val="tx2"/>
              </a:solidFill>
            </a:endParaRPr>
          </a:p>
          <a:p>
            <a:r>
              <a:rPr lang="en-GB" b="0" dirty="0">
                <a:solidFill>
                  <a:schemeClr val="tx2"/>
                </a:solidFill>
              </a:rPr>
              <a:t>On the title slide, the class has to be set manually and in capital letters below the title — please add it manually. </a:t>
            </a:r>
            <a:endParaRPr lang="en-GB" b="0" dirty="0">
              <a:solidFill>
                <a:schemeClr val="tx2"/>
              </a:solidFill>
            </a:endParaRPr>
          </a:p>
          <a:p>
            <a:r>
              <a:rPr lang="en-GB" b="0" dirty="0">
                <a:solidFill>
                  <a:schemeClr val="tx2"/>
                </a:solidFill>
              </a:rPr>
              <a:t>The position of the confidentiality class on the content slide is bottom left, automatically set by the software.  </a:t>
            </a:r>
            <a:endParaRPr lang="en-GB" b="0" dirty="0">
              <a:solidFill>
                <a:schemeClr val="tx2"/>
              </a:solidFill>
            </a:endParaRPr>
          </a:p>
          <a:p>
            <a:r>
              <a:rPr lang="en-GB" b="0" dirty="0">
                <a:solidFill>
                  <a:schemeClr val="tx2"/>
                </a:solidFill>
              </a:rPr>
              <a:t>REMARK: The confidentiality classification does not appear on slides with full-page pictures.  </a:t>
            </a:r>
            <a:endParaRPr lang="en-GB" b="0" dirty="0">
              <a:solidFill>
                <a:schemeClr val="tx2"/>
              </a:solidFill>
            </a:endParaRPr>
          </a:p>
          <a:p>
            <a:r>
              <a:rPr lang="en-GB" b="0" dirty="0">
                <a:solidFill>
                  <a:schemeClr val="tx2"/>
                </a:solidFill>
              </a:rPr>
              <a:t>You can find detailed information about confidentiality classification in GroupWiki: </a:t>
            </a:r>
            <a:br>
              <a:rPr lang="en-GB" b="0" dirty="0"/>
            </a:br>
            <a:r>
              <a:rPr lang="en-GB" b="0" dirty="0">
                <a:hlinkClick r:id="rId2"/>
              </a:rPr>
              <a:t>https://group-wiki.wob.vw.vwg/wikis/pages/viewpage.action?pageId=527796483</a:t>
            </a:r>
            <a:r>
              <a:rPr lang="en-GB" b="0" dirty="0"/>
              <a:t> </a:t>
            </a:r>
            <a:endParaRPr lang="en-GB" b="0" dirty="0"/>
          </a:p>
        </p:txBody>
      </p:sp>
      <p:sp>
        <p:nvSpPr>
          <p:cNvPr id="8" name="Title 1"/>
          <p:cNvSpPr txBox="1"/>
          <p:nvPr userDrawn="1"/>
        </p:nvSpPr>
        <p:spPr bwMode="gray">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US" dirty="0"/>
              <a:t>Confidentiality Classification</a:t>
            </a:r>
            <a:endParaRPr lang="ar-AE"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uide: Footer">
    <p:spTree>
      <p:nvGrpSpPr>
        <p:cNvPr id="1" name=""/>
        <p:cNvGrpSpPr/>
        <p:nvPr/>
      </p:nvGrpSpPr>
      <p:grpSpPr>
        <a:xfrm>
          <a:off x="0" y="0"/>
          <a:ext cx="0" cy="0"/>
          <a:chOff x="0" y="0"/>
          <a:chExt cx="0" cy="0"/>
        </a:xfrm>
      </p:grpSpPr>
      <p:pic>
        <p:nvPicPr>
          <p:cNvPr id="30" name="Picture 29"/>
          <p:cNvPicPr>
            <a:picLocks noChangeAspect="1"/>
          </p:cNvPicPr>
          <p:nvPr userDrawn="1"/>
        </p:nvPicPr>
        <p:blipFill rotWithShape="1">
          <a:blip r:embed="rId2"/>
          <a:srcRect b="63951"/>
          <a:stretch>
            <a:fillRect/>
          </a:stretch>
        </p:blipFill>
        <p:spPr>
          <a:xfrm>
            <a:off x="7239130" y="4613350"/>
            <a:ext cx="2814023" cy="1024957"/>
          </a:xfrm>
          <a:prstGeom prst="rect">
            <a:avLst/>
          </a:prstGeom>
        </p:spPr>
      </p:pic>
      <p:sp>
        <p:nvSpPr>
          <p:cNvPr id="3" name="Date Placeholder 2"/>
          <p:cNvSpPr>
            <a:spLocks noGrp="1"/>
          </p:cNvSpPr>
          <p:nvPr>
            <p:ph type="dt" sz="half" idx="10"/>
          </p:nvPr>
        </p:nvSpPr>
        <p:spPr/>
        <p:txBody>
          <a:bodyPr/>
          <a:lstStyle/>
          <a:p>
            <a:fld id="{DF2F84BD-40CC-4004-85FA-7E33A30F07AF}" type="datetime1">
              <a:rPr lang="zh-CN" altLang="en-US" smtClean="0"/>
            </a:fld>
            <a:endParaRPr lang="en-GB"/>
          </a:p>
        </p:txBody>
      </p:sp>
      <p:sp>
        <p:nvSpPr>
          <p:cNvPr id="4" name="Footer Placeholder 3"/>
          <p:cNvSpPr>
            <a:spLocks noGrp="1"/>
          </p:cNvSpPr>
          <p:nvPr>
            <p:ph type="ftr" sz="quarter" idx="11"/>
          </p:nvPr>
        </p:nvSpPr>
        <p:spPr/>
        <p:txBody>
          <a:bodyPr/>
          <a:lstStyle/>
          <a:p>
            <a:r>
              <a:rPr lang="en-US" smtClean="0"/>
              <a:t>Department VWA-DT  |  Hackathon Challenge Release  |  CSD-class</a:t>
            </a:r>
            <a:endParaRPr lang="en-GB"/>
          </a:p>
        </p:txBody>
      </p:sp>
      <p:sp>
        <p:nvSpPr>
          <p:cNvPr id="5" name="Slide Number Placeholder 4"/>
          <p:cNvSpPr>
            <a:spLocks noGrp="1"/>
          </p:cNvSpPr>
          <p:nvPr>
            <p:ph type="sldNum" sz="quarter" idx="12"/>
          </p:nvPr>
        </p:nvSpPr>
        <p:spPr/>
        <p:txBody>
          <a:bodyPr/>
          <a:lstStyle/>
          <a:p>
            <a:fld id="{53C98C43-8B83-4748-BA0D-B0C90A16569F}" type="slidenum">
              <a:rPr lang="en-GB" smtClean="0"/>
            </a:fld>
            <a:endParaRPr lang="en-GB"/>
          </a:p>
        </p:txBody>
      </p:sp>
      <p:sp>
        <p:nvSpPr>
          <p:cNvPr id="2" name="Title 4"/>
          <p:cNvSpPr txBox="1"/>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Footer</a:t>
            </a:r>
            <a:endParaRPr lang="en-GB">
              <a:solidFill>
                <a:srgbClr val="002733"/>
              </a:solidFill>
            </a:endParaRPr>
          </a:p>
        </p:txBody>
      </p:sp>
      <p:sp>
        <p:nvSpPr>
          <p:cNvPr id="14" name="Textplatzhalter 1"/>
          <p:cNvSpPr txBox="1"/>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nsert &gt; Header &amp; Footer</a:t>
            </a:r>
            <a:endParaRPr lang="en-GB"/>
          </a:p>
        </p:txBody>
      </p:sp>
      <p:grpSp>
        <p:nvGrpSpPr>
          <p:cNvPr id="17" name="Group 16"/>
          <p:cNvGrpSpPr/>
          <p:nvPr userDrawn="1"/>
        </p:nvGrpSpPr>
        <p:grpSpPr>
          <a:xfrm>
            <a:off x="2208859" y="1056085"/>
            <a:ext cx="7866579" cy="4632885"/>
            <a:chOff x="2327238" y="1311961"/>
            <a:chExt cx="7866579" cy="4632885"/>
          </a:xfrm>
        </p:grpSpPr>
        <p:grpSp>
          <p:nvGrpSpPr>
            <p:cNvPr id="18" name="Group 17"/>
            <p:cNvGrpSpPr/>
            <p:nvPr/>
          </p:nvGrpSpPr>
          <p:grpSpPr>
            <a:xfrm>
              <a:off x="2327238" y="2507955"/>
              <a:ext cx="6246608" cy="492380"/>
              <a:chOff x="3246919" y="3371759"/>
              <a:chExt cx="5535706" cy="436344"/>
            </a:xfrm>
          </p:grpSpPr>
          <p:pic>
            <p:nvPicPr>
              <p:cNvPr id="25" name="Picture 24"/>
              <p:cNvPicPr>
                <a:picLocks noChangeAspect="1"/>
              </p:cNvPicPr>
              <p:nvPr/>
            </p:nvPicPr>
            <p:blipFill>
              <a:blip r:embed="rId3"/>
              <a:stretch>
                <a:fillRect/>
              </a:stretch>
            </p:blipFill>
            <p:spPr>
              <a:xfrm>
                <a:off x="3246919" y="3371759"/>
                <a:ext cx="5535706" cy="436344"/>
              </a:xfrm>
              <a:prstGeom prst="rect">
                <a:avLst/>
              </a:prstGeom>
              <a:ln>
                <a:solidFill>
                  <a:schemeClr val="accent5"/>
                </a:solidFill>
              </a:ln>
            </p:spPr>
          </p:pic>
          <p:sp>
            <p:nvSpPr>
              <p:cNvPr id="26" name="Rectangle 25"/>
              <p:cNvSpPr/>
              <p:nvPr/>
            </p:nvSpPr>
            <p:spPr>
              <a:xfrm>
                <a:off x="7235725" y="3439323"/>
                <a:ext cx="940088"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7" name="Rectangle 26"/>
              <p:cNvSpPr/>
              <p:nvPr/>
            </p:nvSpPr>
            <p:spPr>
              <a:xfrm>
                <a:off x="8334711" y="3439323"/>
                <a:ext cx="360000"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8" name="Rectangle 27"/>
              <p:cNvSpPr/>
              <p:nvPr/>
            </p:nvSpPr>
            <p:spPr>
              <a:xfrm>
                <a:off x="3307431" y="3439323"/>
                <a:ext cx="3560781"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grpSp>
        <p:sp>
          <p:nvSpPr>
            <p:cNvPr id="19" name="TextBox 18"/>
            <p:cNvSpPr txBox="1"/>
            <p:nvPr/>
          </p:nvSpPr>
          <p:spPr>
            <a:xfrm>
              <a:off x="8068410" y="1311961"/>
              <a:ext cx="2060879" cy="861774"/>
            </a:xfrm>
            <a:prstGeom prst="rect">
              <a:avLst/>
            </a:prstGeom>
            <a:noFill/>
          </p:spPr>
          <p:txBody>
            <a:bodyPr wrap="square" lIns="0" tIns="0" rIns="0" bIns="0" rtlCol="0">
              <a:spAutoFit/>
            </a:bodyPr>
            <a:lstStyle/>
            <a:p>
              <a:r>
                <a:rPr lang="en-GB" sz="1400" b="1" kern="1200">
                  <a:solidFill>
                    <a:srgbClr val="002733"/>
                  </a:solidFill>
                  <a:latin typeface="+mn-lt"/>
                  <a:ea typeface="+mn-ea"/>
                  <a:cs typeface="+mn-cs"/>
                </a:rPr>
                <a:t>The page number </a:t>
              </a:r>
              <a:r>
                <a:rPr lang="en-GB" sz="1400"/>
                <a:t>is counted automatically and does not need to be adapted.</a:t>
              </a:r>
              <a:endParaRPr lang="en-GB" sz="1400"/>
            </a:p>
          </p:txBody>
        </p:sp>
        <p:sp>
          <p:nvSpPr>
            <p:cNvPr id="20" name="TextBox 19"/>
            <p:cNvSpPr txBox="1"/>
            <p:nvPr/>
          </p:nvSpPr>
          <p:spPr>
            <a:xfrm>
              <a:off x="7379790" y="3359523"/>
              <a:ext cx="2814027" cy="861774"/>
            </a:xfrm>
            <a:prstGeom prst="rect">
              <a:avLst/>
            </a:prstGeom>
            <a:noFill/>
          </p:spPr>
          <p:txBody>
            <a:bodyPr wrap="square" lIns="0" tIns="0" rIns="0" bIns="0" rtlCol="0">
              <a:spAutoFit/>
            </a:bodyPr>
            <a:lstStyle/>
            <a:p>
              <a:r>
                <a:rPr lang="en-GB" sz="1400" b="1" kern="1200" dirty="0">
                  <a:solidFill>
                    <a:srgbClr val="002733"/>
                  </a:solidFill>
                  <a:latin typeface="+mn-lt"/>
                  <a:ea typeface="+mn-ea"/>
                  <a:cs typeface="+mn-cs"/>
                </a:rPr>
                <a:t>The static date </a:t>
              </a:r>
              <a:r>
                <a:rPr lang="en-GB" sz="1400" dirty="0"/>
                <a:t>has to be adapted manually. You can change it into a dynamic one through Insert, then Header &amp; Footer.</a:t>
              </a:r>
              <a:endParaRPr lang="en-GB" sz="1400" dirty="0"/>
            </a:p>
          </p:txBody>
        </p:sp>
        <p:cxnSp>
          <p:nvCxnSpPr>
            <p:cNvPr id="21" name="Straight Connector 20"/>
            <p:cNvCxnSpPr/>
            <p:nvPr/>
          </p:nvCxnSpPr>
          <p:spPr>
            <a:xfrm flipV="1">
              <a:off x="7379790"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22" name="Straight Connector 21"/>
            <p:cNvCxnSpPr/>
            <p:nvPr/>
          </p:nvCxnSpPr>
          <p:spPr>
            <a:xfrm flipV="1">
              <a:off x="2524613"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23" name="TextBox 22"/>
            <p:cNvSpPr txBox="1"/>
            <p:nvPr/>
          </p:nvSpPr>
          <p:spPr>
            <a:xfrm>
              <a:off x="2395521" y="3359523"/>
              <a:ext cx="4241989" cy="2585323"/>
            </a:xfrm>
            <a:prstGeom prst="rect">
              <a:avLst/>
            </a:prstGeom>
            <a:noFill/>
          </p:spPr>
          <p:txBody>
            <a:bodyPr wrap="square" lIns="0" tIns="0" rIns="0" bIns="0" rtlCol="0">
              <a:spAutoFit/>
            </a:bodyPr>
            <a:lstStyle/>
            <a:p>
              <a:r>
                <a:rPr lang="en-GB" sz="1400" dirty="0"/>
                <a:t>The footer consists of three elements, which are right-aligned. At the bottom right you will find the information regarding organisational unit and CSD-class, next to the date and the page number in the right corner. </a:t>
              </a:r>
              <a:endParaRPr lang="en-GB" sz="1400" dirty="0"/>
            </a:p>
            <a:p>
              <a:endParaRPr lang="en-GB" sz="1400" dirty="0"/>
            </a:p>
            <a:p>
              <a:r>
                <a:rPr lang="en-GB" sz="1400" dirty="0"/>
                <a:t>The information given in the footer can be adjusted through </a:t>
              </a:r>
              <a:r>
                <a:rPr lang="en-GB" sz="1400" b="1" dirty="0">
                  <a:solidFill>
                    <a:srgbClr val="002733"/>
                  </a:solidFill>
                </a:rPr>
                <a:t>Insert, then Header &amp; Footer.</a:t>
              </a:r>
              <a:endParaRPr lang="en-GB" sz="1400" b="1" dirty="0">
                <a:solidFill>
                  <a:srgbClr val="002733"/>
                </a:solidFill>
              </a:endParaRPr>
            </a:p>
            <a:p>
              <a:endParaRPr lang="en-GB" sz="1400" dirty="0"/>
            </a:p>
            <a:p>
              <a:r>
                <a:rPr lang="en-GB" sz="1400" dirty="0"/>
                <a:t>HINT: Information about CSD-class (safekeeping period) can be found in the Volkswagen Net (Intranet). Just write “</a:t>
              </a:r>
              <a:r>
                <a:rPr lang="en-GB" sz="1400" dirty="0" err="1"/>
                <a:t>ksu</a:t>
              </a:r>
              <a:r>
                <a:rPr lang="en-GB" sz="1400" dirty="0"/>
                <a:t>” into the browser bar.</a:t>
              </a:r>
              <a:endParaRPr lang="en-GB" sz="1400" dirty="0"/>
            </a:p>
          </p:txBody>
        </p:sp>
        <p:cxnSp>
          <p:nvCxnSpPr>
            <p:cNvPr id="24" name="Straight Connector 23"/>
            <p:cNvCxnSpPr/>
            <p:nvPr/>
          </p:nvCxnSpPr>
          <p:spPr>
            <a:xfrm flipV="1">
              <a:off x="8271526" y="2203521"/>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grpSp>
      <p:cxnSp>
        <p:nvCxnSpPr>
          <p:cNvPr id="29" name="Elbow Connector 28"/>
          <p:cNvCxnSpPr>
            <a:stCxn id="25" idx="3"/>
          </p:cNvCxnSpPr>
          <p:nvPr userDrawn="1"/>
        </p:nvCxnSpPr>
        <p:spPr>
          <a:xfrm>
            <a:off x="8455467" y="2498269"/>
            <a:ext cx="2060885" cy="3958975"/>
          </a:xfrm>
          <a:prstGeom prst="bentConnector2">
            <a:avLst/>
          </a:prstGeom>
          <a:ln w="9525">
            <a:solidFill>
              <a:schemeClr val="accent5"/>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pic>
        <p:nvPicPr>
          <p:cNvPr id="31" name="Picture 30"/>
          <p:cNvPicPr>
            <a:picLocks noChangeAspect="1"/>
          </p:cNvPicPr>
          <p:nvPr userDrawn="1"/>
        </p:nvPicPr>
        <p:blipFill>
          <a:blip r:embed="rId4"/>
          <a:stretch>
            <a:fillRect/>
          </a:stretch>
        </p:blipFill>
        <p:spPr>
          <a:xfrm>
            <a:off x="7239129" y="4393363"/>
            <a:ext cx="2814017" cy="295241"/>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th gradient 3">
    <p:bg>
      <p:bgRef idx="1001">
        <a:schemeClr val="bg1"/>
      </p:bgRef>
    </p:bg>
    <p:spTree>
      <p:nvGrpSpPr>
        <p:cNvPr id="1" name=""/>
        <p:cNvGrpSpPr/>
        <p:nvPr/>
      </p:nvGrpSpPr>
      <p:grpSpPr>
        <a:xfrm>
          <a:off x="0" y="0"/>
          <a:ext cx="0" cy="0"/>
          <a:chOff x="0" y="0"/>
          <a:chExt cx="0" cy="0"/>
        </a:xfrm>
      </p:grpSpPr>
      <p:sp>
        <p:nvSpPr>
          <p:cNvPr id="4" name="Graphic 6"/>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9" name="Graphic 7"/>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3000">
                <a:srgbClr val="113D34">
                  <a:alpha val="21000"/>
                </a:srgbClr>
              </a:gs>
              <a:gs pos="55000">
                <a:srgbClr val="3A7430">
                  <a:alpha val="39000"/>
                </a:srgbClr>
              </a:gs>
              <a:gs pos="75000">
                <a:srgbClr val="62AA2C">
                  <a:alpha val="72000"/>
                </a:srgbClr>
              </a:gs>
              <a:gs pos="13000">
                <a:srgbClr val="002733">
                  <a:alpha val="0"/>
                </a:srgbClr>
              </a:gs>
              <a:gs pos="100000">
                <a:srgbClr val="C2FE06"/>
              </a:gs>
            </a:gsLst>
            <a:lin ang="18600000" scaled="0"/>
            <a:tileRect/>
          </a:gradFill>
          <a:ln w="3175" cap="flat">
            <a:noFill/>
            <a:prstDash val="solid"/>
            <a:miter/>
          </a:ln>
        </p:spPr>
        <p:txBody>
          <a:bodyPr rtlCol="0" anchor="ctr"/>
          <a:lstStyle/>
          <a:p>
            <a:endParaRPr lang="en-GB">
              <a:solidFill>
                <a:schemeClr val="tx1"/>
              </a:solidFill>
            </a:endParaRPr>
          </a:p>
        </p:txBody>
      </p:sp>
      <p:sp>
        <p:nvSpPr>
          <p:cNvPr id="2" name="Titel 1"/>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endParaRPr lang="en-US" noProof="0"/>
          </a:p>
        </p:txBody>
      </p:sp>
      <p:sp>
        <p:nvSpPr>
          <p:cNvPr id="3" name="Untertitel 2"/>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endParaRPr lang="en-US" noProof="0"/>
          </a:p>
        </p:txBody>
      </p:sp>
      <p:sp>
        <p:nvSpPr>
          <p:cNvPr id="5" name="Textplatzhalter 8"/>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endParaRPr lang="en-US" sz="1200" cap="all" baseline="0"/>
          </a:p>
        </p:txBody>
      </p:sp>
      <p:sp>
        <p:nvSpPr>
          <p:cNvPr id="7" name="Rectangle 6"/>
          <p:cNvSpPr/>
          <p:nvPr userDrawn="1"/>
        </p:nvSpPr>
        <p:spPr bwMode="ltGray">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9384083" y="-1333"/>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th gradient 4">
    <p:bg bwMode="auto">
      <p:bgRef idx="1001">
        <a:schemeClr val="bg1"/>
      </p:bgRef>
    </p:bg>
    <p:spTree>
      <p:nvGrpSpPr>
        <p:cNvPr id="1" name=""/>
        <p:cNvGrpSpPr/>
        <p:nvPr/>
      </p:nvGrpSpPr>
      <p:grpSpPr>
        <a:xfrm>
          <a:off x="0" y="0"/>
          <a:ext cx="0" cy="0"/>
          <a:chOff x="0" y="0"/>
          <a:chExt cx="0" cy="0"/>
        </a:xfrm>
      </p:grpSpPr>
      <p:grpSp>
        <p:nvGrpSpPr>
          <p:cNvPr id="11" name="Graphic 6"/>
          <p:cNvGrpSpPr/>
          <p:nvPr/>
        </p:nvGrpSpPr>
        <p:grpSpPr bwMode="grayWhite">
          <a:xfrm>
            <a:off x="0" y="0"/>
            <a:ext cx="12192000" cy="6857999"/>
            <a:chOff x="0" y="0"/>
            <a:chExt cx="12192000" cy="6857999"/>
          </a:xfrm>
        </p:grpSpPr>
        <p:sp>
          <p:nvSpPr>
            <p:cNvPr id="12" name="Freeform 11"/>
            <p:cNvSpPr/>
            <p:nvPr/>
          </p:nvSpPr>
          <p:spPr bwMode="grayWhite">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p:cNvSpPr/>
            <p:nvPr/>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p:cNvSpPr/>
            <p:nvPr userDrawn="1"/>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9" name="Graphic 7"/>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0">
                <a:schemeClr val="accent2">
                  <a:alpha val="0"/>
                </a:schemeClr>
              </a:gs>
              <a:gs pos="35000">
                <a:schemeClr val="accent2"/>
              </a:gs>
              <a:gs pos="100000">
                <a:srgbClr val="FFFFFF">
                  <a:alpha val="65000"/>
                </a:srgbClr>
              </a:gs>
            </a:gsLst>
            <a:lin ang="168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p:cNvSpPr>
            <a:spLocks noGrp="1"/>
          </p:cNvSpPr>
          <p:nvPr userDrawn="1">
            <p:ph type="ctrTitle" hasCustomPrompt="1"/>
          </p:nvPr>
        </p:nvSpPr>
        <p:spPr bwMode="auto">
          <a:xfrm>
            <a:off x="407036" y="1787174"/>
            <a:ext cx="7589520" cy="1218795"/>
          </a:xfrm>
        </p:spPr>
        <p:txBody>
          <a:bodyPr wrap="square" anchor="b">
            <a:spAutoFit/>
          </a:bodyPr>
          <a:lstStyle>
            <a:lvl1pPr algn="l">
              <a:defRPr sz="4400">
                <a:solidFill>
                  <a:schemeClr val="tx1"/>
                </a:solidFill>
              </a:defRPr>
            </a:lvl1pPr>
          </a:lstStyle>
          <a:p>
            <a:r>
              <a:rPr lang="en-US" noProof="0"/>
              <a:t>Title in The Group Head Light 44pt, White</a:t>
            </a:r>
            <a:endParaRPr lang="en-US" noProof="0"/>
          </a:p>
        </p:txBody>
      </p:sp>
      <p:sp>
        <p:nvSpPr>
          <p:cNvPr id="3" name="Untertitel 2"/>
          <p:cNvSpPr>
            <a:spLocks noGrp="1"/>
          </p:cNvSpPr>
          <p:nvPr userDrawn="1">
            <p:ph type="subTitle" idx="1" hasCustomPrompt="1"/>
          </p:nvPr>
        </p:nvSpPr>
        <p:spPr bwMode="auto">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endParaRPr lang="en-US" noProof="0"/>
          </a:p>
        </p:txBody>
      </p:sp>
      <p:sp>
        <p:nvSpPr>
          <p:cNvPr id="5" name="Textplatzhalter 8"/>
          <p:cNvSpPr>
            <a:spLocks noGrp="1"/>
          </p:cNvSpPr>
          <p:nvPr>
            <p:ph type="body" sz="quarter" idx="18" hasCustomPrompt="1"/>
          </p:nvPr>
        </p:nvSpPr>
        <p:spPr bwMode="auto">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endParaRPr lang="en-US" sz="1200" cap="all" baseline="0"/>
          </a:p>
        </p:txBody>
      </p:sp>
      <p:pic>
        <p:nvPicPr>
          <p:cNvPr id="15" name="Picture 14"/>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9375771" y="0"/>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th gradient 5">
    <p:bg>
      <p:bgPr>
        <a:solidFill>
          <a:srgbClr val="00806F"/>
        </a:solidFill>
        <a:effectLst/>
      </p:bgPr>
    </p:bg>
    <p:spTree>
      <p:nvGrpSpPr>
        <p:cNvPr id="1" name=""/>
        <p:cNvGrpSpPr/>
        <p:nvPr/>
      </p:nvGrpSpPr>
      <p:grpSpPr>
        <a:xfrm>
          <a:off x="0" y="0"/>
          <a:ext cx="0" cy="0"/>
          <a:chOff x="0" y="0"/>
          <a:chExt cx="0" cy="0"/>
        </a:xfrm>
      </p:grpSpPr>
      <p:grpSp>
        <p:nvGrpSpPr>
          <p:cNvPr id="11" name="Graphic 6"/>
          <p:cNvGrpSpPr/>
          <p:nvPr userDrawn="1"/>
        </p:nvGrpSpPr>
        <p:grpSpPr bwMode="ltGray">
          <a:xfrm rot="10800000">
            <a:off x="0" y="0"/>
            <a:ext cx="12192000" cy="6858000"/>
            <a:chOff x="0" y="0"/>
            <a:chExt cx="12192000" cy="6857999"/>
          </a:xfrm>
        </p:grpSpPr>
        <p:sp>
          <p:nvSpPr>
            <p:cNvPr id="12" name="Freeform 11"/>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7" name="Freeform 16"/>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sp>
        <p:nvSpPr>
          <p:cNvPr id="2" name="Titel 1"/>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gradient background in </a:t>
            </a:r>
            <a:br>
              <a:rPr lang="en-GB"/>
            </a:br>
            <a:r>
              <a:rPr lang="en-GB"/>
              <a:t>The Group Head Light 36pt, </a:t>
            </a:r>
            <a:br>
              <a:rPr lang="en-GB"/>
            </a:br>
            <a:r>
              <a:rPr lang="en-GB"/>
              <a:t>White, 3+ lines possible</a:t>
            </a:r>
            <a:endParaRPr lang="en-US" noProof="0"/>
          </a:p>
        </p:txBody>
      </p:sp>
      <p:sp>
        <p:nvSpPr>
          <p:cNvPr id="3" name="Untertitel 2"/>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endParaRPr lang="en-US" noProof="0"/>
          </a:p>
        </p:txBody>
      </p:sp>
      <p:sp>
        <p:nvSpPr>
          <p:cNvPr id="9" name="Textplatzhalter 8"/>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endParaRPr lang="en-US" sz="1200" cap="all" baseline="0"/>
          </a:p>
        </p:txBody>
      </p:sp>
      <p:pic>
        <p:nvPicPr>
          <p:cNvPr id="15" name="Picture 14"/>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9359145" y="-2731"/>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with image 1">
    <p:bg>
      <p:bgRef idx="1001">
        <a:schemeClr val="bg1"/>
      </p:bgRef>
    </p:bg>
    <p:spTree>
      <p:nvGrpSpPr>
        <p:cNvPr id="1" name=""/>
        <p:cNvGrpSpPr/>
        <p:nvPr/>
      </p:nvGrpSpPr>
      <p:grpSpPr>
        <a:xfrm>
          <a:off x="0" y="0"/>
          <a:ext cx="0" cy="0"/>
          <a:chOff x="0" y="0"/>
          <a:chExt cx="0" cy="0"/>
        </a:xfrm>
      </p:grpSpPr>
      <p:pic>
        <p:nvPicPr>
          <p:cNvPr id="9" name="Grafik 8" descr="Ein Bild, das draußen, Baum, Wasser, Himmel enthält.&#10;&#10;Automatisch generierte Beschreibung"/>
          <p:cNvPicPr>
            <a:picLocks noChangeAspect="1"/>
          </p:cNvPicPr>
          <p:nvPr userDrawn="1"/>
        </p:nvPicPr>
        <p:blipFill rotWithShape="1">
          <a:blip r:embed="rId2" cstate="email"/>
          <a:srcRect l="-1"/>
          <a:stretch>
            <a:fillRect/>
          </a:stretch>
        </p:blipFill>
        <p:spPr bwMode="ltGray">
          <a:xfrm>
            <a:off x="0" y="0"/>
            <a:ext cx="12192002" cy="6858000"/>
          </a:xfrm>
          <a:prstGeom prst="rect">
            <a:avLst/>
          </a:prstGeom>
        </p:spPr>
      </p:pic>
      <p:sp>
        <p:nvSpPr>
          <p:cNvPr id="2" name="Titel 1"/>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image in </a:t>
            </a:r>
            <a:br>
              <a:rPr lang="en-GB"/>
            </a:br>
            <a:r>
              <a:rPr lang="en-GB"/>
              <a:t>The Group Head Light 36pt, </a:t>
            </a:r>
            <a:br>
              <a:rPr lang="en-GB"/>
            </a:br>
            <a:r>
              <a:rPr lang="en-GB"/>
              <a:t>White, 3+ lines possible</a:t>
            </a:r>
            <a:endParaRPr lang="en-US" noProof="0"/>
          </a:p>
        </p:txBody>
      </p:sp>
      <p:sp>
        <p:nvSpPr>
          <p:cNvPr id="3" name="Untertitel 2"/>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endParaRPr lang="en-US" noProof="0"/>
          </a:p>
        </p:txBody>
      </p:sp>
      <p:sp>
        <p:nvSpPr>
          <p:cNvPr id="8" name="Textplatzhalter 8"/>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endParaRPr lang="en-US" sz="1200" cap="all" baseline="0"/>
          </a:p>
        </p:txBody>
      </p:sp>
      <p:pic>
        <p:nvPicPr>
          <p:cNvPr id="7" name="Picture 6"/>
          <p:cNvPicPr>
            <a:picLocks noChangeAspect="1"/>
          </p:cNvPicPr>
          <p:nvPr userDrawn="1"/>
        </p:nvPicPr>
        <p:blipFill>
          <a:blip r:embed="rId3" cstate="hqprint">
            <a:extLst>
              <a:ext uri="{28A0092B-C50C-407E-A947-70E740481C1C}">
                <a14:useLocalDpi xmlns:a14="http://schemas.microsoft.com/office/drawing/2010/main" val="0"/>
              </a:ext>
            </a:extLst>
          </a:blip>
          <a:srcRect/>
          <a:stretch>
            <a:fillRect/>
          </a:stretch>
        </p:blipFill>
        <p:spPr>
          <a:xfrm>
            <a:off x="9367459" y="0"/>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with image 2">
    <p:bg>
      <p:bgRef idx="1001">
        <a:schemeClr val="bg1"/>
      </p:bgRef>
    </p:bg>
    <p:spTree>
      <p:nvGrpSpPr>
        <p:cNvPr id="1" name=""/>
        <p:cNvGrpSpPr/>
        <p:nvPr/>
      </p:nvGrpSpPr>
      <p:grpSpPr>
        <a:xfrm>
          <a:off x="0" y="0"/>
          <a:ext cx="0" cy="0"/>
          <a:chOff x="0" y="0"/>
          <a:chExt cx="0" cy="0"/>
        </a:xfrm>
      </p:grpSpPr>
      <p:pic>
        <p:nvPicPr>
          <p:cNvPr id="5" name="Grafik 4" descr="Ein Bild, das Person enthält.&#10;&#10;Automatisch generierte Beschreibung"/>
          <p:cNvPicPr>
            <a:picLocks noChangeAspect="1"/>
          </p:cNvPicPr>
          <p:nvPr userDrawn="1"/>
        </p:nvPicPr>
        <p:blipFill rotWithShape="1">
          <a:blip r:embed="rId2" cstate="email"/>
          <a:srcRect b="-1"/>
          <a:stretch>
            <a:fillRect/>
          </a:stretch>
        </p:blipFill>
        <p:spPr bwMode="ltGray">
          <a:xfrm>
            <a:off x="0" y="0"/>
            <a:ext cx="12192000" cy="6858000"/>
          </a:xfrm>
          <a:prstGeom prst="rect">
            <a:avLst/>
          </a:prstGeom>
        </p:spPr>
      </p:pic>
      <p:sp>
        <p:nvSpPr>
          <p:cNvPr id="2" name="Titel 1"/>
          <p:cNvSpPr>
            <a:spLocks noGrp="1"/>
          </p:cNvSpPr>
          <p:nvPr userDrawn="1">
            <p:ph type="ctrTitle" hasCustomPrompt="1"/>
          </p:nvPr>
        </p:nvSpPr>
        <p:spPr bwMode="black">
          <a:xfrm>
            <a:off x="407036" y="4093446"/>
            <a:ext cx="7589520" cy="1495794"/>
          </a:xfrm>
        </p:spPr>
        <p:txBody>
          <a:bodyPr wrap="square" anchor="b">
            <a:spAutoFit/>
          </a:bodyPr>
          <a:lstStyle>
            <a:lvl1pPr marL="0" indent="0" algn="l">
              <a:tabLst>
                <a:tab pos="3954145" algn="l"/>
              </a:tabLst>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endParaRPr lang="en-US" noProof="0"/>
          </a:p>
        </p:txBody>
      </p:sp>
      <p:sp>
        <p:nvSpPr>
          <p:cNvPr id="3" name="Untertitel 2"/>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endParaRPr lang="en-US" noProof="0"/>
          </a:p>
        </p:txBody>
      </p:sp>
      <p:sp>
        <p:nvSpPr>
          <p:cNvPr id="9" name="Textplatzhalter 8"/>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endParaRPr lang="en-US" sz="1200" cap="all" baseline="0"/>
          </a:p>
        </p:txBody>
      </p:sp>
      <p:pic>
        <p:nvPicPr>
          <p:cNvPr id="7" name="Picture 6"/>
          <p:cNvPicPr>
            <a:picLocks noChangeAspect="1"/>
          </p:cNvPicPr>
          <p:nvPr userDrawn="1"/>
        </p:nvPicPr>
        <p:blipFill>
          <a:blip r:embed="rId3" cstate="hqprint">
            <a:extLst>
              <a:ext uri="{28A0092B-C50C-407E-A947-70E740481C1C}">
                <a14:useLocalDpi xmlns:a14="http://schemas.microsoft.com/office/drawing/2010/main" val="0"/>
              </a:ext>
            </a:extLst>
          </a:blip>
          <a:srcRect/>
          <a:stretch>
            <a:fillRect/>
          </a:stretch>
        </p:blipFill>
        <p:spPr>
          <a:xfrm>
            <a:off x="9384083" y="-1333"/>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2" Type="http://schemas.openxmlformats.org/officeDocument/2006/relationships/theme" Target="../theme/theme1.xml"/><Relationship Id="rId91" Type="http://schemas.openxmlformats.org/officeDocument/2006/relationships/vmlDrawing" Target="../drawings/vmlDrawing1.vml"/><Relationship Id="rId90" Type="http://schemas.openxmlformats.org/officeDocument/2006/relationships/tags" Target="../tags/tag40.xml"/><Relationship Id="rId9" Type="http://schemas.openxmlformats.org/officeDocument/2006/relationships/slideLayout" Target="../slideLayouts/slideLayout9.xml"/><Relationship Id="rId89" Type="http://schemas.openxmlformats.org/officeDocument/2006/relationships/tags" Target="../tags/tag39.xml"/><Relationship Id="rId88" Type="http://schemas.openxmlformats.org/officeDocument/2006/relationships/tags" Target="../tags/tag38.xml"/><Relationship Id="rId87" Type="http://schemas.openxmlformats.org/officeDocument/2006/relationships/tags" Target="../tags/tag37.xml"/><Relationship Id="rId86" Type="http://schemas.openxmlformats.org/officeDocument/2006/relationships/tags" Target="../tags/tag36.xml"/><Relationship Id="rId85" Type="http://schemas.openxmlformats.org/officeDocument/2006/relationships/tags" Target="../tags/tag35.xml"/><Relationship Id="rId84" Type="http://schemas.openxmlformats.org/officeDocument/2006/relationships/tags" Target="../tags/tag34.xml"/><Relationship Id="rId83" Type="http://schemas.openxmlformats.org/officeDocument/2006/relationships/tags" Target="../tags/tag33.xml"/><Relationship Id="rId82" Type="http://schemas.openxmlformats.org/officeDocument/2006/relationships/tags" Target="../tags/tag32.xml"/><Relationship Id="rId81" Type="http://schemas.openxmlformats.org/officeDocument/2006/relationships/tags" Target="../tags/tag31.xml"/><Relationship Id="rId80" Type="http://schemas.openxmlformats.org/officeDocument/2006/relationships/tags" Target="../tags/tag30.xml"/><Relationship Id="rId8" Type="http://schemas.openxmlformats.org/officeDocument/2006/relationships/slideLayout" Target="../slideLayouts/slideLayout8.xml"/><Relationship Id="rId79" Type="http://schemas.openxmlformats.org/officeDocument/2006/relationships/tags" Target="../tags/tag29.xml"/><Relationship Id="rId78" Type="http://schemas.openxmlformats.org/officeDocument/2006/relationships/tags" Target="../tags/tag28.xml"/><Relationship Id="rId77" Type="http://schemas.openxmlformats.org/officeDocument/2006/relationships/tags" Target="../tags/tag27.xml"/><Relationship Id="rId76" Type="http://schemas.openxmlformats.org/officeDocument/2006/relationships/tags" Target="../tags/tag26.xml"/><Relationship Id="rId75" Type="http://schemas.openxmlformats.org/officeDocument/2006/relationships/tags" Target="../tags/tag25.xml"/><Relationship Id="rId74" Type="http://schemas.openxmlformats.org/officeDocument/2006/relationships/tags" Target="../tags/tag24.xml"/><Relationship Id="rId73" Type="http://schemas.openxmlformats.org/officeDocument/2006/relationships/tags" Target="../tags/tag23.xml"/><Relationship Id="rId72" Type="http://schemas.openxmlformats.org/officeDocument/2006/relationships/tags" Target="../tags/tag22.xml"/><Relationship Id="rId71" Type="http://schemas.openxmlformats.org/officeDocument/2006/relationships/tags" Target="../tags/tag21.xml"/><Relationship Id="rId70" Type="http://schemas.openxmlformats.org/officeDocument/2006/relationships/tags" Target="../tags/tag20.xml"/><Relationship Id="rId7" Type="http://schemas.openxmlformats.org/officeDocument/2006/relationships/slideLayout" Target="../slideLayouts/slideLayout7.xml"/><Relationship Id="rId69" Type="http://schemas.openxmlformats.org/officeDocument/2006/relationships/tags" Target="../tags/tag19.xml"/><Relationship Id="rId68" Type="http://schemas.openxmlformats.org/officeDocument/2006/relationships/tags" Target="../tags/tag18.xml"/><Relationship Id="rId67" Type="http://schemas.openxmlformats.org/officeDocument/2006/relationships/tags" Target="../tags/tag17.xml"/><Relationship Id="rId66" Type="http://schemas.openxmlformats.org/officeDocument/2006/relationships/tags" Target="../tags/tag16.xml"/><Relationship Id="rId65" Type="http://schemas.openxmlformats.org/officeDocument/2006/relationships/tags" Target="../tags/tag15.xml"/><Relationship Id="rId64" Type="http://schemas.openxmlformats.org/officeDocument/2006/relationships/tags" Target="../tags/tag14.xml"/><Relationship Id="rId63" Type="http://schemas.openxmlformats.org/officeDocument/2006/relationships/tags" Target="../tags/tag13.xml"/><Relationship Id="rId62" Type="http://schemas.openxmlformats.org/officeDocument/2006/relationships/tags" Target="../tags/tag12.xml"/><Relationship Id="rId61" Type="http://schemas.openxmlformats.org/officeDocument/2006/relationships/tags" Target="../tags/tag11.xml"/><Relationship Id="rId60" Type="http://schemas.openxmlformats.org/officeDocument/2006/relationships/tags" Target="../tags/tag10.xml"/><Relationship Id="rId6" Type="http://schemas.openxmlformats.org/officeDocument/2006/relationships/slideLayout" Target="../slideLayouts/slideLayout6.xml"/><Relationship Id="rId59" Type="http://schemas.openxmlformats.org/officeDocument/2006/relationships/tags" Target="../tags/tag9.xml"/><Relationship Id="rId58" Type="http://schemas.openxmlformats.org/officeDocument/2006/relationships/tags" Target="../tags/tag8.xml"/><Relationship Id="rId57" Type="http://schemas.openxmlformats.org/officeDocument/2006/relationships/tags" Target="../tags/tag7.xml"/><Relationship Id="rId56" Type="http://schemas.openxmlformats.org/officeDocument/2006/relationships/tags" Target="../tags/tag6.xml"/><Relationship Id="rId55" Type="http://schemas.openxmlformats.org/officeDocument/2006/relationships/tags" Target="../tags/tag5.xml"/><Relationship Id="rId54" Type="http://schemas.openxmlformats.org/officeDocument/2006/relationships/tags" Target="../tags/tag4.xml"/><Relationship Id="rId53" Type="http://schemas.openxmlformats.org/officeDocument/2006/relationships/tags" Target="../tags/tag3.xml"/><Relationship Id="rId52" Type="http://schemas.openxmlformats.org/officeDocument/2006/relationships/tags" Target="../tags/tag2.xml"/><Relationship Id="rId51" Type="http://schemas.openxmlformats.org/officeDocument/2006/relationships/image" Target="../media/image3.png"/><Relationship Id="rId50" Type="http://schemas.openxmlformats.org/officeDocument/2006/relationships/image" Target="../media/image120.png"/><Relationship Id="rId5" Type="http://schemas.openxmlformats.org/officeDocument/2006/relationships/slideLayout" Target="../slideLayouts/slideLayout5.xml"/><Relationship Id="rId49" Type="http://schemas.openxmlformats.org/officeDocument/2006/relationships/image" Target="../media/image119.emf"/><Relationship Id="rId48" Type="http://schemas.openxmlformats.org/officeDocument/2006/relationships/oleObject" Target="../embeddings/oleObject1.bin"/><Relationship Id="rId47" Type="http://schemas.openxmlformats.org/officeDocument/2006/relationships/tags" Target="../tags/tag1.xml"/><Relationship Id="rId46" Type="http://schemas.openxmlformats.org/officeDocument/2006/relationships/slideLayout" Target="../slideLayouts/slideLayout46.xml"/><Relationship Id="rId45" Type="http://schemas.openxmlformats.org/officeDocument/2006/relationships/slideLayout" Target="../slideLayouts/slideLayout45.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16" name="think-cell data - do not delete" hidden="1"/>
          <p:cNvGraphicFramePr>
            <a:graphicFrameLocks noChangeAspect="1"/>
          </p:cNvGraphicFramePr>
          <p:nvPr userDrawn="1">
            <p:custDataLst>
              <p:tags r:id="rId4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48" imgW="9525" imgH="9525" progId="TCLayout.ActiveDocument.1">
                  <p:embed/>
                </p:oleObj>
              </mc:Choice>
              <mc:Fallback>
                <p:oleObj name="think-cell Slide" r:id="rId48" imgW="9525" imgH="9525" progId="TCLayout.ActiveDocument.1">
                  <p:embed/>
                  <p:pic>
                    <p:nvPicPr>
                      <p:cNvPr id="0" name="图片 1033"/>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07987" y="644520"/>
            <a:ext cx="11376021" cy="387798"/>
          </a:xfrm>
          <a:prstGeom prst="rect">
            <a:avLst/>
          </a:prstGeom>
        </p:spPr>
        <p:txBody>
          <a:bodyPr vert="horz" wrap="square" lIns="0" tIns="0" rIns="0" bIns="0" rtlCol="0" anchor="t" anchorCtr="0">
            <a:spAutoFit/>
          </a:bodyPr>
          <a:lstStyle/>
          <a:p>
            <a:r>
              <a:rPr lang="en-GB" noProof="0"/>
              <a:t>Click to edit slide title (maximum two lines)</a:t>
            </a:r>
            <a:endParaRPr lang="en-GB" noProof="0"/>
          </a:p>
        </p:txBody>
      </p:sp>
      <p:sp>
        <p:nvSpPr>
          <p:cNvPr id="3" name="Textplatzhalter 2"/>
          <p:cNvSpPr>
            <a:spLocks noGrp="1"/>
          </p:cNvSpPr>
          <p:nvPr>
            <p:ph type="body" idx="1"/>
          </p:nvPr>
        </p:nvSpPr>
        <p:spPr bwMode="gray">
          <a:xfrm>
            <a:off x="407036" y="1853248"/>
            <a:ext cx="11380116" cy="4600734"/>
          </a:xfrm>
          <a:prstGeom prst="rect">
            <a:avLst/>
          </a:prstGeom>
        </p:spPr>
        <p:txBody>
          <a:bodyPr vert="horz" lIns="0" tIns="0" rIns="0" bIns="0" rtlCol="0">
            <a:noAutofit/>
          </a:bodyPr>
          <a:lstStyle/>
          <a:p>
            <a:pPr lvl="0"/>
            <a:r>
              <a:rPr lang="en-GB" noProof="0" dirty="0"/>
              <a:t>Click to edit text</a:t>
            </a:r>
            <a:endParaRPr lang="en-GB" noProof="0" dirty="0"/>
          </a:p>
          <a:p>
            <a:pPr lvl="1"/>
            <a:r>
              <a:rPr lang="en-GB" noProof="0" dirty="0"/>
              <a:t>Second level</a:t>
            </a:r>
            <a:endParaRPr lang="en-GB" noProof="0" dirty="0"/>
          </a:p>
          <a:p>
            <a:pPr lvl="2"/>
            <a:r>
              <a:rPr lang="en-GB" noProof="0" dirty="0"/>
              <a:t>Third level</a:t>
            </a:r>
            <a:endParaRPr lang="en-GB" noProof="0" dirty="0"/>
          </a:p>
          <a:p>
            <a:pPr lvl="3"/>
            <a:r>
              <a:rPr lang="en-GB" noProof="0" dirty="0"/>
              <a:t>Fourth level</a:t>
            </a:r>
            <a:endParaRPr lang="en-GB" noProof="0" dirty="0"/>
          </a:p>
          <a:p>
            <a:pPr lvl="4"/>
            <a:endParaRPr lang="en-GB" noProof="0" dirty="0"/>
          </a:p>
        </p:txBody>
      </p:sp>
      <p:sp>
        <p:nvSpPr>
          <p:cNvPr id="4" name="Datumsplatzhalter 3"/>
          <p:cNvSpPr>
            <a:spLocks noGrp="1"/>
          </p:cNvSpPr>
          <p:nvPr>
            <p:ph type="dt" sz="half" idx="2"/>
          </p:nvPr>
        </p:nvSpPr>
        <p:spPr bwMode="gray">
          <a:xfrm>
            <a:off x="10707152" y="6579881"/>
            <a:ext cx="720000" cy="126000"/>
          </a:xfrm>
          <a:prstGeom prst="rect">
            <a:avLst/>
          </a:prstGeom>
        </p:spPr>
        <p:txBody>
          <a:bodyPr vert="horz" wrap="square" lIns="0" tIns="0" rIns="0" bIns="0" rtlCol="0" anchor="ctr">
            <a:spAutoFit/>
          </a:bodyPr>
          <a:lstStyle>
            <a:lvl1pPr algn="r">
              <a:defRPr sz="800">
                <a:solidFill>
                  <a:schemeClr val="accent4"/>
                </a:solidFill>
              </a:defRPr>
            </a:lvl1pPr>
          </a:lstStyle>
          <a:p>
            <a:fld id="{BD8A94CE-F624-4F2E-AA11-B98981F5BC5C}" type="datetime1">
              <a:rPr lang="zh-CN" altLang="en-US" smtClean="0"/>
            </a:fld>
            <a:endParaRPr lang="en-GB"/>
          </a:p>
        </p:txBody>
      </p:sp>
      <p:sp>
        <p:nvSpPr>
          <p:cNvPr id="5" name="Fußzeilenplatzhalter 4"/>
          <p:cNvSpPr>
            <a:spLocks noGrp="1"/>
          </p:cNvSpPr>
          <p:nvPr>
            <p:ph type="ftr" sz="quarter" idx="3"/>
          </p:nvPr>
        </p:nvSpPr>
        <p:spPr bwMode="gray">
          <a:xfrm>
            <a:off x="407988" y="6584400"/>
            <a:ext cx="10108364"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US" smtClean="0"/>
              <a:t>Department VWA-DT  |  Hackathon Challenge Release  |  CSD-class</a:t>
            </a:r>
            <a:endParaRPr lang="en-GB"/>
          </a:p>
        </p:txBody>
      </p:sp>
      <p:sp>
        <p:nvSpPr>
          <p:cNvPr id="6" name="Foliennummernplatzhalter 5"/>
          <p:cNvSpPr>
            <a:spLocks noGrp="1"/>
          </p:cNvSpPr>
          <p:nvPr>
            <p:ph type="sldNum" sz="quarter" idx="4"/>
          </p:nvPr>
        </p:nvSpPr>
        <p:spPr bwMode="gray">
          <a:xfrm>
            <a:off x="11427152" y="6579881"/>
            <a:ext cx="360000" cy="126000"/>
          </a:xfrm>
          <a:prstGeom prst="rect">
            <a:avLst/>
          </a:prstGeom>
        </p:spPr>
        <p:txBody>
          <a:bodyPr vert="horz" wrap="square" lIns="0" tIns="0" rIns="0" bIns="0" rtlCol="0" anchor="ctr">
            <a:spAutoFit/>
          </a:bodyPr>
          <a:lstStyle>
            <a:lvl1pPr algn="r">
              <a:defRPr sz="800">
                <a:solidFill>
                  <a:schemeClr val="accent4"/>
                </a:solidFill>
              </a:defRPr>
            </a:lvl1pPr>
          </a:lstStyle>
          <a:p>
            <a:fld id="{53C98C43-8B83-4748-BA0D-B0C90A16569F}" type="slidenum">
              <a:rPr lang="en-GB" smtClean="0"/>
            </a:fld>
            <a:endParaRPr lang="en-GB" dirty="0"/>
          </a:p>
        </p:txBody>
      </p:sp>
      <p:cxnSp>
        <p:nvCxnSpPr>
          <p:cNvPr id="8" name="Gerader Verbinder 7"/>
          <p:cNvCxnSpPr/>
          <p:nvPr/>
        </p:nvCxnSpPr>
        <p:spPr bwMode="gray">
          <a:xfrm flipH="1">
            <a:off x="-304797" y="645398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Textfeld 8"/>
          <p:cNvSpPr txBox="1"/>
          <p:nvPr userDrawn="1"/>
        </p:nvSpPr>
        <p:spPr bwMode="gray">
          <a:xfrm>
            <a:off x="-285747" y="6353974"/>
            <a:ext cx="203200"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0000500000000000000" pitchFamily="2" charset="0"/>
              </a:rPr>
              <a:t>8,40</a:t>
            </a:r>
            <a:endParaRPr lang="en-GB" sz="600" b="0" i="0" noProof="0">
              <a:solidFill>
                <a:schemeClr val="accent4"/>
              </a:solidFill>
              <a:latin typeface="The Group TEXT" panose="00000500000000000000" pitchFamily="2" charset="0"/>
              <a:cs typeface="The Group TEXT" panose="00000500000000000000" pitchFamily="2" charset="0"/>
            </a:endParaRPr>
          </a:p>
        </p:txBody>
      </p:sp>
      <p:cxnSp>
        <p:nvCxnSpPr>
          <p:cNvPr id="10" name="Gerader Verbinder 9"/>
          <p:cNvCxnSpPr/>
          <p:nvPr/>
        </p:nvCxnSpPr>
        <p:spPr bwMode="gray">
          <a:xfrm flipV="1">
            <a:off x="11784013"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feld 10"/>
          <p:cNvSpPr txBox="1"/>
          <p:nvPr/>
        </p:nvSpPr>
        <p:spPr bwMode="gray">
          <a:xfrm>
            <a:off x="11831643" y="-211931"/>
            <a:ext cx="298449" cy="92333"/>
          </a:xfrm>
          <a:prstGeom prst="rect">
            <a:avLst/>
          </a:prstGeom>
          <a:noFill/>
        </p:spPr>
        <p:txBody>
          <a:bodyPr wrap="square" lIns="0" tIns="0" rIns="0" bIns="0" rtlCol="0">
            <a:noAutofit/>
          </a:bodyPr>
          <a:lstStyle/>
          <a:p>
            <a:r>
              <a:rPr lang="en-GB" sz="600" b="0" i="0" noProof="0">
                <a:solidFill>
                  <a:schemeClr val="accent4"/>
                </a:solidFill>
                <a:latin typeface="The Group TEXT" panose="00000500000000000000" pitchFamily="2" charset="0"/>
                <a:cs typeface="The Group TEXT" panose="00000500000000000000" pitchFamily="2" charset="0"/>
              </a:rPr>
              <a:t>15,80</a:t>
            </a:r>
            <a:endParaRPr lang="en-GB" sz="600" b="0" i="0" noProof="0">
              <a:solidFill>
                <a:schemeClr val="accent4"/>
              </a:solidFill>
              <a:latin typeface="The Group TEXT" panose="00000500000000000000" pitchFamily="2" charset="0"/>
              <a:cs typeface="The Group TEXT" panose="00000500000000000000" pitchFamily="2" charset="0"/>
            </a:endParaRPr>
          </a:p>
        </p:txBody>
      </p:sp>
      <p:cxnSp>
        <p:nvCxnSpPr>
          <p:cNvPr id="12" name="Gerader Verbinder 11"/>
          <p:cNvCxnSpPr/>
          <p:nvPr/>
        </p:nvCxnSpPr>
        <p:spPr bwMode="gray">
          <a:xfrm flipH="1">
            <a:off x="-304797" y="184462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feld 12"/>
          <p:cNvSpPr txBox="1"/>
          <p:nvPr userDrawn="1"/>
        </p:nvSpPr>
        <p:spPr bwMode="gray">
          <a:xfrm>
            <a:off x="-304796" y="1874789"/>
            <a:ext cx="222248"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0000500000000000000" pitchFamily="2" charset="0"/>
              </a:rPr>
              <a:t>4,40</a:t>
            </a:r>
            <a:endParaRPr lang="en-GB" sz="600" b="0" i="0" noProof="0">
              <a:solidFill>
                <a:schemeClr val="accent4"/>
              </a:solidFill>
              <a:latin typeface="The Group TEXT" panose="00000500000000000000" pitchFamily="2" charset="0"/>
              <a:cs typeface="The Group TEXT" panose="00000500000000000000" pitchFamily="2" charset="0"/>
            </a:endParaRPr>
          </a:p>
        </p:txBody>
      </p:sp>
      <p:cxnSp>
        <p:nvCxnSpPr>
          <p:cNvPr id="14" name="Gerader Verbinder 13"/>
          <p:cNvCxnSpPr/>
          <p:nvPr/>
        </p:nvCxnSpPr>
        <p:spPr bwMode="gray">
          <a:xfrm flipH="1">
            <a:off x="-304798" y="1044837"/>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feld 14"/>
          <p:cNvSpPr txBox="1"/>
          <p:nvPr userDrawn="1"/>
        </p:nvSpPr>
        <p:spPr bwMode="gray">
          <a:xfrm>
            <a:off x="-304797" y="1052513"/>
            <a:ext cx="222249"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0000500000000000000" pitchFamily="2" charset="0"/>
              </a:rPr>
              <a:t>6,60</a:t>
            </a:r>
            <a:endParaRPr lang="en-GB" sz="600" b="0" i="0" noProof="0">
              <a:solidFill>
                <a:schemeClr val="accent4"/>
              </a:solidFill>
              <a:latin typeface="The Group TEXT" panose="00000500000000000000" pitchFamily="2" charset="0"/>
              <a:cs typeface="The Group TEXT" panose="00000500000000000000" pitchFamily="2" charset="0"/>
            </a:endParaRPr>
          </a:p>
        </p:txBody>
      </p:sp>
      <p:sp>
        <p:nvSpPr>
          <p:cNvPr id="22" name="Textfeld 21"/>
          <p:cNvSpPr txBox="1"/>
          <p:nvPr userDrawn="1"/>
        </p:nvSpPr>
        <p:spPr bwMode="gray">
          <a:xfrm>
            <a:off x="60958" y="-211931"/>
            <a:ext cx="298449" cy="92333"/>
          </a:xfrm>
          <a:prstGeom prst="rect">
            <a:avLst/>
          </a:prstGeom>
          <a:noFill/>
        </p:spPr>
        <p:txBody>
          <a:bodyPr wrap="square" lIns="0" tIns="0" rIns="0" bIns="0" rtlCol="0">
            <a:noAutofit/>
          </a:bodyPr>
          <a:lstStyle/>
          <a:p>
            <a:pPr algn="r"/>
            <a:r>
              <a:rPr lang="en-GB" sz="600" b="0" i="0" noProof="0">
                <a:solidFill>
                  <a:schemeClr val="accent4"/>
                </a:solidFill>
                <a:latin typeface="The Group TEXT" panose="00000500000000000000" pitchFamily="2" charset="0"/>
                <a:cs typeface="The Group TEXT" panose="00000500000000000000" pitchFamily="2" charset="0"/>
              </a:rPr>
              <a:t>15,80</a:t>
            </a:r>
            <a:endParaRPr lang="en-GB" sz="600" b="0" i="0" noProof="0">
              <a:solidFill>
                <a:schemeClr val="accent4"/>
              </a:solidFill>
              <a:latin typeface="The Group TEXT" panose="00000500000000000000" pitchFamily="2" charset="0"/>
              <a:cs typeface="The Group TEXT" panose="00000500000000000000" pitchFamily="2" charset="0"/>
            </a:endParaRPr>
          </a:p>
        </p:txBody>
      </p:sp>
      <p:cxnSp>
        <p:nvCxnSpPr>
          <p:cNvPr id="24" name="Gerader Verbinder 23"/>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Gerader Verbinder 24"/>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8" name="Picture 5" descr="A picture containing font, screenshot, graphics, text&#10;&#10;Description automatically generated"/>
          <p:cNvPicPr>
            <a:picLocks noChangeAspect="1"/>
          </p:cNvPicPr>
          <p:nvPr userDrawn="1"/>
        </p:nvPicPr>
        <p:blipFill>
          <a:blip r:embed="rId50"/>
          <a:stretch>
            <a:fillRect/>
          </a:stretch>
        </p:blipFill>
        <p:spPr>
          <a:xfrm>
            <a:off x="10377521" y="167108"/>
            <a:ext cx="1494855" cy="484088"/>
          </a:xfrm>
          <a:prstGeom prst="rect">
            <a:avLst/>
          </a:prstGeom>
        </p:spPr>
      </p:pic>
      <p:pic>
        <p:nvPicPr>
          <p:cNvPr id="20" name="Picture 19"/>
          <p:cNvPicPr>
            <a:picLocks noChangeAspect="1"/>
          </p:cNvPicPr>
          <p:nvPr userDrawn="1"/>
        </p:nvPicPr>
        <p:blipFill>
          <a:blip r:embed="rId51" cstate="hqprint">
            <a:extLst>
              <a:ext uri="{28A0092B-C50C-407E-A947-70E740481C1C}">
                <a14:useLocalDpi xmlns:a14="http://schemas.microsoft.com/office/drawing/2010/main" val="0"/>
              </a:ext>
            </a:extLst>
          </a:blip>
          <a:srcRect/>
          <a:stretch>
            <a:fillRect/>
          </a:stretch>
        </p:blipFill>
        <p:spPr>
          <a:xfrm>
            <a:off x="10105573" y="1"/>
            <a:ext cx="1678435" cy="651196"/>
          </a:xfrm>
          <a:prstGeom prst="rect">
            <a:avLst/>
          </a:prstGeom>
        </p:spPr>
      </p:pic>
      <p:sp>
        <p:nvSpPr>
          <p:cNvPr id="21" name="Date Placeholder 4"/>
          <p:cNvSpPr txBox="1"/>
          <p:nvPr userDrawn="1"/>
        </p:nvSpPr>
        <p:spPr>
          <a:xfrm>
            <a:off x="10730113" y="6650525"/>
            <a:ext cx="716853" cy="1259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27" name="Text Placeholder 2"/>
          <p:cNvSpPr>
            <a:spLocks noGrp="1"/>
          </p:cNvSpPr>
          <p:nvPr userDrawn="1">
            <p:custDataLst>
              <p:tags r:id="rId52"/>
            </p:custDataLst>
          </p:nvPr>
        </p:nvSpPr>
        <p:spPr bwMode="auto">
          <a:xfrm>
            <a:off x="-190500" y="603251"/>
            <a:ext cx="190500" cy="277813"/>
          </a:xfrm>
          <a:prstGeom prst="roundRect">
            <a:avLst>
              <a:gd name="adj" fmla="val 50000"/>
            </a:avLst>
          </a:prstGeom>
          <a:solidFill>
            <a:srgbClr val="002733"/>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28" name="Text Placeholder 2"/>
          <p:cNvSpPr>
            <a:spLocks noGrp="1"/>
          </p:cNvSpPr>
          <p:nvPr userDrawn="1">
            <p:custDataLst>
              <p:tags r:id="rId53"/>
            </p:custDataLst>
          </p:nvPr>
        </p:nvSpPr>
        <p:spPr bwMode="auto">
          <a:xfrm>
            <a:off x="-190500" y="881063"/>
            <a:ext cx="190500" cy="279400"/>
          </a:xfrm>
          <a:prstGeom prst="roundRect">
            <a:avLst>
              <a:gd name="adj" fmla="val 50000"/>
            </a:avLst>
          </a:prstGeom>
          <a:solidFill>
            <a:srgbClr val="193D47"/>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29" name="Text Placeholder 2"/>
          <p:cNvSpPr>
            <a:spLocks noGrp="1"/>
          </p:cNvSpPr>
          <p:nvPr userDrawn="1">
            <p:custDataLst>
              <p:tags r:id="rId54"/>
            </p:custDataLst>
          </p:nvPr>
        </p:nvSpPr>
        <p:spPr bwMode="auto">
          <a:xfrm>
            <a:off x="-190500" y="1160464"/>
            <a:ext cx="190500" cy="277813"/>
          </a:xfrm>
          <a:prstGeom prst="roundRect">
            <a:avLst>
              <a:gd name="adj" fmla="val 50000"/>
            </a:avLst>
          </a:prstGeom>
          <a:solidFill>
            <a:srgbClr val="667D85"/>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30" name="Text Placeholder 2"/>
          <p:cNvSpPr>
            <a:spLocks noGrp="1"/>
          </p:cNvSpPr>
          <p:nvPr userDrawn="1">
            <p:custDataLst>
              <p:tags r:id="rId55"/>
            </p:custDataLst>
          </p:nvPr>
        </p:nvSpPr>
        <p:spPr bwMode="auto">
          <a:xfrm>
            <a:off x="-190500" y="1438275"/>
            <a:ext cx="190500" cy="279400"/>
          </a:xfrm>
          <a:prstGeom prst="roundRect">
            <a:avLst>
              <a:gd name="adj" fmla="val 50000"/>
            </a:avLst>
          </a:prstGeom>
          <a:solidFill>
            <a:srgbClr val="99A9AD"/>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31" name="Text Placeholder 2"/>
          <p:cNvSpPr>
            <a:spLocks noGrp="1"/>
          </p:cNvSpPr>
          <p:nvPr userDrawn="1">
            <p:custDataLst>
              <p:tags r:id="rId56"/>
            </p:custDataLst>
          </p:nvPr>
        </p:nvSpPr>
        <p:spPr bwMode="auto">
          <a:xfrm>
            <a:off x="-190500" y="1717676"/>
            <a:ext cx="190500" cy="277813"/>
          </a:xfrm>
          <a:prstGeom prst="roundRect">
            <a:avLst>
              <a:gd name="adj" fmla="val 50000"/>
            </a:avLst>
          </a:prstGeom>
          <a:solidFill>
            <a:srgbClr val="CCD4D6"/>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32" name="Text Placeholder 2"/>
          <p:cNvSpPr>
            <a:spLocks noGrp="1"/>
          </p:cNvSpPr>
          <p:nvPr userDrawn="1">
            <p:custDataLst>
              <p:tags r:id="rId57"/>
            </p:custDataLst>
          </p:nvPr>
        </p:nvSpPr>
        <p:spPr bwMode="auto">
          <a:xfrm>
            <a:off x="-190500" y="1995488"/>
            <a:ext cx="190500" cy="279400"/>
          </a:xfrm>
          <a:prstGeom prst="roundRect">
            <a:avLst>
              <a:gd name="adj" fmla="val 50000"/>
            </a:avLst>
          </a:prstGeom>
          <a:solidFill>
            <a:srgbClr val="E5E9EB"/>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33" name="Text Placeholder 2"/>
          <p:cNvSpPr>
            <a:spLocks noGrp="1"/>
          </p:cNvSpPr>
          <p:nvPr userDrawn="1">
            <p:custDataLst>
              <p:tags r:id="rId58"/>
            </p:custDataLst>
          </p:nvPr>
        </p:nvSpPr>
        <p:spPr bwMode="auto">
          <a:xfrm>
            <a:off x="-190500" y="2274889"/>
            <a:ext cx="190500" cy="277813"/>
          </a:xfrm>
          <a:prstGeom prst="roundRect">
            <a:avLst>
              <a:gd name="adj" fmla="val 50000"/>
            </a:avLst>
          </a:prstGeom>
          <a:solidFill>
            <a:srgbClr val="008C82"/>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34" name="Text Placeholder 2"/>
          <p:cNvSpPr>
            <a:spLocks noGrp="1"/>
          </p:cNvSpPr>
          <p:nvPr userDrawn="1">
            <p:custDataLst>
              <p:tags r:id="rId59"/>
            </p:custDataLst>
          </p:nvPr>
        </p:nvSpPr>
        <p:spPr bwMode="auto">
          <a:xfrm>
            <a:off x="-190500" y="2552700"/>
            <a:ext cx="190500" cy="279400"/>
          </a:xfrm>
          <a:prstGeom prst="roundRect">
            <a:avLst>
              <a:gd name="adj" fmla="val 50000"/>
            </a:avLst>
          </a:prstGeom>
          <a:solidFill>
            <a:srgbClr val="33A39B"/>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35" name="Text Placeholder 2"/>
          <p:cNvSpPr>
            <a:spLocks noGrp="1"/>
          </p:cNvSpPr>
          <p:nvPr userDrawn="1">
            <p:custDataLst>
              <p:tags r:id="rId60"/>
            </p:custDataLst>
          </p:nvPr>
        </p:nvSpPr>
        <p:spPr bwMode="auto">
          <a:xfrm>
            <a:off x="-190500" y="2832101"/>
            <a:ext cx="190500" cy="277813"/>
          </a:xfrm>
          <a:prstGeom prst="roundRect">
            <a:avLst>
              <a:gd name="adj" fmla="val 50000"/>
            </a:avLst>
          </a:prstGeom>
          <a:solidFill>
            <a:srgbClr val="66BAB4"/>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36" name="Text Placeholder 2"/>
          <p:cNvSpPr>
            <a:spLocks noGrp="1"/>
          </p:cNvSpPr>
          <p:nvPr userDrawn="1">
            <p:custDataLst>
              <p:tags r:id="rId61"/>
            </p:custDataLst>
          </p:nvPr>
        </p:nvSpPr>
        <p:spPr bwMode="auto">
          <a:xfrm>
            <a:off x="-190500" y="3109913"/>
            <a:ext cx="190500" cy="279400"/>
          </a:xfrm>
          <a:prstGeom prst="roundRect">
            <a:avLst>
              <a:gd name="adj" fmla="val 50000"/>
            </a:avLst>
          </a:prstGeom>
          <a:solidFill>
            <a:srgbClr val="99D1CD"/>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37" name="Text Placeholder 2"/>
          <p:cNvSpPr>
            <a:spLocks noGrp="1"/>
          </p:cNvSpPr>
          <p:nvPr userDrawn="1">
            <p:custDataLst>
              <p:tags r:id="rId62"/>
            </p:custDataLst>
          </p:nvPr>
        </p:nvSpPr>
        <p:spPr bwMode="auto">
          <a:xfrm>
            <a:off x="-190500" y="3389314"/>
            <a:ext cx="190500" cy="277813"/>
          </a:xfrm>
          <a:prstGeom prst="roundRect">
            <a:avLst>
              <a:gd name="adj" fmla="val 50000"/>
            </a:avLst>
          </a:prstGeom>
          <a:solidFill>
            <a:srgbClr val="CCE8E6"/>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38" name="Text Placeholder 2"/>
          <p:cNvSpPr>
            <a:spLocks noGrp="1"/>
          </p:cNvSpPr>
          <p:nvPr userDrawn="1">
            <p:custDataLst>
              <p:tags r:id="rId63"/>
            </p:custDataLst>
          </p:nvPr>
        </p:nvSpPr>
        <p:spPr bwMode="auto">
          <a:xfrm>
            <a:off x="-190500" y="3667125"/>
            <a:ext cx="190500" cy="279400"/>
          </a:xfrm>
          <a:prstGeom prst="roundRect">
            <a:avLst>
              <a:gd name="adj" fmla="val 50000"/>
            </a:avLst>
          </a:prstGeom>
          <a:solidFill>
            <a:srgbClr val="E5F3F2"/>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39" name="Text Placeholder 2"/>
          <p:cNvSpPr>
            <a:spLocks noGrp="1"/>
          </p:cNvSpPr>
          <p:nvPr userDrawn="1">
            <p:custDataLst>
              <p:tags r:id="rId64"/>
            </p:custDataLst>
          </p:nvPr>
        </p:nvSpPr>
        <p:spPr bwMode="auto">
          <a:xfrm>
            <a:off x="-190500" y="3946525"/>
            <a:ext cx="190500" cy="279400"/>
          </a:xfrm>
          <a:prstGeom prst="roundRect">
            <a:avLst>
              <a:gd name="adj" fmla="val 50000"/>
            </a:avLst>
          </a:prstGeom>
          <a:solidFill>
            <a:srgbClr val="E67364"/>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40" name="Text Placeholder 2"/>
          <p:cNvSpPr>
            <a:spLocks noGrp="1"/>
          </p:cNvSpPr>
          <p:nvPr userDrawn="1">
            <p:custDataLst>
              <p:tags r:id="rId65"/>
            </p:custDataLst>
          </p:nvPr>
        </p:nvSpPr>
        <p:spPr bwMode="auto">
          <a:xfrm>
            <a:off x="-190500" y="4225926"/>
            <a:ext cx="190500" cy="277813"/>
          </a:xfrm>
          <a:prstGeom prst="roundRect">
            <a:avLst>
              <a:gd name="adj" fmla="val 50000"/>
            </a:avLst>
          </a:prstGeom>
          <a:solidFill>
            <a:srgbClr val="FAAA3C"/>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41" name="Text Placeholder 2"/>
          <p:cNvSpPr>
            <a:spLocks noGrp="1"/>
          </p:cNvSpPr>
          <p:nvPr userDrawn="1">
            <p:custDataLst>
              <p:tags r:id="rId66"/>
            </p:custDataLst>
          </p:nvPr>
        </p:nvSpPr>
        <p:spPr bwMode="auto">
          <a:xfrm>
            <a:off x="-190500" y="4503738"/>
            <a:ext cx="190500" cy="279400"/>
          </a:xfrm>
          <a:prstGeom prst="roundRect">
            <a:avLst>
              <a:gd name="adj" fmla="val 50000"/>
            </a:avLst>
          </a:prstGeom>
          <a:solidFill>
            <a:srgbClr val="FAD2AA"/>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42" name="Text Placeholder 2"/>
          <p:cNvSpPr>
            <a:spLocks noGrp="1"/>
          </p:cNvSpPr>
          <p:nvPr userDrawn="1">
            <p:custDataLst>
              <p:tags r:id="rId67"/>
            </p:custDataLst>
          </p:nvPr>
        </p:nvSpPr>
        <p:spPr bwMode="auto">
          <a:xfrm>
            <a:off x="-190500" y="4783139"/>
            <a:ext cx="190500" cy="277813"/>
          </a:xfrm>
          <a:prstGeom prst="roundRect">
            <a:avLst>
              <a:gd name="adj" fmla="val 50000"/>
            </a:avLst>
          </a:prstGeom>
          <a:solidFill>
            <a:srgbClr val="8CBEE6"/>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43" name="Text Placeholder 2"/>
          <p:cNvSpPr>
            <a:spLocks noGrp="1"/>
          </p:cNvSpPr>
          <p:nvPr userDrawn="1">
            <p:custDataLst>
              <p:tags r:id="rId68"/>
            </p:custDataLst>
          </p:nvPr>
        </p:nvSpPr>
        <p:spPr bwMode="auto">
          <a:xfrm>
            <a:off x="-190500" y="5060950"/>
            <a:ext cx="190500" cy="279400"/>
          </a:xfrm>
          <a:prstGeom prst="roundRect">
            <a:avLst>
              <a:gd name="adj" fmla="val 50000"/>
            </a:avLst>
          </a:prstGeom>
          <a:solidFill>
            <a:srgbClr val="C882BE"/>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44" name="Text Placeholder 2"/>
          <p:cNvSpPr>
            <a:spLocks noGrp="1"/>
          </p:cNvSpPr>
          <p:nvPr userDrawn="1">
            <p:custDataLst>
              <p:tags r:id="rId69"/>
            </p:custDataLst>
          </p:nvPr>
        </p:nvSpPr>
        <p:spPr bwMode="auto">
          <a:xfrm>
            <a:off x="-190500" y="5340351"/>
            <a:ext cx="190500" cy="277813"/>
          </a:xfrm>
          <a:prstGeom prst="roundRect">
            <a:avLst>
              <a:gd name="adj" fmla="val 50000"/>
            </a:avLst>
          </a:prstGeom>
          <a:solidFill>
            <a:srgbClr val="DCCDF0"/>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45" name="Text Placeholder 2"/>
          <p:cNvSpPr>
            <a:spLocks noGrp="1"/>
          </p:cNvSpPr>
          <p:nvPr userDrawn="1">
            <p:custDataLst>
              <p:tags r:id="rId70"/>
            </p:custDataLst>
          </p:nvPr>
        </p:nvSpPr>
        <p:spPr bwMode="auto">
          <a:xfrm>
            <a:off x="-190500" y="5618163"/>
            <a:ext cx="190500" cy="279400"/>
          </a:xfrm>
          <a:prstGeom prst="roundRect">
            <a:avLst>
              <a:gd name="adj" fmla="val 50000"/>
            </a:avLst>
          </a:prstGeom>
          <a:solidFill>
            <a:srgbClr val="DA0C1F"/>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46" name="Text Placeholder 2"/>
          <p:cNvSpPr>
            <a:spLocks noGrp="1"/>
          </p:cNvSpPr>
          <p:nvPr userDrawn="1">
            <p:custDataLst>
              <p:tags r:id="rId71"/>
            </p:custDataLst>
          </p:nvPr>
        </p:nvSpPr>
        <p:spPr bwMode="auto">
          <a:xfrm>
            <a:off x="-190500" y="5897564"/>
            <a:ext cx="190500" cy="277813"/>
          </a:xfrm>
          <a:prstGeom prst="roundRect">
            <a:avLst>
              <a:gd name="adj" fmla="val 50000"/>
            </a:avLst>
          </a:prstGeom>
          <a:solidFill>
            <a:srgbClr val="FCCD22"/>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47" name="Text Placeholder 2"/>
          <p:cNvSpPr>
            <a:spLocks noGrp="1"/>
          </p:cNvSpPr>
          <p:nvPr userDrawn="1">
            <p:custDataLst>
              <p:tags r:id="rId72"/>
            </p:custDataLst>
          </p:nvPr>
        </p:nvSpPr>
        <p:spPr bwMode="auto">
          <a:xfrm>
            <a:off x="-190500" y="6175375"/>
            <a:ext cx="190500" cy="279400"/>
          </a:xfrm>
          <a:prstGeom prst="roundRect">
            <a:avLst>
              <a:gd name="adj" fmla="val 50000"/>
            </a:avLst>
          </a:prstGeom>
          <a:solidFill>
            <a:srgbClr val="64A844"/>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48" name="Text Placeholder 2"/>
          <p:cNvSpPr>
            <a:spLocks noGrp="1"/>
          </p:cNvSpPr>
          <p:nvPr userDrawn="1">
            <p:custDataLst>
              <p:tags r:id="rId73"/>
            </p:custDataLst>
          </p:nvPr>
        </p:nvSpPr>
        <p:spPr bwMode="auto">
          <a:xfrm>
            <a:off x="-190500" y="323850"/>
            <a:ext cx="190500" cy="279400"/>
          </a:xfrm>
          <a:prstGeom prst="roundRect">
            <a:avLst>
              <a:gd name="adj" fmla="val 50000"/>
            </a:avLst>
          </a:prstGeom>
          <a:solidFill>
            <a:srgbClr val="C2FE06"/>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49" name="Text Placeholder 2"/>
          <p:cNvSpPr>
            <a:spLocks noGrp="1"/>
          </p:cNvSpPr>
          <p:nvPr userDrawn="1">
            <p:custDataLst>
              <p:tags r:id="rId74"/>
            </p:custDataLst>
          </p:nvPr>
        </p:nvSpPr>
        <p:spPr bwMode="auto">
          <a:xfrm>
            <a:off x="12192000" y="323850"/>
            <a:ext cx="190500" cy="360363"/>
          </a:xfrm>
          <a:prstGeom prst="roundRect">
            <a:avLst>
              <a:gd name="adj" fmla="val 50000"/>
            </a:avLst>
          </a:prstGeom>
          <a:solidFill>
            <a:schemeClr val="tx1"/>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50" name="Text Placeholder 2"/>
          <p:cNvSpPr>
            <a:spLocks noGrp="1"/>
          </p:cNvSpPr>
          <p:nvPr userDrawn="1">
            <p:custDataLst>
              <p:tags r:id="rId75"/>
            </p:custDataLst>
          </p:nvPr>
        </p:nvSpPr>
        <p:spPr bwMode="auto">
          <a:xfrm>
            <a:off x="12192000" y="684213"/>
            <a:ext cx="190500" cy="360363"/>
          </a:xfrm>
          <a:prstGeom prst="roundRect">
            <a:avLst>
              <a:gd name="adj" fmla="val 50000"/>
            </a:avLst>
          </a:prstGeom>
          <a:solidFill>
            <a:schemeClr val="accent1"/>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51" name="Text Placeholder 2"/>
          <p:cNvSpPr>
            <a:spLocks noGrp="1"/>
          </p:cNvSpPr>
          <p:nvPr userDrawn="1">
            <p:custDataLst>
              <p:tags r:id="rId76"/>
            </p:custDataLst>
          </p:nvPr>
        </p:nvSpPr>
        <p:spPr bwMode="auto">
          <a:xfrm>
            <a:off x="12192000" y="3570288"/>
            <a:ext cx="190500" cy="360363"/>
          </a:xfrm>
          <a:prstGeom prst="roundRect">
            <a:avLst>
              <a:gd name="adj" fmla="val 50000"/>
            </a:avLst>
          </a:prstGeom>
          <a:solidFill>
            <a:schemeClr val="accent2"/>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52" name="Text Placeholder 2"/>
          <p:cNvSpPr>
            <a:spLocks noGrp="1"/>
          </p:cNvSpPr>
          <p:nvPr userDrawn="1">
            <p:custDataLst>
              <p:tags r:id="rId77"/>
            </p:custDataLst>
          </p:nvPr>
        </p:nvSpPr>
        <p:spPr bwMode="auto">
          <a:xfrm>
            <a:off x="12192000" y="2847975"/>
            <a:ext cx="190500" cy="360363"/>
          </a:xfrm>
          <a:prstGeom prst="roundRect">
            <a:avLst>
              <a:gd name="adj" fmla="val 50000"/>
            </a:avLst>
          </a:prstGeom>
          <a:solidFill>
            <a:schemeClr val="accent3"/>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53" name="Text Placeholder 2"/>
          <p:cNvSpPr>
            <a:spLocks noGrp="1"/>
          </p:cNvSpPr>
          <p:nvPr userDrawn="1">
            <p:custDataLst>
              <p:tags r:id="rId78"/>
            </p:custDataLst>
          </p:nvPr>
        </p:nvSpPr>
        <p:spPr bwMode="auto">
          <a:xfrm>
            <a:off x="12192000" y="3208338"/>
            <a:ext cx="190500" cy="361950"/>
          </a:xfrm>
          <a:prstGeom prst="roundRect">
            <a:avLst>
              <a:gd name="adj" fmla="val 50000"/>
            </a:avLst>
          </a:prstGeom>
          <a:solidFill>
            <a:schemeClr val="accent4"/>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54" name="Text Placeholder 2"/>
          <p:cNvSpPr>
            <a:spLocks noGrp="1"/>
          </p:cNvSpPr>
          <p:nvPr userDrawn="1">
            <p:custDataLst>
              <p:tags r:id="rId79"/>
            </p:custDataLst>
          </p:nvPr>
        </p:nvSpPr>
        <p:spPr bwMode="auto">
          <a:xfrm>
            <a:off x="12192000" y="2487613"/>
            <a:ext cx="190500" cy="360363"/>
          </a:xfrm>
          <a:prstGeom prst="roundRect">
            <a:avLst>
              <a:gd name="adj" fmla="val 50000"/>
            </a:avLst>
          </a:prstGeom>
          <a:solidFill>
            <a:schemeClr val="accent5"/>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55" name="Text Placeholder 2"/>
          <p:cNvSpPr>
            <a:spLocks noGrp="1"/>
          </p:cNvSpPr>
          <p:nvPr userDrawn="1">
            <p:custDataLst>
              <p:tags r:id="rId80"/>
            </p:custDataLst>
          </p:nvPr>
        </p:nvSpPr>
        <p:spPr bwMode="auto">
          <a:xfrm>
            <a:off x="12192000" y="1044575"/>
            <a:ext cx="190500" cy="361950"/>
          </a:xfrm>
          <a:prstGeom prst="roundRect">
            <a:avLst>
              <a:gd name="adj" fmla="val 50000"/>
            </a:avLst>
          </a:prstGeom>
          <a:solidFill>
            <a:schemeClr val="accent6"/>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56" name="Text Placeholder 2"/>
          <p:cNvSpPr>
            <a:spLocks noGrp="1"/>
          </p:cNvSpPr>
          <p:nvPr userDrawn="1">
            <p:custDataLst>
              <p:tags r:id="rId81"/>
            </p:custDataLst>
          </p:nvPr>
        </p:nvSpPr>
        <p:spPr bwMode="auto">
          <a:xfrm>
            <a:off x="12192000" y="1406525"/>
            <a:ext cx="190500" cy="360363"/>
          </a:xfrm>
          <a:prstGeom prst="roundRect">
            <a:avLst>
              <a:gd name="adj" fmla="val 50000"/>
            </a:avLst>
          </a:prstGeom>
          <a:solidFill>
            <a:srgbClr val="D4D6D9"/>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57" name="Text Placeholder 2"/>
          <p:cNvSpPr>
            <a:spLocks noGrp="1"/>
          </p:cNvSpPr>
          <p:nvPr userDrawn="1">
            <p:custDataLst>
              <p:tags r:id="rId82"/>
            </p:custDataLst>
          </p:nvPr>
        </p:nvSpPr>
        <p:spPr bwMode="auto">
          <a:xfrm>
            <a:off x="12192000" y="2127250"/>
            <a:ext cx="190500" cy="360363"/>
          </a:xfrm>
          <a:prstGeom prst="roundRect">
            <a:avLst>
              <a:gd name="adj" fmla="val 50000"/>
            </a:avLst>
          </a:prstGeom>
          <a:solidFill>
            <a:srgbClr val="003366"/>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58" name="Text Placeholder 2"/>
          <p:cNvSpPr>
            <a:spLocks noGrp="1"/>
          </p:cNvSpPr>
          <p:nvPr userDrawn="1">
            <p:custDataLst>
              <p:tags r:id="rId83"/>
            </p:custDataLst>
          </p:nvPr>
        </p:nvSpPr>
        <p:spPr bwMode="auto">
          <a:xfrm>
            <a:off x="12192000" y="3930650"/>
            <a:ext cx="190500" cy="360363"/>
          </a:xfrm>
          <a:prstGeom prst="roundRect">
            <a:avLst>
              <a:gd name="adj" fmla="val 50000"/>
            </a:avLst>
          </a:prstGeom>
          <a:solidFill>
            <a:schemeClr val="hlink"/>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59" name="Text Placeholder 2"/>
          <p:cNvSpPr>
            <a:spLocks noGrp="1"/>
          </p:cNvSpPr>
          <p:nvPr userDrawn="1">
            <p:custDataLst>
              <p:tags r:id="rId84"/>
            </p:custDataLst>
          </p:nvPr>
        </p:nvSpPr>
        <p:spPr bwMode="auto">
          <a:xfrm>
            <a:off x="12192000" y="4291013"/>
            <a:ext cx="190500" cy="360363"/>
          </a:xfrm>
          <a:prstGeom prst="roundRect">
            <a:avLst>
              <a:gd name="adj" fmla="val 50000"/>
            </a:avLst>
          </a:prstGeom>
          <a:solidFill>
            <a:srgbClr val="A21E4D"/>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60" name="Text Placeholder 2"/>
          <p:cNvSpPr>
            <a:spLocks noGrp="1"/>
          </p:cNvSpPr>
          <p:nvPr userDrawn="1">
            <p:custDataLst>
              <p:tags r:id="rId85"/>
            </p:custDataLst>
          </p:nvPr>
        </p:nvSpPr>
        <p:spPr bwMode="auto">
          <a:xfrm>
            <a:off x="12192000" y="4651375"/>
            <a:ext cx="190500" cy="360363"/>
          </a:xfrm>
          <a:prstGeom prst="roundRect">
            <a:avLst>
              <a:gd name="adj" fmla="val 50000"/>
            </a:avLst>
          </a:prstGeom>
          <a:solidFill>
            <a:srgbClr val="D8AA00"/>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61" name="Text Placeholder 2"/>
          <p:cNvSpPr>
            <a:spLocks noGrp="1"/>
          </p:cNvSpPr>
          <p:nvPr userDrawn="1">
            <p:custDataLst>
              <p:tags r:id="rId86"/>
            </p:custDataLst>
          </p:nvPr>
        </p:nvSpPr>
        <p:spPr bwMode="auto">
          <a:xfrm>
            <a:off x="12192000" y="5011738"/>
            <a:ext cx="190500" cy="360363"/>
          </a:xfrm>
          <a:prstGeom prst="roundRect">
            <a:avLst>
              <a:gd name="adj" fmla="val 50000"/>
            </a:avLst>
          </a:prstGeom>
          <a:solidFill>
            <a:srgbClr val="F6E5BC"/>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62" name="Text Placeholder 2"/>
          <p:cNvSpPr>
            <a:spLocks noGrp="1"/>
          </p:cNvSpPr>
          <p:nvPr userDrawn="1">
            <p:custDataLst>
              <p:tags r:id="rId87"/>
            </p:custDataLst>
          </p:nvPr>
        </p:nvSpPr>
        <p:spPr bwMode="auto">
          <a:xfrm>
            <a:off x="12192000" y="5734050"/>
            <a:ext cx="190500" cy="360363"/>
          </a:xfrm>
          <a:prstGeom prst="roundRect">
            <a:avLst>
              <a:gd name="adj" fmla="val 50000"/>
            </a:avLst>
          </a:prstGeom>
          <a:solidFill>
            <a:srgbClr val="95A844"/>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63" name="Text Placeholder 2"/>
          <p:cNvSpPr>
            <a:spLocks noGrp="1"/>
          </p:cNvSpPr>
          <p:nvPr userDrawn="1">
            <p:custDataLst>
              <p:tags r:id="rId88"/>
            </p:custDataLst>
          </p:nvPr>
        </p:nvSpPr>
        <p:spPr bwMode="auto">
          <a:xfrm>
            <a:off x="12192000" y="6094413"/>
            <a:ext cx="190500" cy="360363"/>
          </a:xfrm>
          <a:prstGeom prst="roundRect">
            <a:avLst>
              <a:gd name="adj" fmla="val 50000"/>
            </a:avLst>
          </a:prstGeom>
          <a:solidFill>
            <a:srgbClr val="C2CCA6"/>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64" name="Text Placeholder 2"/>
          <p:cNvSpPr>
            <a:spLocks noGrp="1"/>
          </p:cNvSpPr>
          <p:nvPr userDrawn="1">
            <p:custDataLst>
              <p:tags r:id="rId89"/>
            </p:custDataLst>
          </p:nvPr>
        </p:nvSpPr>
        <p:spPr bwMode="auto">
          <a:xfrm>
            <a:off x="12192000" y="5372100"/>
            <a:ext cx="190500" cy="361950"/>
          </a:xfrm>
          <a:prstGeom prst="roundRect">
            <a:avLst>
              <a:gd name="adj" fmla="val 50000"/>
            </a:avLst>
          </a:prstGeom>
          <a:solidFill>
            <a:srgbClr val="64A844"/>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65" name="Text Placeholder 2"/>
          <p:cNvSpPr>
            <a:spLocks noGrp="1"/>
          </p:cNvSpPr>
          <p:nvPr userDrawn="1">
            <p:custDataLst>
              <p:tags r:id="rId90"/>
            </p:custDataLst>
          </p:nvPr>
        </p:nvSpPr>
        <p:spPr bwMode="auto">
          <a:xfrm>
            <a:off x="12192000" y="1766888"/>
            <a:ext cx="190500" cy="360363"/>
          </a:xfrm>
          <a:prstGeom prst="roundRect">
            <a:avLst>
              <a:gd name="adj" fmla="val 50000"/>
            </a:avLst>
          </a:prstGeom>
          <a:solidFill>
            <a:schemeClr val="bg1"/>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hf hd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79705" indent="-179705" algn="l" defTabSz="914400" rtl="0" eaLnBrk="1" latinLnBrk="0" hangingPunct="1">
        <a:lnSpc>
          <a:spcPct val="100000"/>
        </a:lnSpc>
        <a:spcBef>
          <a:spcPts val="600"/>
        </a:spcBef>
        <a:buFont typeface="The Group TEXT" panose="00000500000000000000" pitchFamily="2" charset="0"/>
        <a:buChar char="•"/>
        <a:defRPr sz="1400" kern="1200">
          <a:solidFill>
            <a:schemeClr val="tx2"/>
          </a:solidFill>
          <a:latin typeface="+mn-lt"/>
          <a:ea typeface="+mn-ea"/>
          <a:cs typeface="+mn-cs"/>
        </a:defRPr>
      </a:lvl3pPr>
      <a:lvl4pPr marL="431800" indent="-252095"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79705"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vmlDrawing" Target="../drawings/vmlDrawing2.vml"/><Relationship Id="rId4" Type="http://schemas.openxmlformats.org/officeDocument/2006/relationships/slideLayout" Target="../slideLayouts/slideLayout34.xml"/><Relationship Id="rId3" Type="http://schemas.openxmlformats.org/officeDocument/2006/relationships/image" Target="../media/image119.emf"/><Relationship Id="rId2" Type="http://schemas.openxmlformats.org/officeDocument/2006/relationships/oleObject" Target="../embeddings/oleObject2.bin"/><Relationship Id="rId1" Type="http://schemas.openxmlformats.org/officeDocument/2006/relationships/tags" Target="../tags/tag41.xml"/></Relationships>
</file>

<file path=ppt/slides/_rels/slide10.xml.rels><?xml version="1.0" encoding="UTF-8" standalone="yes"?>
<Relationships xmlns="http://schemas.openxmlformats.org/package/2006/relationships"><Relationship Id="rId9" Type="http://schemas.openxmlformats.org/officeDocument/2006/relationships/tags" Target="../tags/tag145.xml"/><Relationship Id="rId8" Type="http://schemas.openxmlformats.org/officeDocument/2006/relationships/image" Target="../media/image135.jpeg"/><Relationship Id="rId7" Type="http://schemas.openxmlformats.org/officeDocument/2006/relationships/tags" Target="../tags/tag144.xml"/><Relationship Id="rId6" Type="http://schemas.openxmlformats.org/officeDocument/2006/relationships/tags" Target="../tags/tag143.xml"/><Relationship Id="rId5" Type="http://schemas.openxmlformats.org/officeDocument/2006/relationships/image" Target="../media/image134.png"/><Relationship Id="rId4" Type="http://schemas.openxmlformats.org/officeDocument/2006/relationships/tags" Target="../tags/tag142.xml"/><Relationship Id="rId3" Type="http://schemas.openxmlformats.org/officeDocument/2006/relationships/image" Target="../media/image119.emf"/><Relationship Id="rId2" Type="http://schemas.openxmlformats.org/officeDocument/2006/relationships/oleObject" Target="../embeddings/oleObject7.bin"/><Relationship Id="rId18" Type="http://schemas.openxmlformats.org/officeDocument/2006/relationships/notesSlide" Target="../notesSlides/notesSlide6.xml"/><Relationship Id="rId17" Type="http://schemas.openxmlformats.org/officeDocument/2006/relationships/vmlDrawing" Target="../drawings/vmlDrawing7.vml"/><Relationship Id="rId16" Type="http://schemas.openxmlformats.org/officeDocument/2006/relationships/slideLayout" Target="../slideLayouts/slideLayout34.xml"/><Relationship Id="rId15" Type="http://schemas.openxmlformats.org/officeDocument/2006/relationships/tags" Target="../tags/tag150.xml"/><Relationship Id="rId14" Type="http://schemas.openxmlformats.org/officeDocument/2006/relationships/tags" Target="../tags/tag149.xml"/><Relationship Id="rId13" Type="http://schemas.openxmlformats.org/officeDocument/2006/relationships/tags" Target="../tags/tag148.xml"/><Relationship Id="rId12" Type="http://schemas.openxmlformats.org/officeDocument/2006/relationships/tags" Target="../tags/tag147.xml"/><Relationship Id="rId11" Type="http://schemas.openxmlformats.org/officeDocument/2006/relationships/tags" Target="../tags/tag146.xml"/><Relationship Id="rId10" Type="http://schemas.openxmlformats.org/officeDocument/2006/relationships/image" Target="../media/image136.jpeg"/><Relationship Id="rId1" Type="http://schemas.openxmlformats.org/officeDocument/2006/relationships/tags" Target="../tags/tag141.xml"/></Relationships>
</file>

<file path=ppt/slides/_rels/slide11.xml.rels><?xml version="1.0" encoding="UTF-8" standalone="yes"?>
<Relationships xmlns="http://schemas.openxmlformats.org/package/2006/relationships"><Relationship Id="rId9" Type="http://schemas.openxmlformats.org/officeDocument/2006/relationships/tags" Target="../tags/tag156.xml"/><Relationship Id="rId8" Type="http://schemas.openxmlformats.org/officeDocument/2006/relationships/tags" Target="../tags/tag155.xml"/><Relationship Id="rId7" Type="http://schemas.openxmlformats.org/officeDocument/2006/relationships/tags" Target="../tags/tag154.xml"/><Relationship Id="rId6" Type="http://schemas.openxmlformats.org/officeDocument/2006/relationships/image" Target="../media/image139.png"/><Relationship Id="rId5" Type="http://schemas.openxmlformats.org/officeDocument/2006/relationships/tags" Target="../tags/tag153.xml"/><Relationship Id="rId4" Type="http://schemas.openxmlformats.org/officeDocument/2006/relationships/image" Target="../media/image138.png"/><Relationship Id="rId3" Type="http://schemas.openxmlformats.org/officeDocument/2006/relationships/tags" Target="../tags/tag152.xml"/><Relationship Id="rId2" Type="http://schemas.openxmlformats.org/officeDocument/2006/relationships/image" Target="../media/image137.png"/><Relationship Id="rId12" Type="http://schemas.openxmlformats.org/officeDocument/2006/relationships/slideLayout" Target="../slideLayouts/slideLayout34.xml"/><Relationship Id="rId11" Type="http://schemas.openxmlformats.org/officeDocument/2006/relationships/tags" Target="../tags/tag158.xml"/><Relationship Id="rId10" Type="http://schemas.openxmlformats.org/officeDocument/2006/relationships/tags" Target="../tags/tag157.xml"/><Relationship Id="rId1" Type="http://schemas.openxmlformats.org/officeDocument/2006/relationships/tags" Target="../tags/tag151.xml"/></Relationships>
</file>

<file path=ppt/slides/_rels/slide12.xml.rels><?xml version="1.0" encoding="UTF-8" standalone="yes"?>
<Relationships xmlns="http://schemas.openxmlformats.org/package/2006/relationships"><Relationship Id="rId9" Type="http://schemas.openxmlformats.org/officeDocument/2006/relationships/slideLayout" Target="../slideLayouts/slideLayout34.xml"/><Relationship Id="rId8" Type="http://schemas.openxmlformats.org/officeDocument/2006/relationships/tags" Target="../tags/tag164.xml"/><Relationship Id="rId7" Type="http://schemas.openxmlformats.org/officeDocument/2006/relationships/tags" Target="../tags/tag163.xml"/><Relationship Id="rId6" Type="http://schemas.openxmlformats.org/officeDocument/2006/relationships/tags" Target="../tags/tag162.xml"/><Relationship Id="rId5" Type="http://schemas.openxmlformats.org/officeDocument/2006/relationships/tags" Target="../tags/tag161.xml"/><Relationship Id="rId4" Type="http://schemas.openxmlformats.org/officeDocument/2006/relationships/image" Target="../media/image141.png"/><Relationship Id="rId3" Type="http://schemas.openxmlformats.org/officeDocument/2006/relationships/tags" Target="../tags/tag160.xml"/><Relationship Id="rId2" Type="http://schemas.openxmlformats.org/officeDocument/2006/relationships/image" Target="../media/image140.png"/><Relationship Id="rId1" Type="http://schemas.openxmlformats.org/officeDocument/2006/relationships/tags" Target="../tags/tag159.xml"/></Relationships>
</file>

<file path=ppt/slides/_rels/slide13.xml.rels><?xml version="1.0" encoding="UTF-8" standalone="yes"?>
<Relationships xmlns="http://schemas.openxmlformats.org/package/2006/relationships"><Relationship Id="rId9" Type="http://schemas.openxmlformats.org/officeDocument/2006/relationships/tags" Target="../tags/tag169.xml"/><Relationship Id="rId8" Type="http://schemas.openxmlformats.org/officeDocument/2006/relationships/tags" Target="../tags/tag168.xml"/><Relationship Id="rId7" Type="http://schemas.openxmlformats.org/officeDocument/2006/relationships/image" Target="../media/image143.png"/><Relationship Id="rId6" Type="http://schemas.openxmlformats.org/officeDocument/2006/relationships/tags" Target="../tags/tag167.xml"/><Relationship Id="rId5" Type="http://schemas.openxmlformats.org/officeDocument/2006/relationships/image" Target="../media/image142.png"/><Relationship Id="rId4" Type="http://schemas.openxmlformats.org/officeDocument/2006/relationships/tags" Target="../tags/tag166.xml"/><Relationship Id="rId3" Type="http://schemas.openxmlformats.org/officeDocument/2006/relationships/image" Target="../media/image119.emf"/><Relationship Id="rId2" Type="http://schemas.openxmlformats.org/officeDocument/2006/relationships/oleObject" Target="../embeddings/oleObject8.bin"/><Relationship Id="rId14" Type="http://schemas.openxmlformats.org/officeDocument/2006/relationships/notesSlide" Target="../notesSlides/notesSlide7.xml"/><Relationship Id="rId13" Type="http://schemas.openxmlformats.org/officeDocument/2006/relationships/vmlDrawing" Target="../drawings/vmlDrawing8.vml"/><Relationship Id="rId12" Type="http://schemas.openxmlformats.org/officeDocument/2006/relationships/slideLayout" Target="../slideLayouts/slideLayout34.xml"/><Relationship Id="rId11" Type="http://schemas.openxmlformats.org/officeDocument/2006/relationships/tags" Target="../tags/tag171.xml"/><Relationship Id="rId10" Type="http://schemas.openxmlformats.org/officeDocument/2006/relationships/tags" Target="../tags/tag170.xml"/><Relationship Id="rId1" Type="http://schemas.openxmlformats.org/officeDocument/2006/relationships/tags" Target="../tags/tag16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173.xml"/><Relationship Id="rId1" Type="http://schemas.openxmlformats.org/officeDocument/2006/relationships/tags" Target="../tags/tag172.xml"/></Relationships>
</file>

<file path=ppt/slides/_rels/slide15.xml.rels><?xml version="1.0" encoding="UTF-8" standalone="yes"?>
<Relationships xmlns="http://schemas.openxmlformats.org/package/2006/relationships"><Relationship Id="rId9" Type="http://schemas.openxmlformats.org/officeDocument/2006/relationships/slideLayout" Target="../slideLayouts/slideLayout34.xml"/><Relationship Id="rId8" Type="http://schemas.openxmlformats.org/officeDocument/2006/relationships/tags" Target="../tags/tag178.xml"/><Relationship Id="rId7" Type="http://schemas.openxmlformats.org/officeDocument/2006/relationships/tags" Target="../tags/tag177.xml"/><Relationship Id="rId6" Type="http://schemas.openxmlformats.org/officeDocument/2006/relationships/tags" Target="../tags/tag176.xml"/><Relationship Id="rId5" Type="http://schemas.openxmlformats.org/officeDocument/2006/relationships/tags" Target="../tags/tag175.xml"/><Relationship Id="rId4" Type="http://schemas.openxmlformats.org/officeDocument/2006/relationships/image" Target="../media/image119.emf"/><Relationship Id="rId3" Type="http://schemas.openxmlformats.org/officeDocument/2006/relationships/oleObject" Target="../embeddings/oleObject9.bin"/><Relationship Id="rId2" Type="http://schemas.openxmlformats.org/officeDocument/2006/relationships/tags" Target="../tags/tag174.xml"/><Relationship Id="rId11" Type="http://schemas.openxmlformats.org/officeDocument/2006/relationships/notesSlide" Target="../notesSlides/notesSlide8.xml"/><Relationship Id="rId10" Type="http://schemas.openxmlformats.org/officeDocument/2006/relationships/vmlDrawing" Target="../drawings/vmlDrawing9.vml"/><Relationship Id="rId1" Type="http://schemas.openxmlformats.org/officeDocument/2006/relationships/image" Target="../media/image144.png"/></Relationships>
</file>

<file path=ppt/slides/_rels/slide16.xml.rels><?xml version="1.0" encoding="UTF-8" standalone="yes"?>
<Relationships xmlns="http://schemas.openxmlformats.org/package/2006/relationships"><Relationship Id="rId9" Type="http://schemas.openxmlformats.org/officeDocument/2006/relationships/image" Target="../media/image146.png"/><Relationship Id="rId8" Type="http://schemas.openxmlformats.org/officeDocument/2006/relationships/image" Target="../media/image145.png"/><Relationship Id="rId7" Type="http://schemas.openxmlformats.org/officeDocument/2006/relationships/tags" Target="../tags/tag183.xml"/><Relationship Id="rId6" Type="http://schemas.openxmlformats.org/officeDocument/2006/relationships/tags" Target="../tags/tag182.xml"/><Relationship Id="rId5" Type="http://schemas.openxmlformats.org/officeDocument/2006/relationships/tags" Target="../tags/tag181.xml"/><Relationship Id="rId4" Type="http://schemas.openxmlformats.org/officeDocument/2006/relationships/tags" Target="../tags/tag180.xml"/><Relationship Id="rId3" Type="http://schemas.openxmlformats.org/officeDocument/2006/relationships/image" Target="../media/image119.emf"/><Relationship Id="rId2" Type="http://schemas.openxmlformats.org/officeDocument/2006/relationships/oleObject" Target="../embeddings/oleObject10.bin"/><Relationship Id="rId18" Type="http://schemas.openxmlformats.org/officeDocument/2006/relationships/notesSlide" Target="../notesSlides/notesSlide9.xml"/><Relationship Id="rId17" Type="http://schemas.openxmlformats.org/officeDocument/2006/relationships/vmlDrawing" Target="../drawings/vmlDrawing10.vml"/><Relationship Id="rId16" Type="http://schemas.openxmlformats.org/officeDocument/2006/relationships/slideLayout" Target="../slideLayouts/slideLayout34.xml"/><Relationship Id="rId15" Type="http://schemas.openxmlformats.org/officeDocument/2006/relationships/tags" Target="../tags/tag188.xml"/><Relationship Id="rId14" Type="http://schemas.openxmlformats.org/officeDocument/2006/relationships/tags" Target="../tags/tag187.xml"/><Relationship Id="rId13" Type="http://schemas.openxmlformats.org/officeDocument/2006/relationships/tags" Target="../tags/tag186.xml"/><Relationship Id="rId12" Type="http://schemas.openxmlformats.org/officeDocument/2006/relationships/tags" Target="../tags/tag185.xml"/><Relationship Id="rId11" Type="http://schemas.openxmlformats.org/officeDocument/2006/relationships/tags" Target="../tags/tag184.xml"/><Relationship Id="rId10" Type="http://schemas.openxmlformats.org/officeDocument/2006/relationships/image" Target="../media/image147.svg"/><Relationship Id="rId1" Type="http://schemas.openxmlformats.org/officeDocument/2006/relationships/tags" Target="../tags/tag179.xml"/></Relationships>
</file>

<file path=ppt/slides/_rels/slide17.xml.rels><?xml version="1.0" encoding="UTF-8" standalone="yes"?>
<Relationships xmlns="http://schemas.openxmlformats.org/package/2006/relationships"><Relationship Id="rId9" Type="http://schemas.openxmlformats.org/officeDocument/2006/relationships/tags" Target="../tags/tag193.xml"/><Relationship Id="rId8" Type="http://schemas.openxmlformats.org/officeDocument/2006/relationships/image" Target="../media/image149.png"/><Relationship Id="rId7" Type="http://schemas.openxmlformats.org/officeDocument/2006/relationships/tags" Target="../tags/tag192.xml"/><Relationship Id="rId6" Type="http://schemas.openxmlformats.org/officeDocument/2006/relationships/tags" Target="../tags/tag191.xml"/><Relationship Id="rId5" Type="http://schemas.openxmlformats.org/officeDocument/2006/relationships/tags" Target="../tags/tag190.xml"/><Relationship Id="rId4" Type="http://schemas.openxmlformats.org/officeDocument/2006/relationships/image" Target="../media/image148.png"/><Relationship Id="rId3" Type="http://schemas.openxmlformats.org/officeDocument/2006/relationships/image" Target="../media/image119.emf"/><Relationship Id="rId2" Type="http://schemas.openxmlformats.org/officeDocument/2006/relationships/oleObject" Target="../embeddings/oleObject11.bin"/><Relationship Id="rId14" Type="http://schemas.openxmlformats.org/officeDocument/2006/relationships/notesSlide" Target="../notesSlides/notesSlide10.xml"/><Relationship Id="rId13" Type="http://schemas.openxmlformats.org/officeDocument/2006/relationships/vmlDrawing" Target="../drawings/vmlDrawing11.vml"/><Relationship Id="rId12" Type="http://schemas.openxmlformats.org/officeDocument/2006/relationships/slideLayout" Target="../slideLayouts/slideLayout34.xml"/><Relationship Id="rId11" Type="http://schemas.openxmlformats.org/officeDocument/2006/relationships/tags" Target="../tags/tag195.xml"/><Relationship Id="rId10" Type="http://schemas.openxmlformats.org/officeDocument/2006/relationships/tags" Target="../tags/tag194.xml"/><Relationship Id="rId1" Type="http://schemas.openxmlformats.org/officeDocument/2006/relationships/tags" Target="../tags/tag18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4" Type="http://schemas.openxmlformats.org/officeDocument/2006/relationships/slideLayout" Target="../slideLayouts/slideLayout34.xm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s>
</file>

<file path=ppt/slides/_rels/slide4.xml.rels><?xml version="1.0" encoding="UTF-8" standalone="yes"?>
<Relationships xmlns="http://schemas.openxmlformats.org/package/2006/relationships"><Relationship Id="rId9" Type="http://schemas.openxmlformats.org/officeDocument/2006/relationships/tags" Target="../tags/tag49.xml"/><Relationship Id="rId8" Type="http://schemas.openxmlformats.org/officeDocument/2006/relationships/image" Target="../media/image122.png"/><Relationship Id="rId7" Type="http://schemas.openxmlformats.org/officeDocument/2006/relationships/tags" Target="../tags/tag48.xml"/><Relationship Id="rId6" Type="http://schemas.openxmlformats.org/officeDocument/2006/relationships/tags" Target="../tags/tag47.xml"/><Relationship Id="rId5" Type="http://schemas.openxmlformats.org/officeDocument/2006/relationships/image" Target="../media/image121.png"/><Relationship Id="rId4" Type="http://schemas.openxmlformats.org/officeDocument/2006/relationships/tags" Target="../tags/tag46.xml"/><Relationship Id="rId36" Type="http://schemas.openxmlformats.org/officeDocument/2006/relationships/notesSlide" Target="../notesSlides/notesSlide2.xml"/><Relationship Id="rId35" Type="http://schemas.openxmlformats.org/officeDocument/2006/relationships/vmlDrawing" Target="../drawings/vmlDrawing3.vml"/><Relationship Id="rId34" Type="http://schemas.openxmlformats.org/officeDocument/2006/relationships/slideLayout" Target="../slideLayouts/slideLayout34.xml"/><Relationship Id="rId33" Type="http://schemas.openxmlformats.org/officeDocument/2006/relationships/tags" Target="../tags/tag69.xml"/><Relationship Id="rId32" Type="http://schemas.openxmlformats.org/officeDocument/2006/relationships/tags" Target="../tags/tag68.xml"/><Relationship Id="rId31" Type="http://schemas.openxmlformats.org/officeDocument/2006/relationships/tags" Target="../tags/tag67.xml"/><Relationship Id="rId30" Type="http://schemas.openxmlformats.org/officeDocument/2006/relationships/image" Target="../media/image126.png"/><Relationship Id="rId3" Type="http://schemas.openxmlformats.org/officeDocument/2006/relationships/image" Target="../media/image119.emf"/><Relationship Id="rId29" Type="http://schemas.openxmlformats.org/officeDocument/2006/relationships/tags" Target="../tags/tag66.xml"/><Relationship Id="rId28" Type="http://schemas.openxmlformats.org/officeDocument/2006/relationships/tags" Target="../tags/tag65.xml"/><Relationship Id="rId27" Type="http://schemas.openxmlformats.org/officeDocument/2006/relationships/tags" Target="../tags/tag64.xml"/><Relationship Id="rId26" Type="http://schemas.openxmlformats.org/officeDocument/2006/relationships/tags" Target="../tags/tag63.xml"/><Relationship Id="rId25" Type="http://schemas.openxmlformats.org/officeDocument/2006/relationships/tags" Target="../tags/tag62.xml"/><Relationship Id="rId24" Type="http://schemas.openxmlformats.org/officeDocument/2006/relationships/tags" Target="../tags/tag61.xml"/><Relationship Id="rId23" Type="http://schemas.openxmlformats.org/officeDocument/2006/relationships/tags" Target="../tags/tag60.xml"/><Relationship Id="rId22" Type="http://schemas.openxmlformats.org/officeDocument/2006/relationships/tags" Target="../tags/tag59.xml"/><Relationship Id="rId21" Type="http://schemas.openxmlformats.org/officeDocument/2006/relationships/tags" Target="../tags/tag58.xml"/><Relationship Id="rId20" Type="http://schemas.openxmlformats.org/officeDocument/2006/relationships/tags" Target="../tags/tag57.xml"/><Relationship Id="rId2" Type="http://schemas.openxmlformats.org/officeDocument/2006/relationships/oleObject" Target="../embeddings/oleObject3.bin"/><Relationship Id="rId19" Type="http://schemas.openxmlformats.org/officeDocument/2006/relationships/tags" Target="../tags/tag56.xml"/><Relationship Id="rId18" Type="http://schemas.openxmlformats.org/officeDocument/2006/relationships/tags" Target="../tags/tag55.xml"/><Relationship Id="rId17" Type="http://schemas.openxmlformats.org/officeDocument/2006/relationships/image" Target="../media/image125.png"/><Relationship Id="rId16" Type="http://schemas.openxmlformats.org/officeDocument/2006/relationships/image" Target="../media/image124.png"/><Relationship Id="rId15" Type="http://schemas.openxmlformats.org/officeDocument/2006/relationships/tags" Target="../tags/tag54.xml"/><Relationship Id="rId14" Type="http://schemas.openxmlformats.org/officeDocument/2006/relationships/tags" Target="../tags/tag53.xml"/><Relationship Id="rId13" Type="http://schemas.openxmlformats.org/officeDocument/2006/relationships/tags" Target="../tags/tag52.xml"/><Relationship Id="rId12" Type="http://schemas.openxmlformats.org/officeDocument/2006/relationships/tags" Target="../tags/tag51.xml"/><Relationship Id="rId11" Type="http://schemas.openxmlformats.org/officeDocument/2006/relationships/image" Target="../media/image123.png"/><Relationship Id="rId10" Type="http://schemas.openxmlformats.org/officeDocument/2006/relationships/tags" Target="../tags/tag50.xml"/><Relationship Id="rId1" Type="http://schemas.openxmlformats.org/officeDocument/2006/relationships/tags" Target="../tags/tag45.xml"/></Relationships>
</file>

<file path=ppt/slides/_rels/slide5.xml.rels><?xml version="1.0" encoding="UTF-8" standalone="yes"?>
<Relationships xmlns="http://schemas.openxmlformats.org/package/2006/relationships"><Relationship Id="rId9" Type="http://schemas.openxmlformats.org/officeDocument/2006/relationships/tags" Target="../tags/tag74.xml"/><Relationship Id="rId8" Type="http://schemas.openxmlformats.org/officeDocument/2006/relationships/tags" Target="../tags/tag73.xml"/><Relationship Id="rId7" Type="http://schemas.openxmlformats.org/officeDocument/2006/relationships/image" Target="../media/image122.png"/><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image" Target="../media/image121.png"/><Relationship Id="rId33" Type="http://schemas.openxmlformats.org/officeDocument/2006/relationships/notesSlide" Target="../notesSlides/notesSlide3.xml"/><Relationship Id="rId32" Type="http://schemas.openxmlformats.org/officeDocument/2006/relationships/vmlDrawing" Target="../drawings/vmlDrawing4.vml"/><Relationship Id="rId31" Type="http://schemas.openxmlformats.org/officeDocument/2006/relationships/slideLayout" Target="../slideLayouts/slideLayout34.xml"/><Relationship Id="rId30" Type="http://schemas.openxmlformats.org/officeDocument/2006/relationships/tags" Target="../tags/tag92.xml"/><Relationship Id="rId3" Type="http://schemas.openxmlformats.org/officeDocument/2006/relationships/image" Target="../media/image119.emf"/><Relationship Id="rId29" Type="http://schemas.openxmlformats.org/officeDocument/2006/relationships/tags" Target="../tags/tag91.xml"/><Relationship Id="rId28" Type="http://schemas.openxmlformats.org/officeDocument/2006/relationships/tags" Target="../tags/tag90.xml"/><Relationship Id="rId27" Type="http://schemas.openxmlformats.org/officeDocument/2006/relationships/tags" Target="../tags/tag89.xml"/><Relationship Id="rId26" Type="http://schemas.openxmlformats.org/officeDocument/2006/relationships/tags" Target="../tags/tag88.xml"/><Relationship Id="rId25" Type="http://schemas.openxmlformats.org/officeDocument/2006/relationships/tags" Target="../tags/tag87.xml"/><Relationship Id="rId24" Type="http://schemas.openxmlformats.org/officeDocument/2006/relationships/tags" Target="../tags/tag86.xml"/><Relationship Id="rId23" Type="http://schemas.openxmlformats.org/officeDocument/2006/relationships/tags" Target="../tags/tag85.xml"/><Relationship Id="rId22" Type="http://schemas.openxmlformats.org/officeDocument/2006/relationships/tags" Target="../tags/tag84.xml"/><Relationship Id="rId21" Type="http://schemas.openxmlformats.org/officeDocument/2006/relationships/tags" Target="../tags/tag83.xml"/><Relationship Id="rId20" Type="http://schemas.openxmlformats.org/officeDocument/2006/relationships/tags" Target="../tags/tag82.xml"/><Relationship Id="rId2" Type="http://schemas.openxmlformats.org/officeDocument/2006/relationships/oleObject" Target="../embeddings/oleObject4.bin"/><Relationship Id="rId19" Type="http://schemas.openxmlformats.org/officeDocument/2006/relationships/tags" Target="../tags/tag81.xml"/><Relationship Id="rId18" Type="http://schemas.openxmlformats.org/officeDocument/2006/relationships/tags" Target="../tags/tag80.xml"/><Relationship Id="rId17" Type="http://schemas.openxmlformats.org/officeDocument/2006/relationships/tags" Target="../tags/tag79.xml"/><Relationship Id="rId16" Type="http://schemas.openxmlformats.org/officeDocument/2006/relationships/tags" Target="../tags/tag78.xml"/><Relationship Id="rId15" Type="http://schemas.openxmlformats.org/officeDocument/2006/relationships/tags" Target="../tags/tag77.xml"/><Relationship Id="rId14" Type="http://schemas.openxmlformats.org/officeDocument/2006/relationships/image" Target="../media/image125.png"/><Relationship Id="rId13" Type="http://schemas.openxmlformats.org/officeDocument/2006/relationships/image" Target="../media/image124.png"/><Relationship Id="rId12" Type="http://schemas.openxmlformats.org/officeDocument/2006/relationships/tags" Target="../tags/tag76.xml"/><Relationship Id="rId11" Type="http://schemas.openxmlformats.org/officeDocument/2006/relationships/tags" Target="../tags/tag75.xml"/><Relationship Id="rId10" Type="http://schemas.openxmlformats.org/officeDocument/2006/relationships/image" Target="../media/image123.png"/><Relationship Id="rId1" Type="http://schemas.openxmlformats.org/officeDocument/2006/relationships/tags" Target="../tags/tag70.xml"/></Relationships>
</file>

<file path=ppt/slides/_rels/slide6.xml.rels><?xml version="1.0" encoding="UTF-8" standalone="yes"?>
<Relationships xmlns="http://schemas.openxmlformats.org/package/2006/relationships"><Relationship Id="rId9" Type="http://schemas.openxmlformats.org/officeDocument/2006/relationships/image" Target="../media/image127.png"/><Relationship Id="rId8" Type="http://schemas.openxmlformats.org/officeDocument/2006/relationships/tags" Target="../tags/tag97.xml"/><Relationship Id="rId7" Type="http://schemas.openxmlformats.org/officeDocument/2006/relationships/image" Target="../media/image126.png"/><Relationship Id="rId6" Type="http://schemas.openxmlformats.org/officeDocument/2006/relationships/tags" Target="../tags/tag96.xml"/><Relationship Id="rId5" Type="http://schemas.openxmlformats.org/officeDocument/2006/relationships/tags" Target="../tags/tag95.xml"/><Relationship Id="rId4" Type="http://schemas.openxmlformats.org/officeDocument/2006/relationships/tags" Target="../tags/tag94.xml"/><Relationship Id="rId3" Type="http://schemas.openxmlformats.org/officeDocument/2006/relationships/image" Target="../media/image119.emf"/><Relationship Id="rId2" Type="http://schemas.openxmlformats.org/officeDocument/2006/relationships/oleObject" Target="../embeddings/oleObject5.bin"/><Relationship Id="rId17" Type="http://schemas.openxmlformats.org/officeDocument/2006/relationships/notesSlide" Target="../notesSlides/notesSlide4.xml"/><Relationship Id="rId16" Type="http://schemas.openxmlformats.org/officeDocument/2006/relationships/vmlDrawing" Target="../drawings/vmlDrawing5.vml"/><Relationship Id="rId15" Type="http://schemas.openxmlformats.org/officeDocument/2006/relationships/slideLayout" Target="../slideLayouts/slideLayout34.xml"/><Relationship Id="rId14" Type="http://schemas.openxmlformats.org/officeDocument/2006/relationships/tags" Target="../tags/tag101.xml"/><Relationship Id="rId13" Type="http://schemas.openxmlformats.org/officeDocument/2006/relationships/tags" Target="../tags/tag100.xml"/><Relationship Id="rId12" Type="http://schemas.openxmlformats.org/officeDocument/2006/relationships/tags" Target="../tags/tag99.xml"/><Relationship Id="rId11" Type="http://schemas.openxmlformats.org/officeDocument/2006/relationships/image" Target="../media/image128.jpeg"/><Relationship Id="rId10" Type="http://schemas.openxmlformats.org/officeDocument/2006/relationships/tags" Target="../tags/tag98.xml"/><Relationship Id="rId1" Type="http://schemas.openxmlformats.org/officeDocument/2006/relationships/tags" Target="../tags/tag93.xml"/></Relationships>
</file>

<file path=ppt/slides/_rels/slide7.xml.rels><?xml version="1.0" encoding="UTF-8" standalone="yes"?>
<Relationships xmlns="http://schemas.openxmlformats.org/package/2006/relationships"><Relationship Id="rId9" Type="http://schemas.openxmlformats.org/officeDocument/2006/relationships/tags" Target="../tags/tag110.xml"/><Relationship Id="rId8" Type="http://schemas.openxmlformats.org/officeDocument/2006/relationships/tags" Target="../tags/tag109.xml"/><Relationship Id="rId7" Type="http://schemas.openxmlformats.org/officeDocument/2006/relationships/tags" Target="../tags/tag108.xml"/><Relationship Id="rId6" Type="http://schemas.openxmlformats.org/officeDocument/2006/relationships/tags" Target="../tags/tag107.xml"/><Relationship Id="rId5" Type="http://schemas.openxmlformats.org/officeDocument/2006/relationships/tags" Target="../tags/tag106.xml"/><Relationship Id="rId4" Type="http://schemas.openxmlformats.org/officeDocument/2006/relationships/tags" Target="../tags/tag105.xml"/><Relationship Id="rId3" Type="http://schemas.openxmlformats.org/officeDocument/2006/relationships/tags" Target="../tags/tag104.xml"/><Relationship Id="rId2" Type="http://schemas.openxmlformats.org/officeDocument/2006/relationships/tags" Target="../tags/tag103.xml"/><Relationship Id="rId13" Type="http://schemas.openxmlformats.org/officeDocument/2006/relationships/slideLayout" Target="../slideLayouts/slideLayout34.xml"/><Relationship Id="rId12" Type="http://schemas.openxmlformats.org/officeDocument/2006/relationships/tags" Target="../tags/tag113.xml"/><Relationship Id="rId11" Type="http://schemas.openxmlformats.org/officeDocument/2006/relationships/tags" Target="../tags/tag112.xml"/><Relationship Id="rId10" Type="http://schemas.openxmlformats.org/officeDocument/2006/relationships/tags" Target="../tags/tag111.xml"/><Relationship Id="rId1" Type="http://schemas.openxmlformats.org/officeDocument/2006/relationships/tags" Target="../tags/tag102.xml"/></Relationships>
</file>

<file path=ppt/slides/_rels/slide8.xml.rels><?xml version="1.0" encoding="UTF-8" standalone="yes"?>
<Relationships xmlns="http://schemas.openxmlformats.org/package/2006/relationships"><Relationship Id="rId4" Type="http://schemas.openxmlformats.org/officeDocument/2006/relationships/slideLayout" Target="../slideLayouts/slideLayout34.xml"/><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ags" Target="../tags/tag114.xml"/></Relationships>
</file>

<file path=ppt/slides/_rels/slide9.xml.rels><?xml version="1.0" encoding="UTF-8" standalone="yes"?>
<Relationships xmlns="http://schemas.openxmlformats.org/package/2006/relationships"><Relationship Id="rId9" Type="http://schemas.openxmlformats.org/officeDocument/2006/relationships/tags" Target="../tags/tag121.xml"/><Relationship Id="rId8" Type="http://schemas.openxmlformats.org/officeDocument/2006/relationships/tags" Target="../tags/tag120.xml"/><Relationship Id="rId7" Type="http://schemas.openxmlformats.org/officeDocument/2006/relationships/image" Target="../media/image130.png"/><Relationship Id="rId6" Type="http://schemas.openxmlformats.org/officeDocument/2006/relationships/tags" Target="../tags/tag119.xml"/><Relationship Id="rId5" Type="http://schemas.openxmlformats.org/officeDocument/2006/relationships/image" Target="../media/image129.png"/><Relationship Id="rId4" Type="http://schemas.openxmlformats.org/officeDocument/2006/relationships/tags" Target="../tags/tag118.xml"/><Relationship Id="rId34" Type="http://schemas.openxmlformats.org/officeDocument/2006/relationships/notesSlide" Target="../notesSlides/notesSlide5.xml"/><Relationship Id="rId33" Type="http://schemas.openxmlformats.org/officeDocument/2006/relationships/vmlDrawing" Target="../drawings/vmlDrawing6.vml"/><Relationship Id="rId32" Type="http://schemas.openxmlformats.org/officeDocument/2006/relationships/slideLayout" Target="../slideLayouts/slideLayout34.xml"/><Relationship Id="rId31" Type="http://schemas.openxmlformats.org/officeDocument/2006/relationships/tags" Target="../tags/tag140.xml"/><Relationship Id="rId30" Type="http://schemas.openxmlformats.org/officeDocument/2006/relationships/tags" Target="../tags/tag139.xml"/><Relationship Id="rId3" Type="http://schemas.openxmlformats.org/officeDocument/2006/relationships/image" Target="../media/image119.emf"/><Relationship Id="rId29" Type="http://schemas.openxmlformats.org/officeDocument/2006/relationships/tags" Target="../tags/tag138.xml"/><Relationship Id="rId28" Type="http://schemas.openxmlformats.org/officeDocument/2006/relationships/image" Target="../media/image133.png"/><Relationship Id="rId27" Type="http://schemas.openxmlformats.org/officeDocument/2006/relationships/tags" Target="../tags/tag137.xml"/><Relationship Id="rId26" Type="http://schemas.openxmlformats.org/officeDocument/2006/relationships/tags" Target="../tags/tag136.xml"/><Relationship Id="rId25" Type="http://schemas.openxmlformats.org/officeDocument/2006/relationships/image" Target="../media/image132.png"/><Relationship Id="rId24" Type="http://schemas.openxmlformats.org/officeDocument/2006/relationships/tags" Target="../tags/tag135.xml"/><Relationship Id="rId23" Type="http://schemas.openxmlformats.org/officeDocument/2006/relationships/tags" Target="../tags/tag134.xml"/><Relationship Id="rId22" Type="http://schemas.openxmlformats.org/officeDocument/2006/relationships/tags" Target="../tags/tag133.xml"/><Relationship Id="rId21" Type="http://schemas.openxmlformats.org/officeDocument/2006/relationships/tags" Target="../tags/tag132.xml"/><Relationship Id="rId20" Type="http://schemas.openxmlformats.org/officeDocument/2006/relationships/tags" Target="../tags/tag131.xml"/><Relationship Id="rId2" Type="http://schemas.openxmlformats.org/officeDocument/2006/relationships/oleObject" Target="../embeddings/oleObject6.bin"/><Relationship Id="rId19" Type="http://schemas.openxmlformats.org/officeDocument/2006/relationships/tags" Target="../tags/tag130.xml"/><Relationship Id="rId18" Type="http://schemas.openxmlformats.org/officeDocument/2006/relationships/tags" Target="../tags/tag129.xml"/><Relationship Id="rId17" Type="http://schemas.openxmlformats.org/officeDocument/2006/relationships/tags" Target="../tags/tag128.xml"/><Relationship Id="rId16" Type="http://schemas.openxmlformats.org/officeDocument/2006/relationships/tags" Target="../tags/tag127.xml"/><Relationship Id="rId15" Type="http://schemas.openxmlformats.org/officeDocument/2006/relationships/tags" Target="../tags/tag126.xml"/><Relationship Id="rId14" Type="http://schemas.openxmlformats.org/officeDocument/2006/relationships/tags" Target="../tags/tag125.xml"/><Relationship Id="rId13" Type="http://schemas.openxmlformats.org/officeDocument/2006/relationships/tags" Target="../tags/tag124.xml"/><Relationship Id="rId12" Type="http://schemas.openxmlformats.org/officeDocument/2006/relationships/tags" Target="../tags/tag123.xml"/><Relationship Id="rId11" Type="http://schemas.openxmlformats.org/officeDocument/2006/relationships/image" Target="../media/image131.jpeg"/><Relationship Id="rId10" Type="http://schemas.openxmlformats.org/officeDocument/2006/relationships/tags" Target="../tags/tag122.xml"/><Relationship Id="rId1" Type="http://schemas.openxmlformats.org/officeDocument/2006/relationships/tags" Target="../tags/tag1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2" name="文本框 1"/>
          <p:cNvSpPr txBox="1"/>
          <p:nvPr/>
        </p:nvSpPr>
        <p:spPr>
          <a:xfrm>
            <a:off x="1070610" y="2905760"/>
            <a:ext cx="9871710" cy="1045845"/>
          </a:xfrm>
          <a:prstGeom prst="rect">
            <a:avLst/>
          </a:prstGeom>
          <a:noFill/>
        </p:spPr>
        <p:txBody>
          <a:bodyPr wrap="square" lIns="0" tIns="0" rIns="0" bIns="0" rtlCol="0">
            <a:spAutoFit/>
          </a:bodyPr>
          <a:p>
            <a:pPr algn="ctr"/>
            <a:r>
              <a:rPr lang="zh-CN" sz="4000">
                <a:latin typeface="VW Text" panose="020B0504040200000003" pitchFamily="34" charset="0"/>
              </a:rPr>
              <a:t>大众安徽黑客松</a:t>
            </a:r>
            <a:r>
              <a:rPr lang="en-US" altLang="zh-CN" sz="4000">
                <a:latin typeface="VW Text" panose="020B0504040200000003" pitchFamily="34" charset="0"/>
              </a:rPr>
              <a:t>——</a:t>
            </a:r>
            <a:r>
              <a:rPr sz="4000">
                <a:latin typeface="VW Text" panose="020B0504040200000003" pitchFamily="34" charset="0"/>
              </a:rPr>
              <a:t>Snow Auto</a:t>
            </a:r>
            <a:r>
              <a:rPr lang="zh-CN" sz="4000">
                <a:latin typeface="VW Text" panose="020B0504040200000003" pitchFamily="34" charset="0"/>
              </a:rPr>
              <a:t>队参赛项目：</a:t>
            </a:r>
            <a:endParaRPr lang="zh-CN" sz="4000">
              <a:latin typeface="VW Text" panose="020B0504040200000003" pitchFamily="34" charset="0"/>
            </a:endParaRPr>
          </a:p>
          <a:p>
            <a:pPr algn="ctr"/>
            <a:r>
              <a:rPr lang="zh-CN" sz="2800">
                <a:latin typeface="VW Text" panose="020B0504040200000003" pitchFamily="34" charset="0"/>
              </a:rPr>
              <a:t>基于无线传感的姿态识别与定位在汽车领域的应用实例</a:t>
            </a:r>
            <a:endParaRPr lang="zh-CN" sz="2800">
              <a:latin typeface="VW Text" panose="020B0504040200000003" pitchFamily="34" charset="0"/>
            </a:endParaRPr>
          </a:p>
        </p:txBody>
      </p:sp>
      <p:sp>
        <p:nvSpPr>
          <p:cNvPr id="4" name="文本框 3"/>
          <p:cNvSpPr txBox="1"/>
          <p:nvPr/>
        </p:nvSpPr>
        <p:spPr>
          <a:xfrm>
            <a:off x="6327140" y="5322570"/>
            <a:ext cx="5395595" cy="615315"/>
          </a:xfrm>
          <a:prstGeom prst="rect">
            <a:avLst/>
          </a:prstGeom>
          <a:noFill/>
        </p:spPr>
        <p:txBody>
          <a:bodyPr wrap="square" lIns="0" tIns="0" rIns="0" bIns="0" rtlCol="0">
            <a:spAutoFit/>
          </a:bodyPr>
          <a:p>
            <a:pPr algn="l"/>
            <a:r>
              <a:rPr lang="zh-CN" altLang="en-US" sz="2000" dirty="0" err="1" smtClean="0">
                <a:solidFill>
                  <a:schemeClr val="tx2"/>
                </a:solidFill>
              </a:rPr>
              <a:t>队长：戴鼎榕</a:t>
            </a:r>
            <a:endParaRPr lang="zh-CN" altLang="en-US" sz="2000" dirty="0" err="1" smtClean="0">
              <a:solidFill>
                <a:schemeClr val="tx2"/>
              </a:solidFill>
            </a:endParaRPr>
          </a:p>
          <a:p>
            <a:pPr algn="l"/>
            <a:r>
              <a:rPr lang="zh-CN" altLang="en-US" sz="2000" dirty="0" err="1" smtClean="0">
                <a:solidFill>
                  <a:schemeClr val="tx2"/>
                </a:solidFill>
              </a:rPr>
              <a:t>队员：林亮，谭丽雯，李茂，钟学炫，郭可嘉</a:t>
            </a:r>
            <a:endParaRPr lang="zh-CN" altLang="en-US" sz="2000" dirty="0" err="1" smtClean="0">
              <a:solidFill>
                <a:schemeClr val="tx2"/>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pic>
        <p:nvPicPr>
          <p:cNvPr id="64" name="图片 63"/>
          <p:cNvPicPr>
            <a:picLocks noChangeAspect="1"/>
          </p:cNvPicPr>
          <p:nvPr>
            <p:custDataLst>
              <p:tags r:id="rId4"/>
            </p:custDataLst>
          </p:nvPr>
        </p:nvPicPr>
        <p:blipFill>
          <a:blip r:embed="rId5"/>
          <a:stretch>
            <a:fillRect/>
          </a:stretch>
        </p:blipFill>
        <p:spPr>
          <a:xfrm>
            <a:off x="665480" y="4596765"/>
            <a:ext cx="3175635" cy="1523365"/>
          </a:xfrm>
          <a:prstGeom prst="rect">
            <a:avLst/>
          </a:prstGeom>
        </p:spPr>
      </p:pic>
      <p:sp>
        <p:nvSpPr>
          <p:cNvPr id="7" name="文本框 6"/>
          <p:cNvSpPr txBox="1"/>
          <p:nvPr>
            <p:custDataLst>
              <p:tags r:id="rId6"/>
            </p:custDataLst>
          </p:nvPr>
        </p:nvSpPr>
        <p:spPr>
          <a:xfrm>
            <a:off x="665480" y="1243330"/>
            <a:ext cx="11254740" cy="746125"/>
          </a:xfrm>
          <a:prstGeom prst="rect">
            <a:avLst/>
          </a:prstGeom>
          <a:noFill/>
        </p:spPr>
        <p:txBody>
          <a:bodyPr wrap="square" lIns="0" tIns="0" rIns="0" bIns="0" rtlCol="0">
            <a:noAutofit/>
          </a:bodyPr>
          <a:p>
            <a:r>
              <a:rPr lang="zh-CN" altLang="en-US">
                <a:latin typeface="+mj-ea"/>
                <a:ea typeface="+mj-ea"/>
                <a:sym typeface="+mn-ea"/>
              </a:rPr>
              <a:t>算法的训练数据采集</a:t>
            </a:r>
            <a:r>
              <a:rPr lang="zh-CN" altLang="en-US">
                <a:latin typeface="+mj-ea"/>
                <a:ea typeface="+mj-ea"/>
                <a:sym typeface="+mn-ea"/>
              </a:rPr>
              <a:t>包括一个</a:t>
            </a:r>
            <a:r>
              <a:rPr lang="en-US" altLang="zh-CN">
                <a:latin typeface="+mj-ea"/>
                <a:ea typeface="+mj-ea"/>
                <a:sym typeface="+mn-ea"/>
              </a:rPr>
              <a:t>WiFi</a:t>
            </a:r>
            <a:r>
              <a:rPr lang="zh-CN" altLang="en-US">
                <a:latin typeface="+mj-ea"/>
                <a:ea typeface="+mj-ea"/>
                <a:sym typeface="+mn-ea"/>
              </a:rPr>
              <a:t>信号发送器和一个</a:t>
            </a:r>
            <a:r>
              <a:rPr lang="en-US" altLang="zh-CN">
                <a:latin typeface="+mj-ea"/>
                <a:ea typeface="+mj-ea"/>
                <a:sym typeface="+mn-ea"/>
              </a:rPr>
              <a:t>WiFi</a:t>
            </a:r>
            <a:r>
              <a:rPr lang="zh-CN" altLang="en-US">
                <a:latin typeface="+mj-ea"/>
                <a:ea typeface="+mj-ea"/>
                <a:sym typeface="+mn-ea"/>
              </a:rPr>
              <a:t>信号接收器，如图</a:t>
            </a:r>
            <a:r>
              <a:rPr lang="en-US" altLang="zh-CN">
                <a:latin typeface="+mj-ea"/>
                <a:ea typeface="+mj-ea"/>
                <a:sym typeface="+mn-ea"/>
              </a:rPr>
              <a:t>1</a:t>
            </a:r>
            <a:r>
              <a:rPr lang="zh-CN" altLang="en-US">
                <a:latin typeface="+mj-ea"/>
                <a:ea typeface="+mj-ea"/>
                <a:sym typeface="+mn-ea"/>
              </a:rPr>
              <a:t>所示，收发器细节如图</a:t>
            </a:r>
            <a:r>
              <a:rPr lang="en-US" altLang="zh-CN">
                <a:latin typeface="+mj-ea"/>
                <a:ea typeface="+mj-ea"/>
                <a:sym typeface="+mn-ea"/>
              </a:rPr>
              <a:t>2</a:t>
            </a:r>
            <a:r>
              <a:rPr lang="zh-CN" altLang="en-US">
                <a:latin typeface="+mj-ea"/>
                <a:ea typeface="+mj-ea"/>
                <a:sym typeface="+mn-ea"/>
              </a:rPr>
              <a:t>所示。</a:t>
            </a:r>
            <a:endParaRPr lang="zh-CN" altLang="en-US">
              <a:latin typeface="+mj-ea"/>
              <a:ea typeface="+mj-ea"/>
              <a:sym typeface="+mn-ea"/>
            </a:endParaRPr>
          </a:p>
          <a:p>
            <a:endParaRPr lang="zh-CN" altLang="en-US">
              <a:latin typeface="+mj-ea"/>
              <a:ea typeface="+mj-ea"/>
              <a:sym typeface="+mn-ea"/>
            </a:endParaRPr>
          </a:p>
          <a:p>
            <a:r>
              <a:rPr lang="en-US" altLang="zh-CN">
                <a:latin typeface="+mj-ea"/>
                <a:ea typeface="+mj-ea"/>
                <a:sym typeface="+mn-ea"/>
              </a:rPr>
              <a:t>WiFi</a:t>
            </a:r>
            <a:r>
              <a:rPr lang="zh-CN" altLang="en-US">
                <a:latin typeface="+mj-ea"/>
                <a:ea typeface="+mj-ea"/>
                <a:sym typeface="+mn-ea"/>
              </a:rPr>
              <a:t>收集端的信号称为</a:t>
            </a:r>
            <a:r>
              <a:rPr lang="en-US" altLang="zh-CN">
                <a:latin typeface="+mj-ea"/>
                <a:ea typeface="+mj-ea"/>
                <a:sym typeface="+mn-ea"/>
              </a:rPr>
              <a:t>CSI</a:t>
            </a:r>
            <a:r>
              <a:rPr lang="zh-CN" altLang="en-US">
                <a:latin typeface="+mj-ea"/>
                <a:ea typeface="+mj-ea"/>
                <a:sym typeface="+mn-ea"/>
              </a:rPr>
              <a:t>信号</a:t>
            </a:r>
            <a:r>
              <a:rPr lang="en-US" altLang="zh-CN">
                <a:latin typeface="+mj-ea"/>
                <a:ea typeface="+mj-ea"/>
                <a:sym typeface="+mn-ea"/>
              </a:rPr>
              <a:t>(Channel State Information)</a:t>
            </a:r>
            <a:r>
              <a:rPr lang="zh-CN" altLang="en-US">
                <a:latin typeface="+mj-ea"/>
                <a:ea typeface="宋体" panose="02010600030101010101" pitchFamily="2" charset="-122"/>
                <a:sym typeface="+mn-ea"/>
              </a:rPr>
              <a:t>。</a:t>
            </a:r>
            <a:endParaRPr lang="zh-CN" altLang="en-US">
              <a:latin typeface="+mj-ea"/>
              <a:ea typeface="+mj-ea"/>
              <a:sym typeface="+mn-ea"/>
            </a:endParaRPr>
          </a:p>
          <a:p>
            <a:endParaRPr lang="zh-CN" altLang="en-US">
              <a:latin typeface="+mj-ea"/>
              <a:ea typeface="+mj-ea"/>
              <a:sym typeface="+mn-ea"/>
            </a:endParaRPr>
          </a:p>
          <a:p>
            <a:endParaRPr>
              <a:latin typeface="VW Text" panose="020B0504040200000003" pitchFamily="34" charset="0"/>
            </a:endParaRPr>
          </a:p>
          <a:p>
            <a:endParaRPr lang="zh-CN" altLang="en-US">
              <a:latin typeface="+mj-ea"/>
              <a:ea typeface="+mj-ea"/>
              <a:sym typeface="+mn-ea"/>
            </a:endParaRPr>
          </a:p>
        </p:txBody>
      </p:sp>
      <p:pic>
        <p:nvPicPr>
          <p:cNvPr id="68" name="图片 67" descr="device2"/>
          <p:cNvPicPr>
            <a:picLocks noChangeAspect="1"/>
          </p:cNvPicPr>
          <p:nvPr>
            <p:custDataLst>
              <p:tags r:id="rId7"/>
            </p:custDataLst>
          </p:nvPr>
        </p:nvPicPr>
        <p:blipFill>
          <a:blip r:embed="rId8"/>
          <a:stretch>
            <a:fillRect/>
          </a:stretch>
        </p:blipFill>
        <p:spPr>
          <a:xfrm>
            <a:off x="3823335" y="2164715"/>
            <a:ext cx="2146300" cy="1609725"/>
          </a:xfrm>
          <a:prstGeom prst="rect">
            <a:avLst/>
          </a:prstGeom>
        </p:spPr>
      </p:pic>
      <p:pic>
        <p:nvPicPr>
          <p:cNvPr id="69" name="图片 68" descr="Environment3"/>
          <p:cNvPicPr>
            <a:picLocks noChangeAspect="1"/>
          </p:cNvPicPr>
          <p:nvPr>
            <p:custDataLst>
              <p:tags r:id="rId9"/>
            </p:custDataLst>
          </p:nvPr>
        </p:nvPicPr>
        <p:blipFill>
          <a:blip r:embed="rId10"/>
          <a:stretch>
            <a:fillRect/>
          </a:stretch>
        </p:blipFill>
        <p:spPr>
          <a:xfrm>
            <a:off x="665480" y="2164080"/>
            <a:ext cx="2145665" cy="1610360"/>
          </a:xfrm>
          <a:prstGeom prst="rect">
            <a:avLst/>
          </a:prstGeom>
        </p:spPr>
      </p:pic>
      <p:sp>
        <p:nvSpPr>
          <p:cNvPr id="8" name="Rectangle 14"/>
          <p:cNvSpPr/>
          <p:nvPr>
            <p:custDataLst>
              <p:tags r:id="rId11"/>
            </p:custDataLst>
          </p:nvPr>
        </p:nvSpPr>
        <p:spPr>
          <a:xfrm>
            <a:off x="1461135" y="3794760"/>
            <a:ext cx="554355" cy="395605"/>
          </a:xfrm>
          <a:prstGeom prst="rect">
            <a:avLst/>
          </a:prstGeom>
        </p:spPr>
        <p:txBody>
          <a:bodyPr wrap="square">
            <a:spAutoFit/>
          </a:bodyPr>
          <a:p>
            <a:pPr>
              <a:lnSpc>
                <a:spcPct val="110000"/>
              </a:lnSpc>
              <a:spcAft>
                <a:spcPts val="450"/>
              </a:spcAft>
            </a:pPr>
            <a:r>
              <a:rPr lang="zh-CN" altLang="en-US" dirty="0" smtClean="0">
                <a:latin typeface="VW Text" panose="020B0504040200000003" pitchFamily="34" charset="0"/>
              </a:rPr>
              <a:t>图</a:t>
            </a:r>
            <a:r>
              <a:rPr lang="en-US" altLang="zh-CN" dirty="0" smtClean="0">
                <a:latin typeface="VW Text" panose="020B0504040200000003" pitchFamily="34" charset="0"/>
              </a:rPr>
              <a:t>1</a:t>
            </a:r>
            <a:endParaRPr lang="en-US" altLang="zh-CN" dirty="0" smtClean="0">
              <a:latin typeface="VW Text" panose="020B0504040200000003" pitchFamily="34" charset="0"/>
            </a:endParaRPr>
          </a:p>
        </p:txBody>
      </p:sp>
      <p:sp>
        <p:nvSpPr>
          <p:cNvPr id="9" name="Rectangle 14"/>
          <p:cNvSpPr/>
          <p:nvPr>
            <p:custDataLst>
              <p:tags r:id="rId12"/>
            </p:custDataLst>
          </p:nvPr>
        </p:nvSpPr>
        <p:spPr>
          <a:xfrm>
            <a:off x="4619625" y="3803015"/>
            <a:ext cx="554355" cy="395605"/>
          </a:xfrm>
          <a:prstGeom prst="rect">
            <a:avLst/>
          </a:prstGeom>
        </p:spPr>
        <p:txBody>
          <a:bodyPr wrap="square">
            <a:spAutoFit/>
          </a:bodyPr>
          <a:p>
            <a:pPr>
              <a:lnSpc>
                <a:spcPct val="110000"/>
              </a:lnSpc>
              <a:spcAft>
                <a:spcPts val="450"/>
              </a:spcAft>
            </a:pPr>
            <a:r>
              <a:rPr lang="zh-CN" altLang="en-US" dirty="0" smtClean="0">
                <a:latin typeface="VW Text" panose="020B0504040200000003" pitchFamily="34" charset="0"/>
              </a:rPr>
              <a:t>图</a:t>
            </a:r>
            <a:r>
              <a:rPr lang="en-US" altLang="zh-CN" dirty="0" smtClean="0">
                <a:latin typeface="VW Text" panose="020B0504040200000003" pitchFamily="34" charset="0"/>
              </a:rPr>
              <a:t>2</a:t>
            </a:r>
            <a:endParaRPr lang="en-US" altLang="zh-CN" dirty="0" smtClean="0">
              <a:latin typeface="VW Text" panose="020B0504040200000003" pitchFamily="34" charset="0"/>
            </a:endParaRPr>
          </a:p>
        </p:txBody>
      </p:sp>
      <p:sp>
        <p:nvSpPr>
          <p:cNvPr id="12" name="文本框 11"/>
          <p:cNvSpPr txBox="1"/>
          <p:nvPr/>
        </p:nvSpPr>
        <p:spPr>
          <a:xfrm>
            <a:off x="665480" y="4202430"/>
            <a:ext cx="9711055" cy="276860"/>
          </a:xfrm>
          <a:prstGeom prst="rect">
            <a:avLst/>
          </a:prstGeom>
          <a:noFill/>
        </p:spPr>
        <p:txBody>
          <a:bodyPr wrap="square" lIns="0" tIns="0" rIns="0" bIns="0" rtlCol="0">
            <a:spAutoFit/>
          </a:bodyPr>
          <a:p>
            <a:pPr algn="l"/>
            <a:r>
              <a:rPr lang="zh-CN" altLang="en-US" sz="1800">
                <a:latin typeface="+mj-ea"/>
                <a:ea typeface="+mj-ea"/>
                <a:sym typeface="+mn-ea"/>
              </a:rPr>
              <a:t>接收到的信号为一个（N,M）的二维矩阵，其中N为子载波的数量，M为动作的数据帧长度</a:t>
            </a:r>
            <a:endParaRPr lang="zh-CN" altLang="en-US" sz="1800">
              <a:latin typeface="+mj-ea"/>
              <a:ea typeface="+mj-ea"/>
            </a:endParaRPr>
          </a:p>
        </p:txBody>
      </p:sp>
      <p:grpSp>
        <p:nvGrpSpPr>
          <p:cNvPr id="2" name="组合 1"/>
          <p:cNvGrpSpPr/>
          <p:nvPr/>
        </p:nvGrpSpPr>
        <p:grpSpPr>
          <a:xfrm>
            <a:off x="0" y="104775"/>
            <a:ext cx="12192000" cy="864870"/>
            <a:chOff x="0" y="165"/>
            <a:chExt cx="19200" cy="1362"/>
          </a:xfrm>
        </p:grpSpPr>
        <p:sp>
          <p:nvSpPr>
            <p:cNvPr id="4" name="矩形: 圆角 1"/>
            <p:cNvSpPr/>
            <p:nvPr>
              <p:custDataLst>
                <p:tags r:id="rId13"/>
              </p:custDataLst>
            </p:nvPr>
          </p:nvSpPr>
          <p:spPr>
            <a:xfrm>
              <a:off x="65" y="165"/>
              <a:ext cx="1491" cy="1059"/>
            </a:xfrm>
            <a:prstGeom prst="roundRect">
              <a:avLst>
                <a:gd name="adj" fmla="val 22122"/>
              </a:avLst>
            </a:prstGeom>
            <a:solidFill>
              <a:srgbClr val="99D1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r"/>
              <a:r>
                <a:rPr lang="en-US" altLang="zh-CN" sz="3200" b="1" dirty="0">
                  <a:latin typeface="Arial" panose="020B0604020202020204" pitchFamily="34" charset="0"/>
                  <a:cs typeface="Arial" panose="020B0604020202020204" pitchFamily="34" charset="0"/>
                </a:rPr>
                <a:t>02</a:t>
              </a:r>
              <a:endParaRPr lang="zh-CN" altLang="en-US" sz="3200" b="1" dirty="0">
                <a:latin typeface="Arial" panose="020B0604020202020204" pitchFamily="34" charset="0"/>
                <a:cs typeface="Arial" panose="020B0604020202020204" pitchFamily="34" charset="0"/>
              </a:endParaRPr>
            </a:p>
          </p:txBody>
        </p:sp>
        <p:sp>
          <p:nvSpPr>
            <p:cNvPr id="13" name="文本框 12"/>
            <p:cNvSpPr txBox="1"/>
            <p:nvPr>
              <p:custDataLst>
                <p:tags r:id="rId14"/>
              </p:custDataLst>
            </p:nvPr>
          </p:nvSpPr>
          <p:spPr>
            <a:xfrm>
              <a:off x="1749" y="234"/>
              <a:ext cx="7140" cy="822"/>
            </a:xfrm>
            <a:prstGeom prst="rect">
              <a:avLst/>
            </a:prstGeom>
            <a:noFill/>
          </p:spPr>
          <p:txBody>
            <a:bodyPr wrap="square" rtlCol="0">
              <a:spAutoFit/>
            </a:bodyPr>
            <a:p>
              <a:pPr lvl="0" algn="l">
                <a:buClrTx/>
                <a:buSzTx/>
                <a:buFontTx/>
              </a:pPr>
              <a:r>
                <a:rPr lang="zh-CN" altLang="en-US" sz="2800" b="1" dirty="0">
                  <a:solidFill>
                    <a:srgbClr val="8CBEE6"/>
                  </a:solidFill>
                  <a:latin typeface="Arial" panose="020B0604020202020204" pitchFamily="34" charset="0"/>
                  <a:cs typeface="Arial" panose="020B0604020202020204" pitchFamily="34" charset="0"/>
                  <a:sym typeface="+mn-ea"/>
                </a:rPr>
                <a:t>数据采集</a:t>
              </a:r>
              <a:endParaRPr lang="zh-CN" altLang="en-US" sz="2800" b="1" dirty="0">
                <a:solidFill>
                  <a:srgbClr val="8CBEE6"/>
                </a:solidFill>
                <a:latin typeface="Arial" panose="020B0604020202020204" pitchFamily="34" charset="0"/>
                <a:cs typeface="Arial" panose="020B0604020202020204" pitchFamily="34" charset="0"/>
                <a:sym typeface="+mn-ea"/>
              </a:endParaRPr>
            </a:p>
          </p:txBody>
        </p:sp>
        <p:sp>
          <p:nvSpPr>
            <p:cNvPr id="14" name="矩形 13"/>
            <p:cNvSpPr/>
            <p:nvPr>
              <p:custDataLst>
                <p:tags r:id="rId15"/>
              </p:custDataLst>
            </p:nvPr>
          </p:nvSpPr>
          <p:spPr>
            <a:xfrm flipV="1">
              <a:off x="0" y="1403"/>
              <a:ext cx="19200" cy="12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p>
          </p:txBody>
        </p:sp>
      </p:grpSp>
      <p:sp>
        <p:nvSpPr>
          <p:cNvPr id="15" name="文本占位符 14"/>
          <p:cNvSpPr/>
          <p:nvPr>
            <p:ph type="body" sz="quarter" idx="13"/>
          </p:nvPr>
        </p:nvSpPr>
        <p:spPr/>
        <p:txBody>
          <a:bodyPr/>
          <a:p>
            <a:endParaRPr lang="zh-CN" alt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65" name="图片占位符 64"/>
          <p:cNvPicPr>
            <a:picLocks noChangeAspect="1"/>
          </p:cNvPicPr>
          <p:nvPr>
            <p:ph type="pic" sz="quarter" idx="17"/>
            <p:custDataLst>
              <p:tags r:id="rId1"/>
            </p:custDataLst>
          </p:nvPr>
        </p:nvPicPr>
        <p:blipFill>
          <a:blip r:embed="rId2"/>
          <a:stretch>
            <a:fillRect/>
          </a:stretch>
        </p:blipFill>
        <p:spPr>
          <a:xfrm>
            <a:off x="725170" y="2373630"/>
            <a:ext cx="2902585" cy="2100580"/>
          </a:xfrm>
          <a:prstGeom prst="rect">
            <a:avLst/>
          </a:prstGeom>
        </p:spPr>
      </p:pic>
      <p:pic>
        <p:nvPicPr>
          <p:cNvPr id="66" name="图片占位符 65"/>
          <p:cNvPicPr>
            <a:picLocks noChangeAspect="1"/>
          </p:cNvPicPr>
          <p:nvPr>
            <p:ph type="pic" sz="quarter" idx="18"/>
            <p:custDataLst>
              <p:tags r:id="rId3"/>
            </p:custDataLst>
          </p:nvPr>
        </p:nvPicPr>
        <p:blipFill>
          <a:blip r:embed="rId4"/>
          <a:stretch>
            <a:fillRect/>
          </a:stretch>
        </p:blipFill>
        <p:spPr>
          <a:xfrm>
            <a:off x="4634230" y="2407285"/>
            <a:ext cx="2829560" cy="2082800"/>
          </a:xfrm>
          <a:prstGeom prst="rect">
            <a:avLst/>
          </a:prstGeom>
        </p:spPr>
      </p:pic>
      <p:sp>
        <p:nvSpPr>
          <p:cNvPr id="7" name="文本占位符 6"/>
          <p:cNvSpPr>
            <a:spLocks noGrp="1"/>
          </p:cNvSpPr>
          <p:nvPr>
            <p:ph type="body" sz="quarter" idx="21"/>
          </p:nvPr>
        </p:nvSpPr>
        <p:spPr>
          <a:xfrm>
            <a:off x="4881880" y="4665345"/>
            <a:ext cx="2334260" cy="703580"/>
          </a:xfrm>
        </p:spPr>
        <p:txBody>
          <a:bodyPr/>
          <a:p>
            <a:r>
              <a:rPr lang="zh-CN" altLang="en-US" sz="1800" b="0">
                <a:latin typeface="+mj-ea"/>
                <a:ea typeface="+mj-ea"/>
                <a:sym typeface="+mn-ea"/>
              </a:rPr>
              <a:t>行走</a:t>
            </a:r>
            <a:r>
              <a:rPr lang="en-US" altLang="zh-CN" sz="1800" b="0">
                <a:latin typeface="+mj-ea"/>
                <a:ea typeface="+mj-ea"/>
                <a:sym typeface="+mn-ea"/>
              </a:rPr>
              <a:t>(walk)</a:t>
            </a:r>
            <a:r>
              <a:rPr lang="zh-CN" altLang="en-US" sz="1800" b="0">
                <a:latin typeface="+mj-ea"/>
                <a:ea typeface="+mj-ea"/>
                <a:sym typeface="+mn-ea"/>
              </a:rPr>
              <a:t>的CSI振幅信息可视化</a:t>
            </a:r>
            <a:r>
              <a:rPr lang="zh-CN" altLang="en-US" sz="1800" b="0">
                <a:latin typeface="+mj-ea"/>
                <a:ea typeface="+mj-ea"/>
                <a:sym typeface="+mn-ea"/>
              </a:rPr>
              <a:t>展示</a:t>
            </a:r>
            <a:endParaRPr lang="zh-CN" altLang="en-US" sz="1800" b="0">
              <a:latin typeface="+mj-ea"/>
              <a:ea typeface="+mj-ea"/>
            </a:endParaRPr>
          </a:p>
          <a:p>
            <a:endParaRPr lang="zh-CN" altLang="en-US"/>
          </a:p>
        </p:txBody>
      </p:sp>
      <p:sp>
        <p:nvSpPr>
          <p:cNvPr id="9" name="文本占位符 8"/>
          <p:cNvSpPr>
            <a:spLocks noGrp="1"/>
          </p:cNvSpPr>
          <p:nvPr>
            <p:ph type="body" sz="quarter" idx="23"/>
          </p:nvPr>
        </p:nvSpPr>
        <p:spPr>
          <a:xfrm>
            <a:off x="8778875" y="4573270"/>
            <a:ext cx="2386965" cy="701040"/>
          </a:xfrm>
        </p:spPr>
        <p:txBody>
          <a:bodyPr/>
          <a:p>
            <a:r>
              <a:rPr lang="zh-CN" altLang="en-US" sz="1800" b="0">
                <a:latin typeface="+mj-ea"/>
                <a:ea typeface="+mj-ea"/>
              </a:rPr>
              <a:t>坐下</a:t>
            </a:r>
            <a:r>
              <a:rPr lang="en-US" altLang="zh-CN" sz="1800" b="0">
                <a:latin typeface="+mj-ea"/>
                <a:ea typeface="+mj-ea"/>
              </a:rPr>
              <a:t>(sit down)</a:t>
            </a:r>
            <a:r>
              <a:rPr lang="zh-CN" altLang="en-US" sz="1800" b="0">
                <a:latin typeface="+mj-ea"/>
                <a:ea typeface="+mj-ea"/>
              </a:rPr>
              <a:t>的CSI振幅信息可视化</a:t>
            </a:r>
            <a:r>
              <a:rPr lang="zh-CN" altLang="en-US" sz="1800" b="0">
                <a:latin typeface="+mj-ea"/>
                <a:ea typeface="+mj-ea"/>
              </a:rPr>
              <a:t>展示</a:t>
            </a:r>
            <a:endParaRPr lang="zh-CN" altLang="en-US" sz="1800" b="0">
              <a:latin typeface="+mj-ea"/>
              <a:ea typeface="+mj-ea"/>
            </a:endParaRPr>
          </a:p>
        </p:txBody>
      </p:sp>
      <p:sp>
        <p:nvSpPr>
          <p:cNvPr id="12" name="日期占位符 11"/>
          <p:cNvSpPr>
            <a:spLocks noGrp="1"/>
          </p:cNvSpPr>
          <p:nvPr>
            <p:ph type="dt" sz="half" idx="10"/>
          </p:nvPr>
        </p:nvSpPr>
        <p:spPr/>
        <p:txBody>
          <a:bodyPr/>
          <a:p>
            <a:fld id="{10DE6694-91EE-4B0C-9E3C-CED68B155AFF}" type="datetime1">
              <a:rPr lang="zh-CN" altLang="en-US" noProof="0" smtClean="0"/>
            </a:fld>
            <a:endParaRPr lang="en-US" noProof="0"/>
          </a:p>
        </p:txBody>
      </p:sp>
      <p:sp>
        <p:nvSpPr>
          <p:cNvPr id="13" name="页脚占位符 12"/>
          <p:cNvSpPr>
            <a:spLocks noGrp="1"/>
          </p:cNvSpPr>
          <p:nvPr>
            <p:ph type="ftr" sz="quarter" idx="11"/>
          </p:nvPr>
        </p:nvSpPr>
        <p:spPr/>
        <p:txBody>
          <a:bodyPr/>
          <a:p>
            <a:r>
              <a:rPr lang="en-US" noProof="0" smtClean="0"/>
              <a:t>Department VWA-DT  |  Hackathon Challenge Release  |  CSD-class</a:t>
            </a:r>
            <a:endParaRPr lang="en-US" noProof="0"/>
          </a:p>
        </p:txBody>
      </p:sp>
      <p:sp>
        <p:nvSpPr>
          <p:cNvPr id="14" name="灯片编号占位符 13"/>
          <p:cNvSpPr>
            <a:spLocks noGrp="1"/>
          </p:cNvSpPr>
          <p:nvPr>
            <p:ph type="sldNum" sz="quarter" idx="12"/>
          </p:nvPr>
        </p:nvSpPr>
        <p:spPr/>
        <p:txBody>
          <a:bodyPr/>
          <a:p>
            <a:fld id="{53C98C43-8B83-4748-BA0D-B0C90A16569F}" type="slidenum">
              <a:rPr lang="en-US" noProof="0" smtClean="0"/>
            </a:fld>
            <a:endParaRPr lang="en-US" noProof="0"/>
          </a:p>
        </p:txBody>
      </p:sp>
      <p:pic>
        <p:nvPicPr>
          <p:cNvPr id="16" name="图片占位符 15"/>
          <p:cNvPicPr>
            <a:picLocks noChangeAspect="1"/>
          </p:cNvPicPr>
          <p:nvPr>
            <p:ph type="pic" sz="quarter" idx="19"/>
            <p:custDataLst>
              <p:tags r:id="rId5"/>
            </p:custDataLst>
          </p:nvPr>
        </p:nvPicPr>
        <p:blipFill>
          <a:blip r:embed="rId6"/>
          <a:stretch>
            <a:fillRect/>
          </a:stretch>
        </p:blipFill>
        <p:spPr>
          <a:xfrm>
            <a:off x="8492490" y="2373630"/>
            <a:ext cx="2959735" cy="2115820"/>
          </a:xfrm>
          <a:prstGeom prst="rect">
            <a:avLst/>
          </a:prstGeom>
        </p:spPr>
      </p:pic>
      <p:sp>
        <p:nvSpPr>
          <p:cNvPr id="17" name="文本占位符 6"/>
          <p:cNvSpPr>
            <a:spLocks noGrp="1"/>
          </p:cNvSpPr>
          <p:nvPr>
            <p:custDataLst>
              <p:tags r:id="rId7"/>
            </p:custDataLst>
          </p:nvPr>
        </p:nvSpPr>
        <p:spPr>
          <a:xfrm>
            <a:off x="880745" y="4665345"/>
            <a:ext cx="2591435" cy="70358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79705" indent="-179705" algn="l" defTabSz="914400" rtl="0" eaLnBrk="1" latinLnBrk="0" hangingPunct="1">
              <a:lnSpc>
                <a:spcPct val="100000"/>
              </a:lnSpc>
              <a:spcBef>
                <a:spcPts val="600"/>
              </a:spcBef>
              <a:buFont typeface="The Group TEXT" panose="00000500000000000000" pitchFamily="2" charset="0"/>
              <a:buChar char="•"/>
              <a:defRPr sz="1400" kern="1200">
                <a:solidFill>
                  <a:schemeClr val="tx1"/>
                </a:solidFill>
                <a:latin typeface="+mn-lt"/>
                <a:ea typeface="+mn-ea"/>
                <a:cs typeface="+mn-cs"/>
              </a:defRPr>
            </a:lvl3pPr>
            <a:lvl4pPr marL="431800" indent="-252095"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79705"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zh-CN" altLang="en-US" sz="1800" b="0">
                <a:latin typeface="+mj-ea"/>
                <a:ea typeface="+mj-ea"/>
                <a:sym typeface="+mn-ea"/>
              </a:rPr>
              <a:t>请求</a:t>
            </a:r>
            <a:r>
              <a:rPr lang="en-US" altLang="zh-CN" sz="1800" b="0">
                <a:latin typeface="+mj-ea"/>
                <a:ea typeface="+mj-ea"/>
                <a:sym typeface="+mn-ea"/>
              </a:rPr>
              <a:t>(please)</a:t>
            </a:r>
            <a:r>
              <a:rPr lang="zh-CN" altLang="en-US" sz="1800" b="0">
                <a:latin typeface="+mj-ea"/>
                <a:ea typeface="+mj-ea"/>
                <a:sym typeface="+mn-ea"/>
              </a:rPr>
              <a:t>动作的CSI振幅信息可视化展示</a:t>
            </a:r>
            <a:endParaRPr lang="zh-CN" altLang="en-US" sz="1800" b="0">
              <a:latin typeface="+mj-ea"/>
              <a:ea typeface="+mj-ea"/>
            </a:endParaRPr>
          </a:p>
          <a:p>
            <a:endParaRPr lang="zh-CN" altLang="en-US"/>
          </a:p>
        </p:txBody>
      </p:sp>
      <p:sp>
        <p:nvSpPr>
          <p:cNvPr id="18" name="文本占位符 2"/>
          <p:cNvSpPr>
            <a:spLocks noGrp="1"/>
          </p:cNvSpPr>
          <p:nvPr>
            <p:custDataLst>
              <p:tags r:id="rId8"/>
            </p:custDataLst>
          </p:nvPr>
        </p:nvSpPr>
        <p:spPr>
          <a:xfrm>
            <a:off x="725170" y="1421765"/>
            <a:ext cx="7827645" cy="65786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79705" indent="-179705" algn="l" defTabSz="914400" rtl="0" eaLnBrk="1" latinLnBrk="0" hangingPunct="1">
              <a:lnSpc>
                <a:spcPct val="100000"/>
              </a:lnSpc>
              <a:spcBef>
                <a:spcPts val="600"/>
              </a:spcBef>
              <a:buFont typeface="The Group TEXT" panose="00000500000000000000" pitchFamily="2" charset="0"/>
              <a:buChar char="•"/>
              <a:defRPr sz="1400" kern="1200">
                <a:solidFill>
                  <a:schemeClr val="tx1"/>
                </a:solidFill>
                <a:latin typeface="+mn-lt"/>
                <a:ea typeface="+mn-ea"/>
                <a:cs typeface="+mn-cs"/>
              </a:defRPr>
            </a:lvl3pPr>
            <a:lvl4pPr marL="431800" indent="-252095"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79705"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zh-CN" altLang="en-US" sz="3200"/>
              <a:t>采集动作后得到的部分</a:t>
            </a:r>
            <a:r>
              <a:rPr lang="zh-CN" altLang="en-US" sz="3200"/>
              <a:t>数据示例</a:t>
            </a:r>
            <a:r>
              <a:rPr lang="zh-CN" altLang="en-US" sz="3200"/>
              <a:t>如下：</a:t>
            </a:r>
            <a:endParaRPr lang="zh-CN" altLang="en-US" sz="3200"/>
          </a:p>
        </p:txBody>
      </p:sp>
      <p:grpSp>
        <p:nvGrpSpPr>
          <p:cNvPr id="2" name="组合 1"/>
          <p:cNvGrpSpPr/>
          <p:nvPr/>
        </p:nvGrpSpPr>
        <p:grpSpPr>
          <a:xfrm>
            <a:off x="0" y="104775"/>
            <a:ext cx="12192000" cy="864870"/>
            <a:chOff x="0" y="165"/>
            <a:chExt cx="19200" cy="1362"/>
          </a:xfrm>
        </p:grpSpPr>
        <p:sp>
          <p:nvSpPr>
            <p:cNvPr id="3" name="矩形: 圆角 1"/>
            <p:cNvSpPr/>
            <p:nvPr>
              <p:custDataLst>
                <p:tags r:id="rId9"/>
              </p:custDataLst>
            </p:nvPr>
          </p:nvSpPr>
          <p:spPr>
            <a:xfrm>
              <a:off x="65" y="165"/>
              <a:ext cx="1491" cy="1059"/>
            </a:xfrm>
            <a:prstGeom prst="roundRect">
              <a:avLst>
                <a:gd name="adj" fmla="val 22122"/>
              </a:avLst>
            </a:prstGeom>
            <a:solidFill>
              <a:srgbClr val="99D1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r"/>
              <a:r>
                <a:rPr lang="en-US" altLang="zh-CN" sz="3200" b="1" dirty="0">
                  <a:latin typeface="Arial" panose="020B0604020202020204" pitchFamily="34" charset="0"/>
                  <a:cs typeface="Arial" panose="020B0604020202020204" pitchFamily="34" charset="0"/>
                </a:rPr>
                <a:t>02</a:t>
              </a:r>
              <a:endParaRPr lang="zh-CN" altLang="en-US" sz="3200" b="1" dirty="0">
                <a:latin typeface="Arial" panose="020B0604020202020204" pitchFamily="34" charset="0"/>
                <a:cs typeface="Arial" panose="020B0604020202020204" pitchFamily="34" charset="0"/>
              </a:endParaRPr>
            </a:p>
          </p:txBody>
        </p:sp>
        <p:sp>
          <p:nvSpPr>
            <p:cNvPr id="4" name="文本框 3"/>
            <p:cNvSpPr txBox="1"/>
            <p:nvPr>
              <p:custDataLst>
                <p:tags r:id="rId10"/>
              </p:custDataLst>
            </p:nvPr>
          </p:nvSpPr>
          <p:spPr>
            <a:xfrm>
              <a:off x="1749" y="234"/>
              <a:ext cx="7140" cy="822"/>
            </a:xfrm>
            <a:prstGeom prst="rect">
              <a:avLst/>
            </a:prstGeom>
            <a:noFill/>
          </p:spPr>
          <p:txBody>
            <a:bodyPr wrap="square" rtlCol="0">
              <a:spAutoFit/>
            </a:bodyPr>
            <a:p>
              <a:pPr lvl="0" algn="l">
                <a:buClrTx/>
                <a:buSzTx/>
                <a:buFontTx/>
              </a:pPr>
              <a:r>
                <a:rPr lang="zh-CN" altLang="en-US" sz="2800" b="1" dirty="0">
                  <a:solidFill>
                    <a:srgbClr val="8CBEE6"/>
                  </a:solidFill>
                  <a:latin typeface="Arial" panose="020B0604020202020204" pitchFamily="34" charset="0"/>
                  <a:cs typeface="Arial" panose="020B0604020202020204" pitchFamily="34" charset="0"/>
                  <a:sym typeface="+mn-ea"/>
                </a:rPr>
                <a:t>数据</a:t>
              </a:r>
              <a:r>
                <a:rPr lang="zh-CN" altLang="en-US" sz="2800" b="1" dirty="0">
                  <a:solidFill>
                    <a:srgbClr val="8CBEE6"/>
                  </a:solidFill>
                  <a:latin typeface="Arial" panose="020B0604020202020204" pitchFamily="34" charset="0"/>
                  <a:cs typeface="Arial" panose="020B0604020202020204" pitchFamily="34" charset="0"/>
                  <a:sym typeface="+mn-ea"/>
                </a:rPr>
                <a:t>可视化</a:t>
              </a:r>
              <a:endParaRPr lang="zh-CN" altLang="en-US" sz="2800" b="1" dirty="0">
                <a:solidFill>
                  <a:srgbClr val="8CBEE6"/>
                </a:solidFill>
                <a:latin typeface="Arial" panose="020B0604020202020204" pitchFamily="34" charset="0"/>
                <a:cs typeface="Arial" panose="020B0604020202020204" pitchFamily="34" charset="0"/>
                <a:sym typeface="+mn-ea"/>
              </a:endParaRPr>
            </a:p>
          </p:txBody>
        </p:sp>
        <p:sp>
          <p:nvSpPr>
            <p:cNvPr id="8" name="矩形 7"/>
            <p:cNvSpPr/>
            <p:nvPr>
              <p:custDataLst>
                <p:tags r:id="rId11"/>
              </p:custDataLst>
            </p:nvPr>
          </p:nvSpPr>
          <p:spPr>
            <a:xfrm flipV="1">
              <a:off x="0" y="1403"/>
              <a:ext cx="19200" cy="12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日期占位符 11"/>
          <p:cNvSpPr>
            <a:spLocks noGrp="1"/>
          </p:cNvSpPr>
          <p:nvPr>
            <p:ph type="dt" sz="half" idx="10"/>
          </p:nvPr>
        </p:nvSpPr>
        <p:spPr/>
        <p:txBody>
          <a:bodyPr/>
          <a:p>
            <a:fld id="{10DE6694-91EE-4B0C-9E3C-CED68B155AFF}" type="datetime1">
              <a:rPr lang="zh-CN" altLang="en-US" noProof="0" smtClean="0"/>
            </a:fld>
            <a:endParaRPr lang="en-US" noProof="0"/>
          </a:p>
        </p:txBody>
      </p:sp>
      <p:sp>
        <p:nvSpPr>
          <p:cNvPr id="13" name="页脚占位符 12"/>
          <p:cNvSpPr>
            <a:spLocks noGrp="1"/>
          </p:cNvSpPr>
          <p:nvPr>
            <p:ph type="ftr" sz="quarter" idx="11"/>
          </p:nvPr>
        </p:nvSpPr>
        <p:spPr/>
        <p:txBody>
          <a:bodyPr/>
          <a:p>
            <a:r>
              <a:rPr lang="en-US" noProof="0" smtClean="0"/>
              <a:t>Department VWA-DT  |  Hackathon Challenge Release  |  CSD-class</a:t>
            </a:r>
            <a:endParaRPr lang="en-US" noProof="0"/>
          </a:p>
        </p:txBody>
      </p:sp>
      <p:sp>
        <p:nvSpPr>
          <p:cNvPr id="14" name="灯片编号占位符 13"/>
          <p:cNvSpPr>
            <a:spLocks noGrp="1"/>
          </p:cNvSpPr>
          <p:nvPr>
            <p:ph type="sldNum" sz="quarter" idx="12"/>
          </p:nvPr>
        </p:nvSpPr>
        <p:spPr/>
        <p:txBody>
          <a:bodyPr/>
          <a:p>
            <a:fld id="{53C98C43-8B83-4748-BA0D-B0C90A16569F}" type="slidenum">
              <a:rPr lang="en-US" noProof="0" smtClean="0"/>
            </a:fld>
            <a:endParaRPr lang="en-US" noProof="0"/>
          </a:p>
        </p:txBody>
      </p:sp>
      <p:pic>
        <p:nvPicPr>
          <p:cNvPr id="10" name="图片 9"/>
          <p:cNvPicPr>
            <a:picLocks noChangeAspect="1"/>
          </p:cNvPicPr>
          <p:nvPr>
            <p:custDataLst>
              <p:tags r:id="rId1"/>
            </p:custDataLst>
          </p:nvPr>
        </p:nvPicPr>
        <p:blipFill>
          <a:blip r:embed="rId2"/>
          <a:stretch>
            <a:fillRect/>
          </a:stretch>
        </p:blipFill>
        <p:spPr>
          <a:xfrm>
            <a:off x="8425815" y="1338580"/>
            <a:ext cx="3440430" cy="2337435"/>
          </a:xfrm>
          <a:prstGeom prst="rect">
            <a:avLst/>
          </a:prstGeom>
        </p:spPr>
      </p:pic>
      <p:grpSp>
        <p:nvGrpSpPr>
          <p:cNvPr id="15" name="组合 14"/>
          <p:cNvGrpSpPr/>
          <p:nvPr/>
        </p:nvGrpSpPr>
        <p:grpSpPr>
          <a:xfrm>
            <a:off x="408305" y="2653665"/>
            <a:ext cx="7691120" cy="3354070"/>
            <a:chOff x="643" y="3521"/>
            <a:chExt cx="12112" cy="5282"/>
          </a:xfrm>
        </p:grpSpPr>
        <p:pic>
          <p:nvPicPr>
            <p:cNvPr id="8" name="图片 7"/>
            <p:cNvPicPr>
              <a:picLocks noChangeAspect="1"/>
            </p:cNvPicPr>
            <p:nvPr>
              <p:custDataLst>
                <p:tags r:id="rId3"/>
              </p:custDataLst>
            </p:nvPr>
          </p:nvPicPr>
          <p:blipFill>
            <a:blip r:embed="rId4"/>
            <a:stretch>
              <a:fillRect/>
            </a:stretch>
          </p:blipFill>
          <p:spPr>
            <a:xfrm>
              <a:off x="643" y="3521"/>
              <a:ext cx="12112" cy="5282"/>
            </a:xfrm>
            <a:prstGeom prst="rect">
              <a:avLst/>
            </a:prstGeom>
          </p:spPr>
        </p:pic>
        <p:sp>
          <p:nvSpPr>
            <p:cNvPr id="11" name="矩形 10"/>
            <p:cNvSpPr/>
            <p:nvPr/>
          </p:nvSpPr>
          <p:spPr>
            <a:xfrm>
              <a:off x="6430" y="4071"/>
              <a:ext cx="2025" cy="2090"/>
            </a:xfrm>
            <a:prstGeom prst="rect">
              <a:avLst/>
            </a:prstGeom>
            <a:noFill/>
            <a:ln w="28575" cmpd="sng">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cxnSp>
        <p:nvCxnSpPr>
          <p:cNvPr id="18" name="直接箭头连接符 17"/>
          <p:cNvCxnSpPr>
            <a:stCxn id="11" idx="0"/>
          </p:cNvCxnSpPr>
          <p:nvPr/>
        </p:nvCxnSpPr>
        <p:spPr>
          <a:xfrm flipV="1">
            <a:off x="4726305" y="1840865"/>
            <a:ext cx="3482975" cy="1162050"/>
          </a:xfrm>
          <a:prstGeom prst="straightConnector1">
            <a:avLst/>
          </a:prstGeom>
          <a:noFill/>
          <a:ln w="28575" cmpd="sng">
            <a:solidFill>
              <a:srgbClr val="FF0000"/>
            </a:solidFill>
            <a:prstDash val="solid"/>
            <a:headEnd type="none" w="med" len="sm"/>
            <a:tailEnd type="arrow" w="med" len="sm"/>
          </a:ln>
        </p:spPr>
        <p:style>
          <a:lnRef idx="2">
            <a:schemeClr val="accent1">
              <a:shade val="15000"/>
            </a:schemeClr>
          </a:lnRef>
          <a:fillRef idx="1">
            <a:schemeClr val="accent1"/>
          </a:fillRef>
          <a:effectRef idx="0">
            <a:schemeClr val="accent1"/>
          </a:effectRef>
          <a:fontRef idx="minor">
            <a:schemeClr val="lt1"/>
          </a:fontRef>
        </p:style>
      </p:cxnSp>
      <p:sp>
        <p:nvSpPr>
          <p:cNvPr id="21" name="文本框 20"/>
          <p:cNvSpPr txBox="1"/>
          <p:nvPr>
            <p:custDataLst>
              <p:tags r:id="rId5"/>
            </p:custDataLst>
          </p:nvPr>
        </p:nvSpPr>
        <p:spPr>
          <a:xfrm>
            <a:off x="531495" y="1325245"/>
            <a:ext cx="7051040" cy="972820"/>
          </a:xfrm>
          <a:prstGeom prst="rect">
            <a:avLst/>
          </a:prstGeom>
          <a:noFill/>
        </p:spPr>
        <p:txBody>
          <a:bodyPr wrap="square" lIns="0" tIns="0" rIns="0" bIns="0" rtlCol="0">
            <a:noAutofit/>
          </a:bodyPr>
          <a:p>
            <a:pPr algn="l"/>
            <a:r>
              <a:rPr lang="zh-CN" altLang="en-US" sz="1800">
                <a:latin typeface="+mj-ea"/>
                <a:ea typeface="+mj-ea"/>
                <a:sym typeface="+mn-ea"/>
              </a:rPr>
              <a:t>设计一个</a:t>
            </a:r>
            <a:r>
              <a:rPr lang="en-US" altLang="zh-CN" sz="1800">
                <a:latin typeface="+mj-ea"/>
                <a:ea typeface="+mj-ea"/>
                <a:sym typeface="+mn-ea"/>
              </a:rPr>
              <a:t>3D CNN</a:t>
            </a:r>
            <a:r>
              <a:rPr lang="zh-CN" altLang="en-US" sz="1800">
                <a:latin typeface="+mj-ea"/>
                <a:ea typeface="+mj-ea"/>
                <a:sym typeface="+mn-ea"/>
              </a:rPr>
              <a:t>和</a:t>
            </a:r>
            <a:r>
              <a:rPr lang="en-US" altLang="zh-CN" sz="1800">
                <a:latin typeface="+mj-ea"/>
                <a:ea typeface="+mj-ea"/>
                <a:sym typeface="+mn-ea"/>
              </a:rPr>
              <a:t>GRU</a:t>
            </a:r>
            <a:r>
              <a:rPr lang="zh-CN" altLang="en-US" sz="1800">
                <a:latin typeface="+mj-ea"/>
                <a:ea typeface="+mj-ea"/>
                <a:sym typeface="+mn-ea"/>
              </a:rPr>
              <a:t>的混合</a:t>
            </a:r>
            <a:r>
              <a:rPr lang="zh-CN" altLang="en-US" sz="1800">
                <a:latin typeface="+mj-ea"/>
                <a:ea typeface="+mj-ea"/>
                <a:sym typeface="+mn-ea"/>
              </a:rPr>
              <a:t>神经网络，完成实际的识别</a:t>
            </a:r>
            <a:r>
              <a:rPr lang="zh-CN" altLang="en-US" sz="1800">
                <a:latin typeface="+mj-ea"/>
                <a:ea typeface="+mj-ea"/>
                <a:sym typeface="+mn-ea"/>
              </a:rPr>
              <a:t>任务</a:t>
            </a:r>
            <a:endParaRPr lang="zh-CN" altLang="en-US" sz="1800">
              <a:latin typeface="+mj-ea"/>
              <a:ea typeface="+mj-ea"/>
              <a:sym typeface="+mn-ea"/>
            </a:endParaRPr>
          </a:p>
          <a:p>
            <a:pPr algn="l"/>
            <a:endParaRPr lang="zh-CN" altLang="en-US" sz="1800">
              <a:latin typeface="+mj-ea"/>
              <a:ea typeface="+mj-ea"/>
              <a:sym typeface="+mn-ea"/>
            </a:endParaRPr>
          </a:p>
          <a:p>
            <a:pPr algn="l"/>
            <a:r>
              <a:rPr lang="zh-CN" altLang="en-US" sz="1800">
                <a:latin typeface="+mj-ea"/>
                <a:ea typeface="+mj-ea"/>
                <a:sym typeface="+mn-ea"/>
              </a:rPr>
              <a:t>网络</a:t>
            </a:r>
            <a:r>
              <a:rPr lang="zh-CN" altLang="en-US" sz="1800">
                <a:latin typeface="+mj-ea"/>
                <a:ea typeface="+mj-ea"/>
                <a:sym typeface="+mn-ea"/>
              </a:rPr>
              <a:t>详细架构图如下</a:t>
            </a:r>
            <a:r>
              <a:rPr lang="zh-CN" altLang="en-US" sz="1800">
                <a:latin typeface="+mj-ea"/>
                <a:ea typeface="+mj-ea"/>
                <a:sym typeface="+mn-ea"/>
              </a:rPr>
              <a:t>所示：</a:t>
            </a:r>
            <a:endParaRPr lang="zh-CN" altLang="en-US" sz="1800">
              <a:latin typeface="+mj-ea"/>
              <a:ea typeface="+mj-ea"/>
              <a:sym typeface="+mn-ea"/>
            </a:endParaRPr>
          </a:p>
        </p:txBody>
      </p:sp>
      <p:grpSp>
        <p:nvGrpSpPr>
          <p:cNvPr id="2" name="组合 1"/>
          <p:cNvGrpSpPr/>
          <p:nvPr/>
        </p:nvGrpSpPr>
        <p:grpSpPr>
          <a:xfrm>
            <a:off x="0" y="104775"/>
            <a:ext cx="12192000" cy="864870"/>
            <a:chOff x="0" y="165"/>
            <a:chExt cx="19200" cy="1362"/>
          </a:xfrm>
        </p:grpSpPr>
        <p:sp>
          <p:nvSpPr>
            <p:cNvPr id="3" name="矩形: 圆角 1"/>
            <p:cNvSpPr/>
            <p:nvPr>
              <p:custDataLst>
                <p:tags r:id="rId6"/>
              </p:custDataLst>
            </p:nvPr>
          </p:nvSpPr>
          <p:spPr>
            <a:xfrm>
              <a:off x="65" y="165"/>
              <a:ext cx="1491" cy="1059"/>
            </a:xfrm>
            <a:prstGeom prst="roundRect">
              <a:avLst>
                <a:gd name="adj" fmla="val 22122"/>
              </a:avLst>
            </a:prstGeom>
            <a:solidFill>
              <a:srgbClr val="99D1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r"/>
              <a:r>
                <a:rPr lang="en-US" altLang="zh-CN" sz="3200" b="1" dirty="0">
                  <a:latin typeface="Arial" panose="020B0604020202020204" pitchFamily="34" charset="0"/>
                  <a:cs typeface="Arial" panose="020B0604020202020204" pitchFamily="34" charset="0"/>
                </a:rPr>
                <a:t>02</a:t>
              </a:r>
              <a:endParaRPr lang="zh-CN" altLang="en-US" sz="3200" b="1" dirty="0">
                <a:latin typeface="Arial" panose="020B0604020202020204" pitchFamily="34" charset="0"/>
                <a:cs typeface="Arial" panose="020B0604020202020204" pitchFamily="34" charset="0"/>
              </a:endParaRPr>
            </a:p>
          </p:txBody>
        </p:sp>
        <p:sp>
          <p:nvSpPr>
            <p:cNvPr id="4" name="文本框 3"/>
            <p:cNvSpPr txBox="1"/>
            <p:nvPr>
              <p:custDataLst>
                <p:tags r:id="rId7"/>
              </p:custDataLst>
            </p:nvPr>
          </p:nvSpPr>
          <p:spPr>
            <a:xfrm>
              <a:off x="1749" y="234"/>
              <a:ext cx="7140" cy="822"/>
            </a:xfrm>
            <a:prstGeom prst="rect">
              <a:avLst/>
            </a:prstGeom>
            <a:noFill/>
          </p:spPr>
          <p:txBody>
            <a:bodyPr wrap="square" rtlCol="0">
              <a:spAutoFit/>
            </a:bodyPr>
            <a:p>
              <a:pPr lvl="0" algn="l">
                <a:buClrTx/>
                <a:buSzTx/>
                <a:buFontTx/>
              </a:pPr>
              <a:r>
                <a:rPr lang="zh-CN" altLang="en-US" sz="2800" b="1" dirty="0">
                  <a:solidFill>
                    <a:srgbClr val="8CBEE6"/>
                  </a:solidFill>
                  <a:latin typeface="Arial" panose="020B0604020202020204" pitchFamily="34" charset="0"/>
                  <a:cs typeface="Arial" panose="020B0604020202020204" pitchFamily="34" charset="0"/>
                  <a:sym typeface="+mn-ea"/>
                </a:rPr>
                <a:t>网络</a:t>
              </a:r>
              <a:r>
                <a:rPr lang="zh-CN" altLang="en-US" sz="2800" b="1" dirty="0">
                  <a:solidFill>
                    <a:srgbClr val="8CBEE6"/>
                  </a:solidFill>
                  <a:latin typeface="Arial" panose="020B0604020202020204" pitchFamily="34" charset="0"/>
                  <a:cs typeface="Arial" panose="020B0604020202020204" pitchFamily="34" charset="0"/>
                  <a:sym typeface="+mn-ea"/>
                </a:rPr>
                <a:t>结构</a:t>
              </a:r>
              <a:endParaRPr lang="zh-CN" altLang="en-US" sz="2800" b="1" dirty="0">
                <a:solidFill>
                  <a:srgbClr val="8CBEE6"/>
                </a:solidFill>
                <a:latin typeface="Arial" panose="020B0604020202020204" pitchFamily="34" charset="0"/>
                <a:cs typeface="Arial" panose="020B0604020202020204" pitchFamily="34" charset="0"/>
                <a:sym typeface="+mn-ea"/>
              </a:endParaRPr>
            </a:p>
          </p:txBody>
        </p:sp>
        <p:sp>
          <p:nvSpPr>
            <p:cNvPr id="5" name="矩形 4"/>
            <p:cNvSpPr/>
            <p:nvPr>
              <p:custDataLst>
                <p:tags r:id="rId8"/>
              </p:custDataLst>
            </p:nvPr>
          </p:nvSpPr>
          <p:spPr>
            <a:xfrm flipV="1">
              <a:off x="0" y="1403"/>
              <a:ext cx="19200" cy="12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3" name="文本框 2"/>
          <p:cNvSpPr txBox="1"/>
          <p:nvPr/>
        </p:nvSpPr>
        <p:spPr>
          <a:xfrm>
            <a:off x="1377315" y="1275715"/>
            <a:ext cx="9330055" cy="1600200"/>
          </a:xfrm>
          <a:prstGeom prst="rect">
            <a:avLst/>
          </a:prstGeom>
          <a:noFill/>
        </p:spPr>
        <p:txBody>
          <a:bodyPr wrap="square" lIns="0" tIns="0" rIns="0" bIns="0" rtlCol="0">
            <a:spAutoFit/>
          </a:bodyPr>
          <a:p>
            <a:pPr algn="l"/>
            <a:r>
              <a:rPr lang="zh-CN" altLang="en-US" sz="1800">
                <a:latin typeface="+mj-ea"/>
                <a:ea typeface="+mj-ea"/>
                <a:sym typeface="+mn-ea"/>
              </a:rPr>
              <a:t>在模型中训练100个epoch，结果如图</a:t>
            </a:r>
            <a:r>
              <a:rPr lang="en-US" altLang="zh-CN" sz="1800">
                <a:latin typeface="+mj-ea"/>
                <a:ea typeface="+mj-ea"/>
                <a:sym typeface="+mn-ea"/>
              </a:rPr>
              <a:t>1</a:t>
            </a:r>
            <a:r>
              <a:rPr lang="zh-CN" altLang="en-US" sz="1800">
                <a:latin typeface="+mj-ea"/>
                <a:ea typeface="+mj-ea"/>
                <a:sym typeface="+mn-ea"/>
              </a:rPr>
              <a:t>所示。模型精确度达到了99.13%，</a:t>
            </a:r>
            <a:r>
              <a:rPr lang="zh-CN" altLang="en-US" sz="1800">
                <a:latin typeface="+mj-ea"/>
                <a:ea typeface="+mj-ea"/>
                <a:sym typeface="+mn-ea"/>
              </a:rPr>
              <a:t>相较于常见基于视觉的方法更好。</a:t>
            </a:r>
            <a:endParaRPr lang="zh-CN" altLang="en-US" sz="1800">
              <a:latin typeface="+mj-ea"/>
              <a:ea typeface="+mj-ea"/>
              <a:sym typeface="+mn-ea"/>
            </a:endParaRPr>
          </a:p>
          <a:p>
            <a:pPr algn="l"/>
            <a:endParaRPr lang="zh-CN" altLang="en-US" sz="1800">
              <a:latin typeface="+mj-ea"/>
              <a:ea typeface="+mj-ea"/>
              <a:sym typeface="+mn-ea"/>
            </a:endParaRPr>
          </a:p>
          <a:p>
            <a:pPr algn="l"/>
            <a:r>
              <a:rPr lang="zh-CN" altLang="en-US" sz="1800">
                <a:latin typeface="+mj-ea"/>
                <a:ea typeface="+mj-ea"/>
                <a:sym typeface="+mn-ea"/>
              </a:rPr>
              <a:t>而对于每一种动作，混淆矩阵如图</a:t>
            </a:r>
            <a:r>
              <a:rPr lang="en-US" altLang="zh-CN" sz="1800">
                <a:latin typeface="+mj-ea"/>
                <a:ea typeface="+mj-ea"/>
                <a:sym typeface="+mn-ea"/>
              </a:rPr>
              <a:t>2</a:t>
            </a:r>
            <a:r>
              <a:rPr lang="zh-CN" altLang="en-US" sz="1800">
                <a:latin typeface="+mj-ea"/>
                <a:ea typeface="+mj-ea"/>
                <a:sym typeface="+mn-ea"/>
              </a:rPr>
              <a:t>所示。在16种动作中，有</a:t>
            </a:r>
            <a:r>
              <a:rPr lang="zh-CN" altLang="en-US" sz="1800">
                <a:solidFill>
                  <a:srgbClr val="FCCD22"/>
                </a:solidFill>
                <a:latin typeface="+mj-ea"/>
                <a:ea typeface="+mj-ea"/>
                <a:sym typeface="+mn-ea"/>
              </a:rPr>
              <a:t>14种动作</a:t>
            </a:r>
            <a:r>
              <a:rPr lang="zh-CN" altLang="en-US" sz="1800">
                <a:latin typeface="+mj-ea"/>
                <a:ea typeface="+mj-ea"/>
                <a:sym typeface="+mn-ea"/>
              </a:rPr>
              <a:t>的精确度达到100%，其余两种动作的识别精确度相当也达到了95%以上。验证了模型较好的性能。</a:t>
            </a:r>
            <a:endParaRPr lang="zh-CN" altLang="en-US" sz="1800">
              <a:solidFill>
                <a:schemeClr val="tx1"/>
              </a:solidFill>
              <a:latin typeface="+mj-ea"/>
              <a:ea typeface="+mj-ea"/>
              <a:sym typeface="+mn-ea"/>
            </a:endParaRPr>
          </a:p>
          <a:p>
            <a:pPr algn="l"/>
            <a:endParaRPr lang="zh-CN" altLang="en-US" sz="1400" dirty="0" err="1" smtClean="0">
              <a:solidFill>
                <a:schemeClr val="tx2"/>
              </a:solidFill>
            </a:endParaRPr>
          </a:p>
        </p:txBody>
      </p:sp>
      <p:grpSp>
        <p:nvGrpSpPr>
          <p:cNvPr id="12" name="组合 11"/>
          <p:cNvGrpSpPr/>
          <p:nvPr/>
        </p:nvGrpSpPr>
        <p:grpSpPr>
          <a:xfrm>
            <a:off x="1586865" y="3181985"/>
            <a:ext cx="3326685" cy="2994572"/>
            <a:chOff x="2354" y="4610"/>
            <a:chExt cx="5993" cy="5572"/>
          </a:xfrm>
        </p:grpSpPr>
        <p:pic>
          <p:nvPicPr>
            <p:cNvPr id="7" name="图片 6"/>
            <p:cNvPicPr>
              <a:picLocks noChangeAspect="1"/>
            </p:cNvPicPr>
            <p:nvPr>
              <p:custDataLst>
                <p:tags r:id="rId4"/>
              </p:custDataLst>
            </p:nvPr>
          </p:nvPicPr>
          <p:blipFill>
            <a:blip r:embed="rId5"/>
            <a:stretch>
              <a:fillRect/>
            </a:stretch>
          </p:blipFill>
          <p:spPr>
            <a:xfrm>
              <a:off x="2354" y="4610"/>
              <a:ext cx="5993" cy="4791"/>
            </a:xfrm>
            <a:prstGeom prst="rect">
              <a:avLst/>
            </a:prstGeom>
          </p:spPr>
        </p:pic>
        <p:sp>
          <p:nvSpPr>
            <p:cNvPr id="8" name="文本框 7"/>
            <p:cNvSpPr txBox="1"/>
            <p:nvPr/>
          </p:nvSpPr>
          <p:spPr>
            <a:xfrm>
              <a:off x="5017" y="9667"/>
              <a:ext cx="668" cy="515"/>
            </a:xfrm>
            <a:prstGeom prst="rect">
              <a:avLst/>
            </a:prstGeom>
            <a:noFill/>
          </p:spPr>
          <p:txBody>
            <a:bodyPr wrap="square" lIns="0" tIns="0" rIns="0" bIns="0" rtlCol="0">
              <a:spAutoFit/>
            </a:bodyPr>
            <a:p>
              <a:pPr algn="l"/>
              <a:r>
                <a:rPr lang="zh-CN" altLang="en-US" sz="1800">
                  <a:latin typeface="+mj-ea"/>
                  <a:ea typeface="+mj-ea"/>
                </a:rPr>
                <a:t>图1</a:t>
              </a:r>
              <a:endParaRPr lang="zh-CN" altLang="en-US" sz="1800">
                <a:latin typeface="+mj-ea"/>
                <a:ea typeface="+mj-ea"/>
              </a:endParaRPr>
            </a:p>
          </p:txBody>
        </p:sp>
      </p:grpSp>
      <p:grpSp>
        <p:nvGrpSpPr>
          <p:cNvPr id="13" name="组合 12"/>
          <p:cNvGrpSpPr/>
          <p:nvPr/>
        </p:nvGrpSpPr>
        <p:grpSpPr>
          <a:xfrm>
            <a:off x="6567170" y="3181985"/>
            <a:ext cx="3230245" cy="3026691"/>
            <a:chOff x="10718" y="4610"/>
            <a:chExt cx="5420" cy="5510"/>
          </a:xfrm>
        </p:grpSpPr>
        <p:pic>
          <p:nvPicPr>
            <p:cNvPr id="4" name="图片 3"/>
            <p:cNvPicPr>
              <a:picLocks noChangeAspect="1"/>
            </p:cNvPicPr>
            <p:nvPr>
              <p:custDataLst>
                <p:tags r:id="rId6"/>
              </p:custDataLst>
            </p:nvPr>
          </p:nvPicPr>
          <p:blipFill>
            <a:blip r:embed="rId7"/>
            <a:srcRect l="1178"/>
            <a:stretch>
              <a:fillRect/>
            </a:stretch>
          </p:blipFill>
          <p:spPr>
            <a:xfrm>
              <a:off x="10718" y="4610"/>
              <a:ext cx="5420" cy="4690"/>
            </a:xfrm>
            <a:prstGeom prst="rect">
              <a:avLst/>
            </a:prstGeom>
          </p:spPr>
        </p:pic>
        <p:sp>
          <p:nvSpPr>
            <p:cNvPr id="9" name="文本框 8"/>
            <p:cNvSpPr txBox="1"/>
            <p:nvPr>
              <p:custDataLst>
                <p:tags r:id="rId8"/>
              </p:custDataLst>
            </p:nvPr>
          </p:nvSpPr>
          <p:spPr>
            <a:xfrm>
              <a:off x="13094" y="9616"/>
              <a:ext cx="668" cy="504"/>
            </a:xfrm>
            <a:prstGeom prst="rect">
              <a:avLst/>
            </a:prstGeom>
            <a:noFill/>
          </p:spPr>
          <p:txBody>
            <a:bodyPr wrap="square" lIns="0" tIns="0" rIns="0" bIns="0" rtlCol="0">
              <a:spAutoFit/>
            </a:bodyPr>
            <a:p>
              <a:pPr algn="l"/>
              <a:r>
                <a:rPr lang="zh-CN" altLang="en-US" sz="1800">
                  <a:latin typeface="+mj-ea"/>
                  <a:ea typeface="+mj-ea"/>
                </a:rPr>
                <a:t>图</a:t>
              </a:r>
              <a:r>
                <a:rPr lang="en-US" altLang="zh-CN" sz="1800">
                  <a:latin typeface="+mj-ea"/>
                  <a:ea typeface="+mj-ea"/>
                </a:rPr>
                <a:t>2</a:t>
              </a:r>
              <a:endParaRPr lang="en-US" altLang="zh-CN" sz="1800">
                <a:latin typeface="+mj-ea"/>
                <a:ea typeface="+mj-ea"/>
              </a:endParaRPr>
            </a:p>
          </p:txBody>
        </p:sp>
      </p:grpSp>
      <p:grpSp>
        <p:nvGrpSpPr>
          <p:cNvPr id="2" name="组合 1"/>
          <p:cNvGrpSpPr/>
          <p:nvPr/>
        </p:nvGrpSpPr>
        <p:grpSpPr>
          <a:xfrm>
            <a:off x="0" y="104775"/>
            <a:ext cx="12192000" cy="864870"/>
            <a:chOff x="0" y="165"/>
            <a:chExt cx="19200" cy="1362"/>
          </a:xfrm>
        </p:grpSpPr>
        <p:sp>
          <p:nvSpPr>
            <p:cNvPr id="14" name="矩形: 圆角 1"/>
            <p:cNvSpPr/>
            <p:nvPr>
              <p:custDataLst>
                <p:tags r:id="rId9"/>
              </p:custDataLst>
            </p:nvPr>
          </p:nvSpPr>
          <p:spPr>
            <a:xfrm>
              <a:off x="65" y="165"/>
              <a:ext cx="1491" cy="1059"/>
            </a:xfrm>
            <a:prstGeom prst="roundRect">
              <a:avLst>
                <a:gd name="adj" fmla="val 22122"/>
              </a:avLst>
            </a:prstGeom>
            <a:solidFill>
              <a:srgbClr val="99D1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r"/>
              <a:r>
                <a:rPr lang="en-US" altLang="zh-CN" sz="3200" b="1" dirty="0">
                  <a:latin typeface="Arial" panose="020B0604020202020204" pitchFamily="34" charset="0"/>
                  <a:cs typeface="Arial" panose="020B0604020202020204" pitchFamily="34" charset="0"/>
                </a:rPr>
                <a:t>02</a:t>
              </a:r>
              <a:endParaRPr lang="zh-CN" altLang="en-US" sz="3200" b="1" dirty="0">
                <a:latin typeface="Arial" panose="020B0604020202020204" pitchFamily="34" charset="0"/>
                <a:cs typeface="Arial" panose="020B0604020202020204" pitchFamily="34" charset="0"/>
              </a:endParaRPr>
            </a:p>
          </p:txBody>
        </p:sp>
        <p:sp>
          <p:nvSpPr>
            <p:cNvPr id="15" name="文本框 14"/>
            <p:cNvSpPr txBox="1"/>
            <p:nvPr>
              <p:custDataLst>
                <p:tags r:id="rId10"/>
              </p:custDataLst>
            </p:nvPr>
          </p:nvSpPr>
          <p:spPr>
            <a:xfrm>
              <a:off x="1749" y="234"/>
              <a:ext cx="7140" cy="822"/>
            </a:xfrm>
            <a:prstGeom prst="rect">
              <a:avLst/>
            </a:prstGeom>
            <a:noFill/>
          </p:spPr>
          <p:txBody>
            <a:bodyPr wrap="square" rtlCol="0">
              <a:spAutoFit/>
            </a:bodyPr>
            <a:p>
              <a:pPr lvl="0" algn="l">
                <a:buClrTx/>
                <a:buSzTx/>
                <a:buFontTx/>
              </a:pPr>
              <a:r>
                <a:rPr lang="zh-CN" altLang="en-US" sz="2800" b="1" dirty="0">
                  <a:solidFill>
                    <a:srgbClr val="8CBEE6"/>
                  </a:solidFill>
                  <a:latin typeface="Arial" panose="020B0604020202020204" pitchFamily="34" charset="0"/>
                  <a:cs typeface="Arial" panose="020B0604020202020204" pitchFamily="34" charset="0"/>
                  <a:sym typeface="+mn-ea"/>
                </a:rPr>
                <a:t>算法</a:t>
              </a:r>
              <a:r>
                <a:rPr lang="zh-CN" altLang="en-US" sz="2800" b="1" dirty="0">
                  <a:solidFill>
                    <a:srgbClr val="8CBEE6"/>
                  </a:solidFill>
                  <a:latin typeface="Arial" panose="020B0604020202020204" pitchFamily="34" charset="0"/>
                  <a:cs typeface="Arial" panose="020B0604020202020204" pitchFamily="34" charset="0"/>
                  <a:sym typeface="+mn-ea"/>
                </a:rPr>
                <a:t>性能</a:t>
              </a:r>
              <a:endParaRPr lang="zh-CN" altLang="en-US" sz="2800" b="1" dirty="0">
                <a:solidFill>
                  <a:srgbClr val="8CBEE6"/>
                </a:solidFill>
                <a:latin typeface="Arial" panose="020B0604020202020204" pitchFamily="34" charset="0"/>
                <a:cs typeface="Arial" panose="020B0604020202020204" pitchFamily="34" charset="0"/>
                <a:sym typeface="+mn-ea"/>
              </a:endParaRPr>
            </a:p>
          </p:txBody>
        </p:sp>
        <p:sp>
          <p:nvSpPr>
            <p:cNvPr id="16" name="矩形 15"/>
            <p:cNvSpPr/>
            <p:nvPr>
              <p:custDataLst>
                <p:tags r:id="rId11"/>
              </p:custDataLst>
            </p:nvPr>
          </p:nvSpPr>
          <p:spPr>
            <a:xfrm flipV="1">
              <a:off x="0" y="1403"/>
              <a:ext cx="19200" cy="12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日期占位符 11"/>
          <p:cNvSpPr>
            <a:spLocks noGrp="1"/>
          </p:cNvSpPr>
          <p:nvPr>
            <p:ph type="dt" sz="half" idx="10"/>
          </p:nvPr>
        </p:nvSpPr>
        <p:spPr/>
        <p:txBody>
          <a:bodyPr/>
          <a:p>
            <a:fld id="{10DE6694-91EE-4B0C-9E3C-CED68B155AFF}" type="datetime1">
              <a:rPr lang="zh-CN" altLang="en-US" noProof="0" smtClean="0"/>
            </a:fld>
            <a:endParaRPr lang="en-US" noProof="0"/>
          </a:p>
        </p:txBody>
      </p:sp>
      <p:sp>
        <p:nvSpPr>
          <p:cNvPr id="13" name="页脚占位符 12"/>
          <p:cNvSpPr>
            <a:spLocks noGrp="1"/>
          </p:cNvSpPr>
          <p:nvPr>
            <p:ph type="ftr" sz="quarter" idx="11"/>
          </p:nvPr>
        </p:nvSpPr>
        <p:spPr/>
        <p:txBody>
          <a:bodyPr/>
          <a:p>
            <a:r>
              <a:rPr lang="en-US" noProof="0" smtClean="0"/>
              <a:t>Department VWA-DT  |  Hackathon Challenge Release  |  CSD-class</a:t>
            </a:r>
            <a:endParaRPr lang="en-US" noProof="0"/>
          </a:p>
        </p:txBody>
      </p:sp>
      <p:sp>
        <p:nvSpPr>
          <p:cNvPr id="14" name="灯片编号占位符 13"/>
          <p:cNvSpPr>
            <a:spLocks noGrp="1"/>
          </p:cNvSpPr>
          <p:nvPr>
            <p:ph type="sldNum" sz="quarter" idx="12"/>
          </p:nvPr>
        </p:nvSpPr>
        <p:spPr/>
        <p:txBody>
          <a:bodyPr/>
          <a:p>
            <a:fld id="{53C98C43-8B83-4748-BA0D-B0C90A16569F}" type="slidenum">
              <a:rPr lang="en-US" noProof="0" smtClean="0"/>
            </a:fld>
            <a:endParaRPr lang="en-US" noProof="0"/>
          </a:p>
        </p:txBody>
      </p:sp>
      <p:sp>
        <p:nvSpPr>
          <p:cNvPr id="22" name="文本框 21"/>
          <p:cNvSpPr txBox="1"/>
          <p:nvPr>
            <p:custDataLst>
              <p:tags r:id="rId1"/>
            </p:custDataLst>
          </p:nvPr>
        </p:nvSpPr>
        <p:spPr>
          <a:xfrm>
            <a:off x="4645025" y="2907030"/>
            <a:ext cx="4780915" cy="521970"/>
          </a:xfrm>
          <a:prstGeom prst="rect">
            <a:avLst/>
          </a:prstGeom>
          <a:noFill/>
        </p:spPr>
        <p:txBody>
          <a:bodyPr wrap="square" rtlCol="0">
            <a:spAutoFit/>
          </a:bodyPr>
          <a:lstStyle>
            <a:defPPr>
              <a:defRPr lang="zh-CN"/>
            </a:defPPr>
            <a:lvl1pPr>
              <a:defRPr sz="2800" b="1">
                <a:solidFill>
                  <a:srgbClr val="002900"/>
                </a:solidFill>
                <a:latin typeface="Arial" panose="020B0604020202020204" pitchFamily="34" charset="0"/>
                <a:cs typeface="Arial" panose="020B0604020202020204" pitchFamily="34" charset="0"/>
              </a:defRPr>
            </a:lvl1pPr>
          </a:lstStyle>
          <a:p>
            <a:pPr algn="l">
              <a:buClrTx/>
              <a:buSzTx/>
              <a:buFontTx/>
            </a:pPr>
            <a:r>
              <a:rPr lang="zh-CN" altLang="en-US" dirty="0">
                <a:solidFill>
                  <a:srgbClr val="8CBEE6"/>
                </a:solidFill>
              </a:rPr>
              <a:t>在汽车领域的应用</a:t>
            </a:r>
            <a:r>
              <a:rPr lang="zh-CN" altLang="en-US" dirty="0">
                <a:solidFill>
                  <a:srgbClr val="8CBEE6"/>
                </a:solidFill>
              </a:rPr>
              <a:t>实例</a:t>
            </a:r>
            <a:endParaRPr lang="zh-CN" altLang="en-US" dirty="0">
              <a:solidFill>
                <a:srgbClr val="8CBEE6"/>
              </a:solidFill>
            </a:endParaRPr>
          </a:p>
        </p:txBody>
      </p:sp>
      <p:sp>
        <p:nvSpPr>
          <p:cNvPr id="46" name="文本框 45"/>
          <p:cNvSpPr txBox="1"/>
          <p:nvPr>
            <p:custDataLst>
              <p:tags r:id="rId2"/>
            </p:custDataLst>
          </p:nvPr>
        </p:nvSpPr>
        <p:spPr>
          <a:xfrm>
            <a:off x="2975760" y="2938372"/>
            <a:ext cx="779928" cy="460375"/>
          </a:xfrm>
          <a:prstGeom prst="rect">
            <a:avLst/>
          </a:prstGeom>
          <a:solidFill>
            <a:srgbClr val="99D1CD"/>
          </a:solidFill>
          <a:ln>
            <a:noFill/>
          </a:ln>
        </p:spPr>
        <p:txBody>
          <a:bodyPr wrap="square" rtlCol="0">
            <a:spAutoFit/>
          </a:bodyPr>
          <a:lstStyle/>
          <a:p>
            <a:pPr algn="ctr"/>
            <a:r>
              <a:rPr lang="en-US" altLang="zh-CN" sz="2400" b="1" dirty="0">
                <a:solidFill>
                  <a:schemeClr val="bg1"/>
                </a:solidFill>
                <a:latin typeface="Arial" panose="020B0604020202020204" pitchFamily="34" charset="0"/>
                <a:cs typeface="Arial" panose="020B0604020202020204" pitchFamily="34" charset="0"/>
              </a:rPr>
              <a:t>03</a:t>
            </a:r>
            <a:endParaRPr lang="zh-CN" altLang="en-US" sz="2400" b="1" dirty="0">
              <a:solidFill>
                <a:schemeClr val="bg1"/>
              </a:solidFill>
              <a:latin typeface="Arial" panose="020B0604020202020204" pitchFamily="34" charset="0"/>
              <a:cs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786765" y="1401445"/>
            <a:ext cx="10636885" cy="4660900"/>
          </a:xfrm>
          <a:prstGeom prst="rect">
            <a:avLst/>
          </a:prstGeom>
          <a:blipFill rotWithShape="1">
            <a:blip r:embed="rId1">
              <a:alphaModFix amt="92000"/>
            </a:blip>
            <a:stretch>
              <a:fillRect l="-4000" r="-4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aphicFrame>
        <p:nvGraphicFramePr>
          <p:cNvPr id="11"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3" imgW="9525" imgH="9525" progId="TCLayout.ActiveDocument.1">
                  <p:embed/>
                </p:oleObj>
              </mc:Choice>
              <mc:Fallback>
                <p:oleObj name="think-cell Slide" r:id="rId3" imgW="9525" imgH="9525" progId="TCLayout.ActiveDocument.1">
                  <p:embed/>
                  <p:pic>
                    <p:nvPicPr>
                      <p:cNvPr id="0" name="图片 206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9" name="圆角矩形 8"/>
          <p:cNvSpPr/>
          <p:nvPr/>
        </p:nvSpPr>
        <p:spPr>
          <a:xfrm>
            <a:off x="786130" y="2492375"/>
            <a:ext cx="10637520" cy="2160905"/>
          </a:xfrm>
          <a:prstGeom prst="roundRect">
            <a:avLst/>
          </a:prstGeom>
          <a:gradFill>
            <a:gsLst>
              <a:gs pos="50000">
                <a:schemeClr val="tx1">
                  <a:alpha val="52000"/>
                </a:schemeClr>
              </a:gs>
              <a:gs pos="0">
                <a:schemeClr val="tx1">
                  <a:lumMod val="25000"/>
                  <a:lumOff val="75000"/>
                </a:schemeClr>
              </a:gs>
              <a:gs pos="100000">
                <a:schemeClr val="tx1">
                  <a:lumMod val="8500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sp>
        <p:nvSpPr>
          <p:cNvPr id="8" name="文本框 7"/>
          <p:cNvSpPr txBox="1"/>
          <p:nvPr>
            <p:custDataLst>
              <p:tags r:id="rId5"/>
            </p:custDataLst>
          </p:nvPr>
        </p:nvSpPr>
        <p:spPr>
          <a:xfrm>
            <a:off x="1215390" y="2886075"/>
            <a:ext cx="9638030" cy="1559560"/>
          </a:xfrm>
          <a:prstGeom prst="rect">
            <a:avLst/>
          </a:prstGeom>
          <a:noFill/>
        </p:spPr>
        <p:txBody>
          <a:bodyPr wrap="square" lIns="0" tIns="0" rIns="0" bIns="0" rtlCol="0">
            <a:noAutofit/>
          </a:bodyPr>
          <a:p>
            <a:pPr algn="ctr"/>
            <a:r>
              <a:rPr lang="zh-CN" altLang="en-US" sz="2800" b="1">
                <a:solidFill>
                  <a:schemeClr val="bg2"/>
                </a:solidFill>
                <a:latin typeface="+mj-ea"/>
                <a:ea typeface="+mj-ea"/>
                <a:sym typeface="+mn-ea"/>
              </a:rPr>
              <a:t>上述结果证明：神经网络确实可以根据</a:t>
            </a:r>
            <a:r>
              <a:rPr lang="en-US" altLang="zh-CN" sz="2800" b="1">
                <a:solidFill>
                  <a:schemeClr val="bg2"/>
                </a:solidFill>
                <a:latin typeface="+mj-ea"/>
                <a:ea typeface="+mj-ea"/>
                <a:sym typeface="+mn-ea"/>
              </a:rPr>
              <a:t>CSI</a:t>
            </a:r>
            <a:r>
              <a:rPr lang="zh-CN" altLang="en-US" sz="2800" b="1">
                <a:solidFill>
                  <a:schemeClr val="bg2"/>
                </a:solidFill>
                <a:latin typeface="+mj-ea"/>
                <a:ea typeface="+mj-ea"/>
                <a:sym typeface="+mn-ea"/>
              </a:rPr>
              <a:t>信号提取物体多种类型的</a:t>
            </a:r>
            <a:r>
              <a:rPr lang="zh-CN" altLang="en-US" sz="2800" b="1">
                <a:solidFill>
                  <a:schemeClr val="bg2"/>
                </a:solidFill>
                <a:latin typeface="+mj-ea"/>
                <a:ea typeface="+mj-ea"/>
                <a:sym typeface="+mn-ea"/>
              </a:rPr>
              <a:t>姿势特征，并准确分类。该算法可以用于工业机器人诸如切割，转向，打孔，扫描等多种动作的识别。</a:t>
            </a:r>
            <a:endParaRPr lang="zh-CN" altLang="en-US" sz="2800" b="1">
              <a:solidFill>
                <a:schemeClr val="bg2"/>
              </a:solidFill>
              <a:latin typeface="+mj-ea"/>
              <a:ea typeface="+mj-ea"/>
              <a:sym typeface="+mn-ea"/>
            </a:endParaRPr>
          </a:p>
        </p:txBody>
      </p:sp>
      <p:grpSp>
        <p:nvGrpSpPr>
          <p:cNvPr id="2" name="组合 1"/>
          <p:cNvGrpSpPr/>
          <p:nvPr/>
        </p:nvGrpSpPr>
        <p:grpSpPr>
          <a:xfrm>
            <a:off x="0" y="104775"/>
            <a:ext cx="12192000" cy="864870"/>
            <a:chOff x="0" y="165"/>
            <a:chExt cx="19200" cy="1362"/>
          </a:xfrm>
        </p:grpSpPr>
        <p:sp>
          <p:nvSpPr>
            <p:cNvPr id="14" name="矩形: 圆角 1"/>
            <p:cNvSpPr/>
            <p:nvPr>
              <p:custDataLst>
                <p:tags r:id="rId6"/>
              </p:custDataLst>
            </p:nvPr>
          </p:nvSpPr>
          <p:spPr>
            <a:xfrm>
              <a:off x="65" y="165"/>
              <a:ext cx="1491" cy="1059"/>
            </a:xfrm>
            <a:prstGeom prst="roundRect">
              <a:avLst>
                <a:gd name="adj" fmla="val 22122"/>
              </a:avLst>
            </a:prstGeom>
            <a:solidFill>
              <a:srgbClr val="99D1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r"/>
              <a:r>
                <a:rPr lang="en-US" altLang="zh-CN" sz="3200" b="1" dirty="0">
                  <a:latin typeface="Arial" panose="020B0604020202020204" pitchFamily="34" charset="0"/>
                  <a:cs typeface="Arial" panose="020B0604020202020204" pitchFamily="34" charset="0"/>
                </a:rPr>
                <a:t>03</a:t>
              </a:r>
              <a:endParaRPr lang="zh-CN" altLang="en-US" sz="3200" b="1" dirty="0">
                <a:latin typeface="Arial" panose="020B0604020202020204" pitchFamily="34" charset="0"/>
                <a:cs typeface="Arial" panose="020B0604020202020204" pitchFamily="34" charset="0"/>
              </a:endParaRPr>
            </a:p>
          </p:txBody>
        </p:sp>
        <p:sp>
          <p:nvSpPr>
            <p:cNvPr id="15" name="文本框 14"/>
            <p:cNvSpPr txBox="1"/>
            <p:nvPr>
              <p:custDataLst>
                <p:tags r:id="rId7"/>
              </p:custDataLst>
            </p:nvPr>
          </p:nvSpPr>
          <p:spPr>
            <a:xfrm>
              <a:off x="1749" y="234"/>
              <a:ext cx="7140" cy="822"/>
            </a:xfrm>
            <a:prstGeom prst="rect">
              <a:avLst/>
            </a:prstGeom>
            <a:noFill/>
          </p:spPr>
          <p:txBody>
            <a:bodyPr wrap="square" rtlCol="0">
              <a:spAutoFit/>
            </a:bodyPr>
            <a:p>
              <a:pPr lvl="0" algn="l">
                <a:buClrTx/>
                <a:buSzTx/>
                <a:buFontTx/>
              </a:pPr>
              <a:r>
                <a:rPr lang="zh-CN" altLang="en-US" sz="2800" b="1" dirty="0">
                  <a:solidFill>
                    <a:srgbClr val="8CBEE6"/>
                  </a:solidFill>
                  <a:latin typeface="Arial" panose="020B0604020202020204" pitchFamily="34" charset="0"/>
                  <a:cs typeface="Arial" panose="020B0604020202020204" pitchFamily="34" charset="0"/>
                  <a:sym typeface="+mn-ea"/>
                </a:rPr>
                <a:t>在数字工厂</a:t>
              </a:r>
              <a:r>
                <a:rPr lang="zh-CN" altLang="en-US" sz="2800" b="1" dirty="0">
                  <a:solidFill>
                    <a:srgbClr val="8CBEE6"/>
                  </a:solidFill>
                  <a:latin typeface="Arial" panose="020B0604020202020204" pitchFamily="34" charset="0"/>
                  <a:cs typeface="Arial" panose="020B0604020202020204" pitchFamily="34" charset="0"/>
                  <a:sym typeface="+mn-ea"/>
                </a:rPr>
                <a:t>中的应用</a:t>
              </a:r>
              <a:r>
                <a:rPr lang="zh-CN" altLang="en-US" sz="2800" b="1" dirty="0">
                  <a:solidFill>
                    <a:srgbClr val="8CBEE6"/>
                  </a:solidFill>
                  <a:latin typeface="Arial" panose="020B0604020202020204" pitchFamily="34" charset="0"/>
                  <a:cs typeface="Arial" panose="020B0604020202020204" pitchFamily="34" charset="0"/>
                  <a:sym typeface="+mn-ea"/>
                </a:rPr>
                <a:t>方向</a:t>
              </a:r>
              <a:endParaRPr lang="zh-CN" altLang="en-US" sz="2800" b="1" dirty="0">
                <a:solidFill>
                  <a:srgbClr val="8CBEE6"/>
                </a:solidFill>
                <a:latin typeface="Arial" panose="020B0604020202020204" pitchFamily="34" charset="0"/>
                <a:cs typeface="Arial" panose="020B0604020202020204" pitchFamily="34" charset="0"/>
                <a:sym typeface="+mn-ea"/>
              </a:endParaRPr>
            </a:p>
          </p:txBody>
        </p:sp>
        <p:sp>
          <p:nvSpPr>
            <p:cNvPr id="16" name="矩形 15"/>
            <p:cNvSpPr/>
            <p:nvPr>
              <p:custDataLst>
                <p:tags r:id="rId8"/>
              </p:custDataLst>
            </p:nvPr>
          </p:nvSpPr>
          <p:spPr>
            <a:xfrm flipV="1">
              <a:off x="0" y="1403"/>
              <a:ext cx="19200" cy="12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grpSp>
        <p:nvGrpSpPr>
          <p:cNvPr id="22" name="组合 21"/>
          <p:cNvGrpSpPr/>
          <p:nvPr/>
        </p:nvGrpSpPr>
        <p:grpSpPr>
          <a:xfrm>
            <a:off x="515520" y="1742348"/>
            <a:ext cx="5724525" cy="3876068"/>
            <a:chOff x="5321" y="3213"/>
            <a:chExt cx="8166" cy="5849"/>
          </a:xfrm>
        </p:grpSpPr>
        <p:sp>
          <p:nvSpPr>
            <p:cNvPr id="4" name="矩形 3"/>
            <p:cNvSpPr/>
            <p:nvPr/>
          </p:nvSpPr>
          <p:spPr>
            <a:xfrm>
              <a:off x="5321" y="3213"/>
              <a:ext cx="8166" cy="584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nvGrpSpPr>
            <p:cNvPr id="21" name="组合 20"/>
            <p:cNvGrpSpPr/>
            <p:nvPr/>
          </p:nvGrpSpPr>
          <p:grpSpPr>
            <a:xfrm>
              <a:off x="7064" y="4266"/>
              <a:ext cx="4356" cy="3742"/>
              <a:chOff x="7064" y="4266"/>
              <a:chExt cx="4356" cy="3742"/>
            </a:xfrm>
          </p:grpSpPr>
          <p:grpSp>
            <p:nvGrpSpPr>
              <p:cNvPr id="18" name="组合 17"/>
              <p:cNvGrpSpPr/>
              <p:nvPr/>
            </p:nvGrpSpPr>
            <p:grpSpPr>
              <a:xfrm>
                <a:off x="7064" y="4266"/>
                <a:ext cx="4357" cy="3743"/>
                <a:chOff x="582" y="1042"/>
                <a:chExt cx="3062" cy="2803"/>
              </a:xfrm>
            </p:grpSpPr>
            <p:sp>
              <p:nvSpPr>
                <p:cNvPr id="7" name="矩形 6"/>
                <p:cNvSpPr/>
                <p:nvPr/>
              </p:nvSpPr>
              <p:spPr>
                <a:xfrm>
                  <a:off x="582" y="1042"/>
                  <a:ext cx="3062" cy="2803"/>
                </a:xfrm>
                <a:prstGeom prst="rect">
                  <a:avLst/>
                </a:prstGeom>
                <a:solidFill>
                  <a:schemeClr val="tx1"/>
                </a:solidFill>
                <a:ln w="28575" cmpd="sng">
                  <a:solidFill>
                    <a:srgbClr val="FF0000"/>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cxnSp>
              <p:nvCxnSpPr>
                <p:cNvPr id="12" name="直接连接符 11"/>
                <p:cNvCxnSpPr>
                  <a:stCxn id="7" idx="0"/>
                  <a:endCxn id="7" idx="2"/>
                </p:cNvCxnSpPr>
                <p:nvPr/>
              </p:nvCxnSpPr>
              <p:spPr>
                <a:xfrm>
                  <a:off x="2113" y="1042"/>
                  <a:ext cx="0" cy="2803"/>
                </a:xfrm>
                <a:prstGeom prst="line">
                  <a:avLst/>
                </a:prstGeom>
                <a:noFill/>
                <a:ln w="28575" cmpd="sng">
                  <a:solidFill>
                    <a:srgbClr val="FF0000"/>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13" name="直接连接符 12"/>
                <p:cNvCxnSpPr>
                  <a:stCxn id="7" idx="1"/>
                  <a:endCxn id="7" idx="3"/>
                </p:cNvCxnSpPr>
                <p:nvPr/>
              </p:nvCxnSpPr>
              <p:spPr>
                <a:xfrm>
                  <a:off x="582" y="2444"/>
                  <a:ext cx="3062" cy="0"/>
                </a:xfrm>
                <a:prstGeom prst="line">
                  <a:avLst/>
                </a:prstGeom>
                <a:noFill/>
                <a:ln w="28575" cmpd="sng">
                  <a:solidFill>
                    <a:srgbClr val="DA0C1F"/>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14" name="直接连接符 13"/>
                <p:cNvCxnSpPr/>
                <p:nvPr>
                  <p:custDataLst>
                    <p:tags r:id="rId4"/>
                  </p:custDataLst>
                </p:nvPr>
              </p:nvCxnSpPr>
              <p:spPr>
                <a:xfrm>
                  <a:off x="2902" y="1042"/>
                  <a:ext cx="0" cy="2803"/>
                </a:xfrm>
                <a:prstGeom prst="line">
                  <a:avLst/>
                </a:prstGeom>
                <a:noFill/>
                <a:ln w="28575" cmpd="sng">
                  <a:solidFill>
                    <a:srgbClr val="FF0000"/>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15" name="直接连接符 14"/>
                <p:cNvCxnSpPr/>
                <p:nvPr>
                  <p:custDataLst>
                    <p:tags r:id="rId5"/>
                  </p:custDataLst>
                </p:nvPr>
              </p:nvCxnSpPr>
              <p:spPr>
                <a:xfrm>
                  <a:off x="1324" y="1042"/>
                  <a:ext cx="0" cy="2803"/>
                </a:xfrm>
                <a:prstGeom prst="line">
                  <a:avLst/>
                </a:prstGeom>
                <a:noFill/>
                <a:ln w="28575" cmpd="sng">
                  <a:solidFill>
                    <a:srgbClr val="FF0000"/>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16" name="直接连接符 15"/>
                <p:cNvCxnSpPr/>
                <p:nvPr>
                  <p:custDataLst>
                    <p:tags r:id="rId6"/>
                  </p:custDataLst>
                </p:nvPr>
              </p:nvCxnSpPr>
              <p:spPr>
                <a:xfrm>
                  <a:off x="582" y="3148"/>
                  <a:ext cx="3062" cy="0"/>
                </a:xfrm>
                <a:prstGeom prst="line">
                  <a:avLst/>
                </a:prstGeom>
                <a:noFill/>
                <a:ln w="28575" cmpd="sng">
                  <a:solidFill>
                    <a:srgbClr val="DA0C1F"/>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17" name="直接连接符 16"/>
                <p:cNvCxnSpPr/>
                <p:nvPr>
                  <p:custDataLst>
                    <p:tags r:id="rId7"/>
                  </p:custDataLst>
                </p:nvPr>
              </p:nvCxnSpPr>
              <p:spPr>
                <a:xfrm>
                  <a:off x="582" y="1677"/>
                  <a:ext cx="3062" cy="0"/>
                </a:xfrm>
                <a:prstGeom prst="line">
                  <a:avLst/>
                </a:prstGeom>
                <a:noFill/>
                <a:ln w="28575" cmpd="sng">
                  <a:solidFill>
                    <a:srgbClr val="DA0C1F"/>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grpSp>
          <p:pic>
            <p:nvPicPr>
              <p:cNvPr id="2" name="图片 1"/>
              <p:cNvPicPr>
                <a:picLocks noChangeAspect="1"/>
              </p:cNvPicPr>
              <p:nvPr/>
            </p:nvPicPr>
            <p:blipFill>
              <a:blip r:embed="rId8"/>
              <a:srcRect l="22014" t="8355" r="27416" b="6538"/>
              <a:stretch>
                <a:fillRect/>
              </a:stretch>
            </p:blipFill>
            <p:spPr>
              <a:xfrm>
                <a:off x="8902" y="5437"/>
                <a:ext cx="681" cy="1403"/>
              </a:xfrm>
              <a:prstGeom prst="rect">
                <a:avLst/>
              </a:prstGeom>
            </p:spPr>
          </p:pic>
          <p:pic>
            <p:nvPicPr>
              <p:cNvPr id="19" name="图片 18" descr="wifi (1)"/>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69" y="4690"/>
                <a:ext cx="747" cy="747"/>
              </a:xfrm>
              <a:prstGeom prst="rect">
                <a:avLst/>
              </a:prstGeom>
            </p:spPr>
          </p:pic>
          <p:pic>
            <p:nvPicPr>
              <p:cNvPr id="20" name="图片 19" descr="wifi (1)"/>
              <p:cNvPicPr>
                <a:picLocks noChangeAspect="1"/>
              </p:cNvPicPr>
              <p:nvPr>
                <p:custDataLst>
                  <p:tags r:id="rId11"/>
                </p:custDataLst>
              </p:nvPr>
            </p:nvPicPr>
            <p:blipFill>
              <a:blip r:embed="rId9">
                <a:extLst>
                  <a:ext uri="{96DAC541-7B7A-43D3-8B79-37D633B846F1}">
                    <asvg:svgBlip xmlns:asvg="http://schemas.microsoft.com/office/drawing/2016/SVG/main" r:embed="rId10"/>
                  </a:ext>
                </a:extLst>
              </a:blip>
              <a:stretch>
                <a:fillRect/>
              </a:stretch>
            </p:blipFill>
            <p:spPr>
              <a:xfrm rot="10800000">
                <a:off x="8836" y="6839"/>
                <a:ext cx="747" cy="747"/>
              </a:xfrm>
              <a:prstGeom prst="rect">
                <a:avLst/>
              </a:prstGeom>
            </p:spPr>
          </p:pic>
        </p:grpSp>
      </p:grpSp>
      <p:sp>
        <p:nvSpPr>
          <p:cNvPr id="23" name="文本框 22"/>
          <p:cNvSpPr txBox="1"/>
          <p:nvPr/>
        </p:nvSpPr>
        <p:spPr>
          <a:xfrm>
            <a:off x="6806565" y="1591945"/>
            <a:ext cx="4733925" cy="4370070"/>
          </a:xfrm>
          <a:prstGeom prst="rect">
            <a:avLst/>
          </a:prstGeom>
          <a:noFill/>
        </p:spPr>
        <p:txBody>
          <a:bodyPr wrap="square" lIns="0" tIns="0" rIns="0" bIns="0" rtlCol="0">
            <a:spAutoFit/>
          </a:bodyPr>
          <a:p>
            <a:pPr algn="l"/>
            <a:r>
              <a:rPr lang="en-US" altLang="zh-CN" sz="1800">
                <a:latin typeface="+mj-ea"/>
                <a:ea typeface="+mj-ea"/>
                <a:sym typeface="+mn-ea"/>
              </a:rPr>
              <a:t>根据模型训练的数据，可以验证物体的位置信息也蕴含于神经网络权重之间，经过对输出层简单的改造，采用迁移学习的方法，</a:t>
            </a:r>
            <a:r>
              <a:rPr lang="zh-CN" altLang="en-US" sz="1800">
                <a:solidFill>
                  <a:srgbClr val="FAAA3C"/>
                </a:solidFill>
                <a:latin typeface="+mj-ea"/>
                <a:ea typeface="+mj-ea"/>
                <a:sym typeface="+mn-ea"/>
              </a:rPr>
              <a:t>就</a:t>
            </a:r>
            <a:r>
              <a:rPr lang="en-US" altLang="zh-CN" sz="1800">
                <a:solidFill>
                  <a:srgbClr val="FAAA3C"/>
                </a:solidFill>
                <a:latin typeface="+mj-ea"/>
                <a:ea typeface="+mj-ea"/>
                <a:sym typeface="+mn-ea"/>
              </a:rPr>
              <a:t>可以用同样的算法完成障碍物定位的任务</a:t>
            </a:r>
            <a:r>
              <a:rPr lang="en-US" altLang="zh-CN" sz="1800">
                <a:latin typeface="+mj-ea"/>
                <a:ea typeface="+mj-ea"/>
                <a:sym typeface="+mn-ea"/>
              </a:rPr>
              <a:t>。</a:t>
            </a:r>
            <a:endParaRPr lang="en-US" altLang="zh-CN" sz="1800">
              <a:latin typeface="+mj-ea"/>
              <a:ea typeface="+mj-ea"/>
              <a:sym typeface="+mn-ea"/>
            </a:endParaRPr>
          </a:p>
          <a:p>
            <a:pPr algn="l"/>
            <a:endParaRPr lang="en-US" altLang="zh-CN" sz="1800">
              <a:latin typeface="+mj-ea"/>
              <a:ea typeface="+mj-ea"/>
              <a:sym typeface="+mn-ea"/>
            </a:endParaRPr>
          </a:p>
          <a:p>
            <a:pPr algn="l"/>
            <a:endParaRPr lang="en-US" altLang="zh-CN" sz="1800">
              <a:latin typeface="+mj-ea"/>
              <a:ea typeface="+mj-ea"/>
              <a:sym typeface="+mn-ea"/>
            </a:endParaRPr>
          </a:p>
          <a:p>
            <a:pPr algn="l"/>
            <a:r>
              <a:rPr lang="zh-CN" altLang="en-US" sz="1800">
                <a:latin typeface="+mj-ea"/>
                <a:ea typeface="+mj-ea"/>
                <a:sym typeface="+mn-ea"/>
              </a:rPr>
              <a:t>在车前和车尾分别设置</a:t>
            </a:r>
            <a:r>
              <a:rPr lang="en-US" altLang="zh-CN" sz="1800">
                <a:latin typeface="+mj-ea"/>
                <a:ea typeface="+mj-ea"/>
                <a:sym typeface="+mn-ea"/>
              </a:rPr>
              <a:t>WiFi</a:t>
            </a:r>
            <a:r>
              <a:rPr lang="zh-CN" altLang="en-US" sz="1800">
                <a:latin typeface="+mj-ea"/>
                <a:ea typeface="+mj-ea"/>
                <a:sym typeface="+mn-ea"/>
              </a:rPr>
              <a:t>发射器和接收器，在车的周围可以实时的划分出网格，即可由算法模型感知信号的变化判断障碍物的方位。</a:t>
            </a:r>
            <a:endParaRPr lang="en-US" altLang="zh-CN" sz="1800">
              <a:latin typeface="+mj-ea"/>
              <a:ea typeface="+mj-ea"/>
              <a:sym typeface="+mn-ea"/>
            </a:endParaRPr>
          </a:p>
          <a:p>
            <a:pPr algn="l"/>
            <a:endParaRPr lang="en-US" altLang="zh-CN" sz="1800">
              <a:latin typeface="+mj-ea"/>
              <a:ea typeface="+mj-ea"/>
              <a:sym typeface="+mn-ea"/>
            </a:endParaRPr>
          </a:p>
          <a:p>
            <a:pPr algn="l"/>
            <a:endParaRPr lang="en-US" altLang="zh-CN" sz="1800">
              <a:latin typeface="+mj-ea"/>
              <a:ea typeface="+mj-ea"/>
              <a:sym typeface="+mn-ea"/>
            </a:endParaRPr>
          </a:p>
          <a:p>
            <a:pPr algn="l"/>
            <a:r>
              <a:rPr lang="zh-CN" altLang="en-US" sz="1800">
                <a:latin typeface="+mj-ea"/>
                <a:ea typeface="+mj-ea"/>
                <a:sym typeface="+mn-ea"/>
              </a:rPr>
              <a:t>得力于</a:t>
            </a:r>
            <a:r>
              <a:rPr lang="en-US" altLang="zh-CN" sz="1800">
                <a:latin typeface="+mj-ea"/>
                <a:ea typeface="+mj-ea"/>
                <a:sym typeface="+mn-ea"/>
              </a:rPr>
              <a:t>WiFi</a:t>
            </a:r>
            <a:r>
              <a:rPr lang="zh-CN" altLang="en-US" sz="1800">
                <a:latin typeface="+mj-ea"/>
                <a:ea typeface="+mj-ea"/>
                <a:sym typeface="+mn-ea"/>
              </a:rPr>
              <a:t>信号的穿透力，可以在人机界面的建模网格中忽略网格中如墙壁之类的障碍物，简化页面元素，突出障碍物提示内容。</a:t>
            </a:r>
            <a:endParaRPr lang="en-US" altLang="zh-CN" sz="1800">
              <a:latin typeface="+mj-ea"/>
              <a:ea typeface="+mj-ea"/>
              <a:sym typeface="+mn-ea"/>
            </a:endParaRPr>
          </a:p>
          <a:p>
            <a:pPr algn="l"/>
            <a:endParaRPr lang="en-US" altLang="zh-CN" sz="1800">
              <a:latin typeface="+mj-ea"/>
              <a:ea typeface="+mj-ea"/>
              <a:sym typeface="+mn-ea"/>
            </a:endParaRPr>
          </a:p>
          <a:p>
            <a:pPr algn="l"/>
            <a:endParaRPr lang="zh-CN" altLang="en-US" sz="1400" dirty="0" err="1" smtClean="0">
              <a:solidFill>
                <a:schemeClr val="tx2"/>
              </a:solidFill>
            </a:endParaRPr>
          </a:p>
        </p:txBody>
      </p:sp>
      <p:sp>
        <p:nvSpPr>
          <p:cNvPr id="24" name="立方体 23"/>
          <p:cNvSpPr/>
          <p:nvPr/>
        </p:nvSpPr>
        <p:spPr>
          <a:xfrm>
            <a:off x="2342515" y="2174240"/>
            <a:ext cx="744855" cy="1035050"/>
          </a:xfrm>
          <a:prstGeom prst="cube">
            <a:avLst>
              <a:gd name="adj" fmla="val 84080"/>
            </a:avLst>
          </a:prstGeom>
          <a:solidFill>
            <a:schemeClr val="accent2">
              <a:alpha val="4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sp>
        <p:nvSpPr>
          <p:cNvPr id="25" name="立方体 24"/>
          <p:cNvSpPr/>
          <p:nvPr>
            <p:custDataLst>
              <p:tags r:id="rId12"/>
            </p:custDataLst>
          </p:nvPr>
        </p:nvSpPr>
        <p:spPr>
          <a:xfrm flipH="1">
            <a:off x="4094480" y="2910840"/>
            <a:ext cx="988060" cy="1348105"/>
          </a:xfrm>
          <a:prstGeom prst="cube">
            <a:avLst>
              <a:gd name="adj" fmla="val 81560"/>
            </a:avLst>
          </a:prstGeom>
          <a:solidFill>
            <a:schemeClr val="accent2">
              <a:alpha val="4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nvGrpSpPr>
          <p:cNvPr id="3" name="组合 2"/>
          <p:cNvGrpSpPr/>
          <p:nvPr/>
        </p:nvGrpSpPr>
        <p:grpSpPr>
          <a:xfrm>
            <a:off x="0" y="104775"/>
            <a:ext cx="12192000" cy="864870"/>
            <a:chOff x="0" y="165"/>
            <a:chExt cx="19200" cy="1362"/>
          </a:xfrm>
        </p:grpSpPr>
        <p:sp>
          <p:nvSpPr>
            <p:cNvPr id="8" name="矩形: 圆角 1"/>
            <p:cNvSpPr/>
            <p:nvPr>
              <p:custDataLst>
                <p:tags r:id="rId13"/>
              </p:custDataLst>
            </p:nvPr>
          </p:nvSpPr>
          <p:spPr>
            <a:xfrm>
              <a:off x="65" y="165"/>
              <a:ext cx="1491" cy="1059"/>
            </a:xfrm>
            <a:prstGeom prst="roundRect">
              <a:avLst>
                <a:gd name="adj" fmla="val 22122"/>
              </a:avLst>
            </a:prstGeom>
            <a:solidFill>
              <a:srgbClr val="99D1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r"/>
              <a:r>
                <a:rPr lang="en-US" altLang="zh-CN" sz="3200" b="1" dirty="0">
                  <a:latin typeface="Arial" panose="020B0604020202020204" pitchFamily="34" charset="0"/>
                  <a:cs typeface="Arial" panose="020B0604020202020204" pitchFamily="34" charset="0"/>
                </a:rPr>
                <a:t>03</a:t>
              </a:r>
              <a:endParaRPr lang="zh-CN" altLang="en-US" sz="3200" b="1" dirty="0">
                <a:latin typeface="Arial" panose="020B0604020202020204" pitchFamily="34" charset="0"/>
                <a:cs typeface="Arial" panose="020B0604020202020204" pitchFamily="34" charset="0"/>
              </a:endParaRPr>
            </a:p>
          </p:txBody>
        </p:sp>
        <p:sp>
          <p:nvSpPr>
            <p:cNvPr id="9" name="文本框 8"/>
            <p:cNvSpPr txBox="1"/>
            <p:nvPr>
              <p:custDataLst>
                <p:tags r:id="rId14"/>
              </p:custDataLst>
            </p:nvPr>
          </p:nvSpPr>
          <p:spPr>
            <a:xfrm>
              <a:off x="1749" y="234"/>
              <a:ext cx="8844" cy="822"/>
            </a:xfrm>
            <a:prstGeom prst="rect">
              <a:avLst/>
            </a:prstGeom>
            <a:noFill/>
          </p:spPr>
          <p:txBody>
            <a:bodyPr wrap="square" rtlCol="0">
              <a:spAutoFit/>
            </a:bodyPr>
            <a:p>
              <a:pPr lvl="0" algn="l">
                <a:buClrTx/>
                <a:buSzTx/>
                <a:buFontTx/>
              </a:pPr>
              <a:r>
                <a:rPr lang="zh-CN" altLang="en-US" sz="2800" b="1" dirty="0">
                  <a:solidFill>
                    <a:srgbClr val="8CBEE6"/>
                  </a:solidFill>
                  <a:latin typeface="Arial" panose="020B0604020202020204" pitchFamily="34" charset="0"/>
                  <a:cs typeface="Arial" panose="020B0604020202020204" pitchFamily="34" charset="0"/>
                  <a:sym typeface="+mn-ea"/>
                </a:rPr>
                <a:t>在车辆环境</a:t>
              </a:r>
              <a:r>
                <a:rPr lang="zh-CN" altLang="en-US" sz="2800" b="1" dirty="0">
                  <a:solidFill>
                    <a:srgbClr val="8CBEE6"/>
                  </a:solidFill>
                  <a:latin typeface="Arial" panose="020B0604020202020204" pitchFamily="34" charset="0"/>
                  <a:cs typeface="Arial" panose="020B0604020202020204" pitchFamily="34" charset="0"/>
                  <a:sym typeface="+mn-ea"/>
                </a:rPr>
                <a:t>感知中的应用</a:t>
              </a:r>
              <a:r>
                <a:rPr lang="zh-CN" altLang="en-US" sz="2800" b="1" dirty="0">
                  <a:solidFill>
                    <a:srgbClr val="8CBEE6"/>
                  </a:solidFill>
                  <a:latin typeface="Arial" panose="020B0604020202020204" pitchFamily="34" charset="0"/>
                  <a:cs typeface="Arial" panose="020B0604020202020204" pitchFamily="34" charset="0"/>
                  <a:sym typeface="+mn-ea"/>
                </a:rPr>
                <a:t>方向</a:t>
              </a:r>
              <a:endParaRPr lang="zh-CN" altLang="en-US" sz="2800" b="1" dirty="0">
                <a:solidFill>
                  <a:srgbClr val="8CBEE6"/>
                </a:solidFill>
                <a:latin typeface="Arial" panose="020B0604020202020204" pitchFamily="34" charset="0"/>
                <a:cs typeface="Arial" panose="020B0604020202020204" pitchFamily="34" charset="0"/>
                <a:sym typeface="+mn-ea"/>
              </a:endParaRPr>
            </a:p>
          </p:txBody>
        </p:sp>
        <p:sp>
          <p:nvSpPr>
            <p:cNvPr id="26" name="矩形 25"/>
            <p:cNvSpPr/>
            <p:nvPr>
              <p:custDataLst>
                <p:tags r:id="rId15"/>
              </p:custDataLst>
            </p:nvPr>
          </p:nvSpPr>
          <p:spPr>
            <a:xfrm flipV="1">
              <a:off x="0" y="1403"/>
              <a:ext cx="19200" cy="12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3" name="文本框 2"/>
          <p:cNvSpPr txBox="1"/>
          <p:nvPr/>
        </p:nvSpPr>
        <p:spPr>
          <a:xfrm>
            <a:off x="1110615" y="1022985"/>
            <a:ext cx="9330055" cy="1323340"/>
          </a:xfrm>
          <a:prstGeom prst="rect">
            <a:avLst/>
          </a:prstGeom>
          <a:noFill/>
        </p:spPr>
        <p:txBody>
          <a:bodyPr wrap="square" lIns="0" tIns="0" rIns="0" bIns="0" rtlCol="0">
            <a:spAutoFit/>
          </a:bodyPr>
          <a:p>
            <a:pPr algn="l"/>
            <a:endParaRPr lang="zh-CN" altLang="en-US" sz="1800">
              <a:solidFill>
                <a:schemeClr val="tx1"/>
              </a:solidFill>
              <a:latin typeface="+mj-ea"/>
              <a:ea typeface="+mj-ea"/>
              <a:sym typeface="+mn-ea"/>
            </a:endParaRPr>
          </a:p>
          <a:p>
            <a:pPr algn="l"/>
            <a:r>
              <a:rPr lang="zh-CN" altLang="en-US" sz="1800">
                <a:latin typeface="+mj-ea"/>
                <a:ea typeface="+mj-ea"/>
                <a:sym typeface="+mn-ea"/>
              </a:rPr>
              <a:t>对于自动驾驶场景中对</a:t>
            </a:r>
            <a:r>
              <a:rPr lang="en-US" altLang="zh-CN" sz="1800">
                <a:latin typeface="+mj-ea"/>
                <a:ea typeface="+mj-ea"/>
                <a:sym typeface="+mn-ea"/>
              </a:rPr>
              <a:t>WIFI</a:t>
            </a:r>
            <a:r>
              <a:rPr lang="zh-CN" altLang="en-US" sz="1800">
                <a:latin typeface="+mj-ea"/>
                <a:ea typeface="+mj-ea"/>
                <a:sym typeface="+mn-ea"/>
              </a:rPr>
              <a:t>信号可能的应用方法，我们更喜欢用一个车辆的</a:t>
            </a:r>
            <a:r>
              <a:rPr lang="en-US" altLang="zh-CN" sz="1800">
                <a:latin typeface="+mj-ea"/>
                <a:ea typeface="+mj-ea"/>
                <a:sym typeface="+mn-ea"/>
              </a:rPr>
              <a:t>HMI(Human Machine Interface)人机界面</a:t>
            </a:r>
            <a:r>
              <a:rPr lang="zh-CN" altLang="en-US" sz="1800">
                <a:latin typeface="+mj-ea"/>
                <a:ea typeface="+mj-ea"/>
                <a:sym typeface="+mn-ea"/>
              </a:rPr>
              <a:t>展示可能的实际效果，具体展示效果可从参赛文件中</a:t>
            </a:r>
            <a:r>
              <a:rPr lang="en-US" altLang="zh-CN" sz="1800">
                <a:latin typeface="+mj-ea"/>
                <a:ea typeface="+mj-ea"/>
                <a:sym typeface="+mn-ea"/>
              </a:rPr>
              <a:t>Auto HMI.exe</a:t>
            </a:r>
            <a:r>
              <a:rPr lang="zh-CN" altLang="en-US" sz="1800">
                <a:latin typeface="+mj-ea"/>
                <a:ea typeface="+mj-ea"/>
                <a:sym typeface="+mn-ea"/>
              </a:rPr>
              <a:t>文件和</a:t>
            </a:r>
            <a:r>
              <a:rPr lang="en-US" altLang="zh-CN" sz="1800">
                <a:latin typeface="+mj-ea"/>
                <a:ea typeface="+mj-ea"/>
                <a:sym typeface="+mn-ea"/>
              </a:rPr>
              <a:t>Auto HMI.mp4</a:t>
            </a:r>
            <a:r>
              <a:rPr lang="zh-CN" altLang="en-US" sz="1800">
                <a:latin typeface="+mj-ea"/>
                <a:ea typeface="+mj-ea"/>
                <a:sym typeface="+mn-ea"/>
              </a:rPr>
              <a:t>演示视频中了解。</a:t>
            </a:r>
            <a:endParaRPr lang="zh-CN" altLang="en-US" sz="1800">
              <a:solidFill>
                <a:schemeClr val="tx1"/>
              </a:solidFill>
              <a:latin typeface="+mj-ea"/>
              <a:ea typeface="+mj-ea"/>
              <a:sym typeface="+mn-ea"/>
            </a:endParaRPr>
          </a:p>
          <a:p>
            <a:pPr algn="l"/>
            <a:endParaRPr lang="zh-CN" altLang="en-US" sz="1400" dirty="0" err="1" smtClean="0">
              <a:solidFill>
                <a:schemeClr val="tx2"/>
              </a:solidFill>
            </a:endParaRPr>
          </a:p>
        </p:txBody>
      </p:sp>
      <p:pic>
        <p:nvPicPr>
          <p:cNvPr id="2" name="图片 1" descr="屏幕截图 2023-12-11 230738"/>
          <p:cNvPicPr>
            <a:picLocks noChangeAspect="1"/>
          </p:cNvPicPr>
          <p:nvPr/>
        </p:nvPicPr>
        <p:blipFill>
          <a:blip r:embed="rId4"/>
          <a:stretch>
            <a:fillRect/>
          </a:stretch>
        </p:blipFill>
        <p:spPr>
          <a:xfrm>
            <a:off x="1120140" y="2538095"/>
            <a:ext cx="5813425" cy="3067685"/>
          </a:xfrm>
          <a:prstGeom prst="rect">
            <a:avLst/>
          </a:prstGeom>
        </p:spPr>
      </p:pic>
      <p:grpSp>
        <p:nvGrpSpPr>
          <p:cNvPr id="19" name="组合 18"/>
          <p:cNvGrpSpPr/>
          <p:nvPr/>
        </p:nvGrpSpPr>
        <p:grpSpPr>
          <a:xfrm>
            <a:off x="7470775" y="2400300"/>
            <a:ext cx="3045460" cy="1327150"/>
            <a:chOff x="12595" y="3780"/>
            <a:chExt cx="4796" cy="2090"/>
          </a:xfrm>
        </p:grpSpPr>
        <p:sp>
          <p:nvSpPr>
            <p:cNvPr id="15" name="圆角矩形 14"/>
            <p:cNvSpPr/>
            <p:nvPr/>
          </p:nvSpPr>
          <p:spPr>
            <a:xfrm>
              <a:off x="12595" y="3780"/>
              <a:ext cx="4796" cy="2090"/>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sp>
          <p:nvSpPr>
            <p:cNvPr id="14" name="文本框 13"/>
            <p:cNvSpPr txBox="1"/>
            <p:nvPr/>
          </p:nvSpPr>
          <p:spPr>
            <a:xfrm>
              <a:off x="12813" y="4095"/>
              <a:ext cx="4360" cy="1420"/>
            </a:xfrm>
            <a:prstGeom prst="rect">
              <a:avLst/>
            </a:prstGeom>
            <a:noFill/>
          </p:spPr>
          <p:txBody>
            <a:bodyPr wrap="square" lIns="0" tIns="0" rIns="0" bIns="0" rtlCol="0">
              <a:noAutofit/>
            </a:bodyPr>
            <a:p>
              <a:pPr algn="l"/>
              <a:r>
                <a:rPr lang="zh-CN" altLang="en-US" sz="1800">
                  <a:latin typeface="+mj-ea"/>
                  <a:ea typeface="+mj-ea"/>
                  <a:sym typeface="+mn-ea"/>
                </a:rPr>
                <a:t>可由</a:t>
              </a:r>
              <a:r>
                <a:rPr lang="en-US" altLang="zh-CN" sz="1800">
                  <a:latin typeface="+mj-ea"/>
                  <a:ea typeface="+mj-ea"/>
                  <a:sym typeface="+mn-ea"/>
                </a:rPr>
                <a:t>WiFi</a:t>
              </a:r>
              <a:r>
                <a:rPr lang="zh-CN" altLang="en-US" sz="1800">
                  <a:latin typeface="+mj-ea"/>
                  <a:ea typeface="+mj-ea"/>
                  <a:sym typeface="+mn-ea"/>
                </a:rPr>
                <a:t>信号全局判断障碍物</a:t>
              </a:r>
              <a:r>
                <a:rPr lang="zh-CN" altLang="en-US" sz="1800">
                  <a:latin typeface="+mj-ea"/>
                  <a:ea typeface="+mj-ea"/>
                  <a:sym typeface="+mn-ea"/>
                </a:rPr>
                <a:t>方向，再由超声波雷达指向对应位置精准识障。</a:t>
              </a:r>
              <a:endParaRPr lang="zh-CN" altLang="en-US" sz="1800">
                <a:latin typeface="+mj-ea"/>
                <a:ea typeface="+mj-ea"/>
              </a:endParaRPr>
            </a:p>
            <a:p>
              <a:pPr algn="l"/>
              <a:endParaRPr lang="zh-CN" altLang="en-US" sz="1400" dirty="0" err="1" smtClean="0">
                <a:solidFill>
                  <a:schemeClr val="tx2"/>
                </a:solidFill>
              </a:endParaRPr>
            </a:p>
          </p:txBody>
        </p:sp>
      </p:grpSp>
      <p:pic>
        <p:nvPicPr>
          <p:cNvPr id="16" name="图片 15" descr="屏幕截图 2023-12-11 230738"/>
          <p:cNvPicPr>
            <a:picLocks noChangeAspect="1"/>
          </p:cNvPicPr>
          <p:nvPr>
            <p:custDataLst>
              <p:tags r:id="rId5"/>
            </p:custDataLst>
          </p:nvPr>
        </p:nvPicPr>
        <p:blipFill>
          <a:blip r:embed="rId4"/>
          <a:srcRect l="57493" t="19540" r="35734" b="67330"/>
          <a:stretch>
            <a:fillRect/>
          </a:stretch>
        </p:blipFill>
        <p:spPr>
          <a:xfrm>
            <a:off x="7971155" y="3913505"/>
            <a:ext cx="1327150" cy="1357630"/>
          </a:xfrm>
          <a:prstGeom prst="rect">
            <a:avLst/>
          </a:prstGeom>
        </p:spPr>
      </p:pic>
      <p:sp>
        <p:nvSpPr>
          <p:cNvPr id="17" name="文本框 16"/>
          <p:cNvSpPr txBox="1"/>
          <p:nvPr>
            <p:custDataLst>
              <p:tags r:id="rId6"/>
            </p:custDataLst>
          </p:nvPr>
        </p:nvSpPr>
        <p:spPr>
          <a:xfrm>
            <a:off x="9406255" y="3913505"/>
            <a:ext cx="1941195" cy="2274570"/>
          </a:xfrm>
          <a:prstGeom prst="rect">
            <a:avLst/>
          </a:prstGeom>
          <a:noFill/>
        </p:spPr>
        <p:txBody>
          <a:bodyPr wrap="square" lIns="0" tIns="0" rIns="0" bIns="0" rtlCol="0">
            <a:noAutofit/>
          </a:bodyPr>
          <a:p>
            <a:pPr algn="l"/>
            <a:r>
              <a:rPr lang="zh-CN" altLang="en-US" sz="1800">
                <a:latin typeface="+mj-ea"/>
                <a:ea typeface="+mj-ea"/>
                <a:sym typeface="+mn-ea"/>
              </a:rPr>
              <a:t>当</a:t>
            </a:r>
            <a:r>
              <a:rPr lang="en-US" altLang="zh-CN" sz="1800">
                <a:latin typeface="+mj-ea"/>
                <a:ea typeface="+mj-ea"/>
                <a:sym typeface="+mn-ea"/>
              </a:rPr>
              <a:t>Left</a:t>
            </a:r>
            <a:r>
              <a:rPr lang="zh-CN" altLang="en-US" sz="1800">
                <a:latin typeface="+mj-ea"/>
                <a:ea typeface="+mj-ea"/>
                <a:sym typeface="+mn-ea"/>
              </a:rPr>
              <a:t>和其上方小点同时闪烁时代表左前方存在障碍。</a:t>
            </a:r>
            <a:endParaRPr lang="zh-CN" altLang="en-US" sz="1800">
              <a:latin typeface="+mj-ea"/>
              <a:ea typeface="+mj-ea"/>
              <a:sym typeface="+mn-ea"/>
            </a:endParaRPr>
          </a:p>
          <a:p>
            <a:pPr algn="l"/>
            <a:endParaRPr lang="zh-CN" altLang="en-US" sz="1800">
              <a:latin typeface="+mj-ea"/>
              <a:ea typeface="+mj-ea"/>
              <a:sym typeface="+mn-ea"/>
            </a:endParaRPr>
          </a:p>
          <a:p>
            <a:pPr algn="l"/>
            <a:r>
              <a:rPr lang="en-US" altLang="zh-CN" sz="1800">
                <a:latin typeface="+mj-ea"/>
                <a:ea typeface="+mj-ea"/>
                <a:sym typeface="+mn-ea"/>
              </a:rPr>
              <a:t>Left</a:t>
            </a:r>
            <a:r>
              <a:rPr lang="zh-CN" altLang="en-US" sz="1800">
                <a:latin typeface="+mj-ea"/>
                <a:ea typeface="+mj-ea"/>
                <a:sym typeface="+mn-ea"/>
              </a:rPr>
              <a:t>单独闪烁时代表正左方出现障碍。</a:t>
            </a:r>
            <a:endParaRPr lang="zh-CN" altLang="en-US" sz="1800">
              <a:latin typeface="+mj-ea"/>
              <a:ea typeface="+mj-ea"/>
              <a:sym typeface="+mn-ea"/>
            </a:endParaRPr>
          </a:p>
          <a:p>
            <a:pPr algn="l"/>
            <a:endParaRPr lang="zh-CN" altLang="en-US" sz="1800">
              <a:latin typeface="+mj-ea"/>
              <a:ea typeface="+mj-ea"/>
              <a:sym typeface="+mn-ea"/>
            </a:endParaRPr>
          </a:p>
          <a:p>
            <a:pPr algn="l"/>
            <a:r>
              <a:rPr lang="zh-CN" altLang="en-US" sz="1800">
                <a:latin typeface="+mj-ea"/>
                <a:ea typeface="+mj-ea"/>
                <a:sym typeface="+mn-ea"/>
              </a:rPr>
              <a:t>其他方向同理。</a:t>
            </a:r>
            <a:endParaRPr lang="zh-CN" altLang="en-US" sz="1800">
              <a:latin typeface="+mj-ea"/>
              <a:ea typeface="+mj-ea"/>
            </a:endParaRPr>
          </a:p>
          <a:p>
            <a:pPr algn="l"/>
            <a:endParaRPr lang="zh-CN" altLang="en-US" sz="1400" dirty="0" err="1" smtClean="0">
              <a:solidFill>
                <a:schemeClr val="tx2"/>
              </a:solidFill>
            </a:endParaRPr>
          </a:p>
        </p:txBody>
      </p:sp>
      <p:pic>
        <p:nvPicPr>
          <p:cNvPr id="18" name="图片 17"/>
          <p:cNvPicPr>
            <a:picLocks noChangeAspect="1"/>
          </p:cNvPicPr>
          <p:nvPr>
            <p:custDataLst>
              <p:tags r:id="rId7"/>
            </p:custDataLst>
          </p:nvPr>
        </p:nvPicPr>
        <p:blipFill>
          <a:blip r:embed="rId8"/>
          <a:stretch>
            <a:fillRect/>
          </a:stretch>
        </p:blipFill>
        <p:spPr>
          <a:xfrm>
            <a:off x="7318375" y="3913505"/>
            <a:ext cx="545465" cy="545465"/>
          </a:xfrm>
          <a:prstGeom prst="rect">
            <a:avLst/>
          </a:prstGeom>
        </p:spPr>
      </p:pic>
      <p:grpSp>
        <p:nvGrpSpPr>
          <p:cNvPr id="4" name="组合 3"/>
          <p:cNvGrpSpPr/>
          <p:nvPr/>
        </p:nvGrpSpPr>
        <p:grpSpPr>
          <a:xfrm>
            <a:off x="0" y="104775"/>
            <a:ext cx="12192000" cy="864870"/>
            <a:chOff x="0" y="165"/>
            <a:chExt cx="19200" cy="1362"/>
          </a:xfrm>
        </p:grpSpPr>
        <p:sp>
          <p:nvSpPr>
            <p:cNvPr id="8" name="矩形: 圆角 1"/>
            <p:cNvSpPr/>
            <p:nvPr>
              <p:custDataLst>
                <p:tags r:id="rId9"/>
              </p:custDataLst>
            </p:nvPr>
          </p:nvSpPr>
          <p:spPr>
            <a:xfrm>
              <a:off x="65" y="165"/>
              <a:ext cx="1491" cy="1059"/>
            </a:xfrm>
            <a:prstGeom prst="roundRect">
              <a:avLst>
                <a:gd name="adj" fmla="val 22122"/>
              </a:avLst>
            </a:prstGeom>
            <a:solidFill>
              <a:srgbClr val="99D1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r"/>
              <a:r>
                <a:rPr lang="en-US" altLang="zh-CN" sz="3200" b="1" dirty="0">
                  <a:latin typeface="Arial" panose="020B0604020202020204" pitchFamily="34" charset="0"/>
                  <a:cs typeface="Arial" panose="020B0604020202020204" pitchFamily="34" charset="0"/>
                </a:rPr>
                <a:t>03</a:t>
              </a:r>
              <a:endParaRPr lang="zh-CN" altLang="en-US" sz="3200" b="1" dirty="0">
                <a:latin typeface="Arial" panose="020B0604020202020204" pitchFamily="34" charset="0"/>
                <a:cs typeface="Arial" panose="020B0604020202020204" pitchFamily="34" charset="0"/>
              </a:endParaRPr>
            </a:p>
          </p:txBody>
        </p:sp>
        <p:sp>
          <p:nvSpPr>
            <p:cNvPr id="9" name="文本框 8"/>
            <p:cNvSpPr txBox="1"/>
            <p:nvPr>
              <p:custDataLst>
                <p:tags r:id="rId10"/>
              </p:custDataLst>
            </p:nvPr>
          </p:nvSpPr>
          <p:spPr>
            <a:xfrm>
              <a:off x="1749" y="234"/>
              <a:ext cx="8844" cy="822"/>
            </a:xfrm>
            <a:prstGeom prst="rect">
              <a:avLst/>
            </a:prstGeom>
            <a:noFill/>
          </p:spPr>
          <p:txBody>
            <a:bodyPr wrap="square" rtlCol="0">
              <a:spAutoFit/>
            </a:bodyPr>
            <a:p>
              <a:pPr lvl="0" algn="l">
                <a:buClrTx/>
                <a:buSzTx/>
                <a:buFontTx/>
              </a:pPr>
              <a:r>
                <a:rPr lang="zh-CN" altLang="en-US" sz="2800" b="1" dirty="0">
                  <a:solidFill>
                    <a:srgbClr val="8CBEE6"/>
                  </a:solidFill>
                  <a:latin typeface="Arial" panose="020B0604020202020204" pitchFamily="34" charset="0"/>
                  <a:cs typeface="Arial" panose="020B0604020202020204" pitchFamily="34" charset="0"/>
                  <a:sym typeface="+mn-ea"/>
                </a:rPr>
                <a:t>在车辆环境</a:t>
              </a:r>
              <a:r>
                <a:rPr lang="zh-CN" altLang="en-US" sz="2800" b="1" dirty="0">
                  <a:solidFill>
                    <a:srgbClr val="8CBEE6"/>
                  </a:solidFill>
                  <a:latin typeface="Arial" panose="020B0604020202020204" pitchFamily="34" charset="0"/>
                  <a:cs typeface="Arial" panose="020B0604020202020204" pitchFamily="34" charset="0"/>
                  <a:sym typeface="+mn-ea"/>
                </a:rPr>
                <a:t>感知中的应用</a:t>
              </a:r>
              <a:r>
                <a:rPr lang="zh-CN" altLang="en-US" sz="2800" b="1" dirty="0">
                  <a:solidFill>
                    <a:srgbClr val="8CBEE6"/>
                  </a:solidFill>
                  <a:latin typeface="Arial" panose="020B0604020202020204" pitchFamily="34" charset="0"/>
                  <a:cs typeface="Arial" panose="020B0604020202020204" pitchFamily="34" charset="0"/>
                  <a:sym typeface="+mn-ea"/>
                </a:rPr>
                <a:t>方向</a:t>
              </a:r>
              <a:endParaRPr lang="zh-CN" altLang="en-US" sz="2800" b="1" dirty="0">
                <a:solidFill>
                  <a:srgbClr val="8CBEE6"/>
                </a:solidFill>
                <a:latin typeface="Arial" panose="020B0604020202020204" pitchFamily="34" charset="0"/>
                <a:cs typeface="Arial" panose="020B0604020202020204" pitchFamily="34" charset="0"/>
                <a:sym typeface="+mn-ea"/>
              </a:endParaRPr>
            </a:p>
          </p:txBody>
        </p:sp>
        <p:sp>
          <p:nvSpPr>
            <p:cNvPr id="26" name="矩形 25"/>
            <p:cNvSpPr/>
            <p:nvPr>
              <p:custDataLst>
                <p:tags r:id="rId11"/>
              </p:custDataLst>
            </p:nvPr>
          </p:nvSpPr>
          <p:spPr>
            <a:xfrm flipV="1">
              <a:off x="0" y="1403"/>
              <a:ext cx="19200" cy="12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日期占位符 11"/>
          <p:cNvSpPr>
            <a:spLocks noGrp="1"/>
          </p:cNvSpPr>
          <p:nvPr>
            <p:ph type="dt" sz="half" idx="10"/>
          </p:nvPr>
        </p:nvSpPr>
        <p:spPr/>
        <p:txBody>
          <a:bodyPr/>
          <a:p>
            <a:fld id="{10DE6694-91EE-4B0C-9E3C-CED68B155AFF}" type="datetime1">
              <a:rPr lang="zh-CN" altLang="en-US" noProof="0" smtClean="0"/>
            </a:fld>
            <a:endParaRPr lang="en-US" noProof="0"/>
          </a:p>
        </p:txBody>
      </p:sp>
      <p:sp>
        <p:nvSpPr>
          <p:cNvPr id="13" name="页脚占位符 12"/>
          <p:cNvSpPr>
            <a:spLocks noGrp="1"/>
          </p:cNvSpPr>
          <p:nvPr>
            <p:ph type="ftr" sz="quarter" idx="11"/>
          </p:nvPr>
        </p:nvSpPr>
        <p:spPr/>
        <p:txBody>
          <a:bodyPr/>
          <a:p>
            <a:r>
              <a:rPr lang="en-US" noProof="0" smtClean="0"/>
              <a:t>Department VWA-DT  |  Hackathon Challenge Release  |  CSD-class</a:t>
            </a:r>
            <a:endParaRPr lang="en-US" noProof="0"/>
          </a:p>
        </p:txBody>
      </p:sp>
      <p:sp>
        <p:nvSpPr>
          <p:cNvPr id="14" name="灯片编号占位符 13"/>
          <p:cNvSpPr>
            <a:spLocks noGrp="1"/>
          </p:cNvSpPr>
          <p:nvPr>
            <p:ph type="sldNum" sz="quarter" idx="12"/>
          </p:nvPr>
        </p:nvSpPr>
        <p:spPr/>
        <p:txBody>
          <a:bodyPr/>
          <a:p>
            <a:fld id="{53C98C43-8B83-4748-BA0D-B0C90A16569F}" type="slidenum">
              <a:rPr lang="en-US" noProof="0" smtClean="0"/>
            </a:fld>
            <a:endParaRPr lang="en-US" noProof="0"/>
          </a:p>
        </p:txBody>
      </p:sp>
      <p:grpSp>
        <p:nvGrpSpPr>
          <p:cNvPr id="4" name="组合 3"/>
          <p:cNvGrpSpPr/>
          <p:nvPr/>
        </p:nvGrpSpPr>
        <p:grpSpPr>
          <a:xfrm>
            <a:off x="2996565" y="1970405"/>
            <a:ext cx="6449695" cy="2491740"/>
            <a:chOff x="4718" y="1967"/>
            <a:chExt cx="10157" cy="3924"/>
          </a:xfrm>
        </p:grpSpPr>
        <p:grpSp>
          <p:nvGrpSpPr>
            <p:cNvPr id="11" name="组合 10"/>
            <p:cNvGrpSpPr/>
            <p:nvPr/>
          </p:nvGrpSpPr>
          <p:grpSpPr>
            <a:xfrm>
              <a:off x="4718" y="2018"/>
              <a:ext cx="1228" cy="727"/>
              <a:chOff x="4141695" y="869577"/>
              <a:chExt cx="779929" cy="461665"/>
            </a:xfrm>
          </p:grpSpPr>
          <p:sp>
            <p:nvSpPr>
              <p:cNvPr id="6" name="平行四边形 5"/>
              <p:cNvSpPr/>
              <p:nvPr/>
            </p:nvSpPr>
            <p:spPr>
              <a:xfrm>
                <a:off x="4141695" y="869577"/>
                <a:ext cx="779929" cy="461665"/>
              </a:xfrm>
              <a:prstGeom prst="parallelogram">
                <a:avLst>
                  <a:gd name="adj" fmla="val 36111"/>
                </a:avLst>
              </a:prstGeom>
              <a:solidFill>
                <a:srgbClr val="2942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Arial" panose="020B0604020202020204" pitchFamily="34" charset="0"/>
                  <a:cs typeface="Arial" panose="020B0604020202020204" pitchFamily="34" charset="0"/>
                </a:endParaRPr>
              </a:p>
            </p:txBody>
          </p:sp>
          <p:sp>
            <p:nvSpPr>
              <p:cNvPr id="10" name="文本框 9"/>
              <p:cNvSpPr txBox="1"/>
              <p:nvPr/>
            </p:nvSpPr>
            <p:spPr>
              <a:xfrm>
                <a:off x="4141695" y="869577"/>
                <a:ext cx="779928" cy="460375"/>
              </a:xfrm>
              <a:prstGeom prst="rect">
                <a:avLst/>
              </a:prstGeom>
              <a:solidFill>
                <a:srgbClr val="66BAB4"/>
              </a:solidFill>
              <a:ln>
                <a:noFill/>
              </a:ln>
            </p:spPr>
            <p:txBody>
              <a:bodyPr wrap="square" rtlCol="0">
                <a:spAutoFit/>
              </a:bodyPr>
              <a:lstStyle/>
              <a:p>
                <a:pPr algn="ctr"/>
                <a:r>
                  <a:rPr lang="en-US" altLang="zh-CN" sz="2400" b="1" dirty="0">
                    <a:solidFill>
                      <a:schemeClr val="bg1"/>
                    </a:solidFill>
                    <a:latin typeface="Arial" panose="020B0604020202020204" pitchFamily="34" charset="0"/>
                    <a:cs typeface="Arial" panose="020B0604020202020204" pitchFamily="34" charset="0"/>
                  </a:rPr>
                  <a:t>01</a:t>
                </a:r>
                <a:endParaRPr lang="zh-CN" altLang="en-US" sz="2400" b="1" dirty="0">
                  <a:solidFill>
                    <a:schemeClr val="bg1"/>
                  </a:solidFill>
                  <a:latin typeface="Arial" panose="020B0604020202020204" pitchFamily="34" charset="0"/>
                  <a:cs typeface="Arial" panose="020B0604020202020204" pitchFamily="34" charset="0"/>
                </a:endParaRPr>
              </a:p>
            </p:txBody>
          </p:sp>
        </p:grpSp>
        <p:sp>
          <p:nvSpPr>
            <p:cNvPr id="21" name="文本框 20"/>
            <p:cNvSpPr txBox="1"/>
            <p:nvPr/>
          </p:nvSpPr>
          <p:spPr>
            <a:xfrm>
              <a:off x="7347" y="1967"/>
              <a:ext cx="6304" cy="822"/>
            </a:xfrm>
            <a:prstGeom prst="rect">
              <a:avLst/>
            </a:prstGeom>
            <a:noFill/>
          </p:spPr>
          <p:txBody>
            <a:bodyPr wrap="square" rtlCol="0">
              <a:spAutoFit/>
            </a:bodyPr>
            <a:lstStyle/>
            <a:p>
              <a:r>
                <a:rPr lang="en-US" altLang="zh-CN" sz="2800" b="1" dirty="0">
                  <a:solidFill>
                    <a:srgbClr val="8CBEE6"/>
                  </a:solidFill>
                  <a:latin typeface="Arial" panose="020B0604020202020204" pitchFamily="34" charset="0"/>
                  <a:cs typeface="Arial" panose="020B0604020202020204" pitchFamily="34" charset="0"/>
                  <a:sym typeface="+mn-ea"/>
                </a:rPr>
                <a:t>参赛项目背景</a:t>
              </a:r>
              <a:endParaRPr lang="en-US" altLang="zh-CN" sz="2800" b="1" dirty="0">
                <a:solidFill>
                  <a:srgbClr val="8CBEE6"/>
                </a:solidFill>
                <a:latin typeface="Arial" panose="020B0604020202020204" pitchFamily="34" charset="0"/>
                <a:cs typeface="Arial" panose="020B0604020202020204" pitchFamily="34" charset="0"/>
              </a:endParaRPr>
            </a:p>
          </p:txBody>
        </p:sp>
        <p:sp>
          <p:nvSpPr>
            <p:cNvPr id="22" name="文本框 21"/>
            <p:cNvSpPr txBox="1"/>
            <p:nvPr/>
          </p:nvSpPr>
          <p:spPr>
            <a:xfrm>
              <a:off x="7347" y="5069"/>
              <a:ext cx="7529" cy="822"/>
            </a:xfrm>
            <a:prstGeom prst="rect">
              <a:avLst/>
            </a:prstGeom>
            <a:noFill/>
          </p:spPr>
          <p:txBody>
            <a:bodyPr wrap="square" rtlCol="0">
              <a:spAutoFit/>
            </a:bodyPr>
            <a:lstStyle>
              <a:defPPr>
                <a:defRPr lang="zh-CN"/>
              </a:defPPr>
              <a:lvl1pPr>
                <a:defRPr sz="2800" b="1">
                  <a:solidFill>
                    <a:srgbClr val="002900"/>
                  </a:solidFill>
                  <a:latin typeface="Arial" panose="020B0604020202020204" pitchFamily="34" charset="0"/>
                  <a:cs typeface="Arial" panose="020B0604020202020204" pitchFamily="34" charset="0"/>
                </a:defRPr>
              </a:lvl1pPr>
            </a:lstStyle>
            <a:p>
              <a:pPr algn="l">
                <a:buClrTx/>
                <a:buSzTx/>
                <a:buFontTx/>
              </a:pPr>
              <a:r>
                <a:rPr lang="zh-CN" altLang="en-US" dirty="0">
                  <a:solidFill>
                    <a:srgbClr val="8CBEE6"/>
                  </a:solidFill>
                </a:rPr>
                <a:t>在汽车领域的应用</a:t>
              </a:r>
              <a:r>
                <a:rPr lang="zh-CN" altLang="en-US" dirty="0">
                  <a:solidFill>
                    <a:srgbClr val="8CBEE6"/>
                  </a:solidFill>
                </a:rPr>
                <a:t>实例</a:t>
              </a:r>
              <a:endParaRPr lang="zh-CN" altLang="en-US" dirty="0">
                <a:solidFill>
                  <a:srgbClr val="8CBEE6"/>
                </a:solidFill>
              </a:endParaRPr>
            </a:p>
          </p:txBody>
        </p:sp>
        <p:sp>
          <p:nvSpPr>
            <p:cNvPr id="31" name="文本框 30"/>
            <p:cNvSpPr txBox="1"/>
            <p:nvPr/>
          </p:nvSpPr>
          <p:spPr>
            <a:xfrm>
              <a:off x="7347" y="3518"/>
              <a:ext cx="5920" cy="822"/>
            </a:xfrm>
            <a:prstGeom prst="rect">
              <a:avLst/>
            </a:prstGeom>
            <a:noFill/>
          </p:spPr>
          <p:txBody>
            <a:bodyPr wrap="square" rtlCol="0">
              <a:spAutoFit/>
            </a:bodyPr>
            <a:lstStyle>
              <a:defPPr>
                <a:defRPr lang="zh-CN"/>
              </a:defPPr>
              <a:lvl1pPr>
                <a:defRPr sz="2800" b="1">
                  <a:solidFill>
                    <a:srgbClr val="002900"/>
                  </a:solidFill>
                  <a:latin typeface="Arial" panose="020B0604020202020204" pitchFamily="34" charset="0"/>
                  <a:cs typeface="Arial" panose="020B0604020202020204" pitchFamily="34" charset="0"/>
                </a:defRPr>
              </a:lvl1pPr>
            </a:lstStyle>
            <a:p>
              <a:pPr algn="l">
                <a:buClrTx/>
                <a:buSzTx/>
                <a:buFontTx/>
              </a:pPr>
              <a:r>
                <a:rPr lang="zh-CN" altLang="en-US" dirty="0">
                  <a:solidFill>
                    <a:srgbClr val="8CBEE6"/>
                  </a:solidFill>
                </a:rPr>
                <a:t>模型</a:t>
              </a:r>
              <a:r>
                <a:rPr lang="zh-CN" altLang="en-US" dirty="0">
                  <a:solidFill>
                    <a:srgbClr val="8CBEE6"/>
                  </a:solidFill>
                </a:rPr>
                <a:t>细节</a:t>
              </a:r>
              <a:endParaRPr lang="zh-CN" altLang="en-US" dirty="0">
                <a:solidFill>
                  <a:srgbClr val="8CBEE6"/>
                </a:solidFill>
              </a:endParaRPr>
            </a:p>
          </p:txBody>
        </p:sp>
        <p:grpSp>
          <p:nvGrpSpPr>
            <p:cNvPr id="41" name="组合 40"/>
            <p:cNvGrpSpPr/>
            <p:nvPr/>
          </p:nvGrpSpPr>
          <p:grpSpPr>
            <a:xfrm>
              <a:off x="4718" y="3568"/>
              <a:ext cx="1228" cy="727"/>
              <a:chOff x="4141695" y="869577"/>
              <a:chExt cx="779929" cy="461665"/>
            </a:xfrm>
          </p:grpSpPr>
          <p:sp>
            <p:nvSpPr>
              <p:cNvPr id="42" name="平行四边形 41"/>
              <p:cNvSpPr/>
              <p:nvPr/>
            </p:nvSpPr>
            <p:spPr>
              <a:xfrm>
                <a:off x="4141695" y="869577"/>
                <a:ext cx="779929" cy="461665"/>
              </a:xfrm>
              <a:prstGeom prst="parallelogram">
                <a:avLst>
                  <a:gd name="adj" fmla="val 36111"/>
                </a:avLst>
              </a:prstGeom>
              <a:solidFill>
                <a:srgbClr val="2942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Arial" panose="020B0604020202020204" pitchFamily="34" charset="0"/>
                  <a:cs typeface="Arial" panose="020B0604020202020204" pitchFamily="34" charset="0"/>
                </a:endParaRPr>
              </a:p>
            </p:txBody>
          </p:sp>
          <p:sp>
            <p:nvSpPr>
              <p:cNvPr id="43" name="文本框 42"/>
              <p:cNvSpPr txBox="1"/>
              <p:nvPr/>
            </p:nvSpPr>
            <p:spPr>
              <a:xfrm>
                <a:off x="4141695" y="869577"/>
                <a:ext cx="779928" cy="460375"/>
              </a:xfrm>
              <a:prstGeom prst="rect">
                <a:avLst/>
              </a:prstGeom>
              <a:solidFill>
                <a:srgbClr val="66BAB4"/>
              </a:solidFill>
              <a:ln>
                <a:noFill/>
              </a:ln>
            </p:spPr>
            <p:txBody>
              <a:bodyPr wrap="square" rtlCol="0">
                <a:spAutoFit/>
              </a:bodyPr>
              <a:lstStyle/>
              <a:p>
                <a:pPr algn="ctr"/>
                <a:r>
                  <a:rPr lang="en-US" altLang="zh-CN" sz="2400" b="1" dirty="0">
                    <a:solidFill>
                      <a:schemeClr val="bg1"/>
                    </a:solidFill>
                    <a:latin typeface="Arial" panose="020B0604020202020204" pitchFamily="34" charset="0"/>
                    <a:cs typeface="Arial" panose="020B0604020202020204" pitchFamily="34" charset="0"/>
                  </a:rPr>
                  <a:t>02</a:t>
                </a:r>
                <a:endParaRPr lang="zh-CN" altLang="en-US" sz="2400" b="1" dirty="0">
                  <a:solidFill>
                    <a:schemeClr val="bg1"/>
                  </a:solidFill>
                  <a:latin typeface="Arial" panose="020B0604020202020204" pitchFamily="34" charset="0"/>
                  <a:cs typeface="Arial" panose="020B0604020202020204" pitchFamily="34" charset="0"/>
                </a:endParaRPr>
              </a:p>
            </p:txBody>
          </p:sp>
        </p:grpSp>
        <p:grpSp>
          <p:nvGrpSpPr>
            <p:cNvPr id="44" name="组合 43"/>
            <p:cNvGrpSpPr/>
            <p:nvPr/>
          </p:nvGrpSpPr>
          <p:grpSpPr>
            <a:xfrm>
              <a:off x="4718" y="5118"/>
              <a:ext cx="1228" cy="727"/>
              <a:chOff x="4141695" y="869577"/>
              <a:chExt cx="779929" cy="461665"/>
            </a:xfrm>
          </p:grpSpPr>
          <p:sp>
            <p:nvSpPr>
              <p:cNvPr id="45" name="平行四边形 44"/>
              <p:cNvSpPr/>
              <p:nvPr/>
            </p:nvSpPr>
            <p:spPr>
              <a:xfrm>
                <a:off x="4141695" y="869577"/>
                <a:ext cx="779929" cy="461665"/>
              </a:xfrm>
              <a:prstGeom prst="parallelogram">
                <a:avLst>
                  <a:gd name="adj" fmla="val 36111"/>
                </a:avLst>
              </a:prstGeom>
              <a:solidFill>
                <a:srgbClr val="2942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Arial" panose="020B0604020202020204" pitchFamily="34" charset="0"/>
                  <a:cs typeface="Arial" panose="020B0604020202020204" pitchFamily="34" charset="0"/>
                </a:endParaRPr>
              </a:p>
            </p:txBody>
          </p:sp>
          <p:sp>
            <p:nvSpPr>
              <p:cNvPr id="46" name="文本框 45"/>
              <p:cNvSpPr txBox="1"/>
              <p:nvPr/>
            </p:nvSpPr>
            <p:spPr>
              <a:xfrm>
                <a:off x="4141695" y="869577"/>
                <a:ext cx="779928" cy="460375"/>
              </a:xfrm>
              <a:prstGeom prst="rect">
                <a:avLst/>
              </a:prstGeom>
              <a:solidFill>
                <a:srgbClr val="99D1CD"/>
              </a:solidFill>
              <a:ln>
                <a:noFill/>
              </a:ln>
            </p:spPr>
            <p:txBody>
              <a:bodyPr wrap="square" rtlCol="0">
                <a:spAutoFit/>
              </a:bodyPr>
              <a:lstStyle/>
              <a:p>
                <a:pPr algn="ctr"/>
                <a:r>
                  <a:rPr lang="en-US" altLang="zh-CN" sz="2400" b="1" dirty="0">
                    <a:solidFill>
                      <a:schemeClr val="bg1"/>
                    </a:solidFill>
                    <a:latin typeface="Arial" panose="020B0604020202020204" pitchFamily="34" charset="0"/>
                    <a:cs typeface="Arial" panose="020B0604020202020204" pitchFamily="34" charset="0"/>
                  </a:rPr>
                  <a:t>03</a:t>
                </a:r>
                <a:endParaRPr lang="zh-CN" altLang="en-US" sz="2400" b="1" dirty="0">
                  <a:solidFill>
                    <a:schemeClr val="bg1"/>
                  </a:solidFill>
                  <a:latin typeface="Arial" panose="020B0604020202020204" pitchFamily="34" charset="0"/>
                  <a:cs typeface="Arial" panose="020B0604020202020204" pitchFamily="34" charset="0"/>
                </a:endParaRPr>
              </a:p>
            </p:txBody>
          </p:sp>
        </p:gr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日期占位符 11"/>
          <p:cNvSpPr>
            <a:spLocks noGrp="1"/>
          </p:cNvSpPr>
          <p:nvPr>
            <p:ph type="dt" sz="half" idx="10"/>
          </p:nvPr>
        </p:nvSpPr>
        <p:spPr/>
        <p:txBody>
          <a:bodyPr/>
          <a:p>
            <a:fld id="{10DE6694-91EE-4B0C-9E3C-CED68B155AFF}" type="datetime1">
              <a:rPr lang="zh-CN" altLang="en-US" noProof="0" smtClean="0"/>
            </a:fld>
            <a:endParaRPr lang="en-US" noProof="0"/>
          </a:p>
        </p:txBody>
      </p:sp>
      <p:sp>
        <p:nvSpPr>
          <p:cNvPr id="13" name="页脚占位符 12"/>
          <p:cNvSpPr>
            <a:spLocks noGrp="1"/>
          </p:cNvSpPr>
          <p:nvPr>
            <p:ph type="ftr" sz="quarter" idx="11"/>
          </p:nvPr>
        </p:nvSpPr>
        <p:spPr/>
        <p:txBody>
          <a:bodyPr/>
          <a:p>
            <a:r>
              <a:rPr lang="en-US" noProof="0" smtClean="0"/>
              <a:t>Department VWA-DT  |  Hackathon Challenge Release  |  CSD-class</a:t>
            </a:r>
            <a:endParaRPr lang="en-US" noProof="0"/>
          </a:p>
        </p:txBody>
      </p:sp>
      <p:sp>
        <p:nvSpPr>
          <p:cNvPr id="14" name="灯片编号占位符 13"/>
          <p:cNvSpPr>
            <a:spLocks noGrp="1"/>
          </p:cNvSpPr>
          <p:nvPr>
            <p:ph type="sldNum" sz="quarter" idx="12"/>
          </p:nvPr>
        </p:nvSpPr>
        <p:spPr/>
        <p:txBody>
          <a:bodyPr/>
          <a:p>
            <a:fld id="{53C98C43-8B83-4748-BA0D-B0C90A16569F}" type="slidenum">
              <a:rPr lang="en-US" noProof="0" smtClean="0"/>
            </a:fld>
            <a:endParaRPr lang="en-US" noProof="0"/>
          </a:p>
        </p:txBody>
      </p:sp>
      <p:grpSp>
        <p:nvGrpSpPr>
          <p:cNvPr id="9" name="组合 8"/>
          <p:cNvGrpSpPr/>
          <p:nvPr/>
        </p:nvGrpSpPr>
        <p:grpSpPr>
          <a:xfrm>
            <a:off x="3500120" y="3168015"/>
            <a:ext cx="5672455" cy="521970"/>
            <a:chOff x="4718" y="4989"/>
            <a:chExt cx="8933" cy="822"/>
          </a:xfrm>
        </p:grpSpPr>
        <p:grpSp>
          <p:nvGrpSpPr>
            <p:cNvPr id="3" name="组合 2"/>
            <p:cNvGrpSpPr/>
            <p:nvPr/>
          </p:nvGrpSpPr>
          <p:grpSpPr>
            <a:xfrm>
              <a:off x="4718" y="5040"/>
              <a:ext cx="1228" cy="727"/>
              <a:chOff x="4141695" y="869577"/>
              <a:chExt cx="779929" cy="461665"/>
            </a:xfrm>
          </p:grpSpPr>
          <p:sp>
            <p:nvSpPr>
              <p:cNvPr id="4" name="平行四边形 3"/>
              <p:cNvSpPr/>
              <p:nvPr>
                <p:custDataLst>
                  <p:tags r:id="rId1"/>
                </p:custDataLst>
              </p:nvPr>
            </p:nvSpPr>
            <p:spPr>
              <a:xfrm>
                <a:off x="4141695" y="869577"/>
                <a:ext cx="779929" cy="461665"/>
              </a:xfrm>
              <a:prstGeom prst="parallelogram">
                <a:avLst>
                  <a:gd name="adj" fmla="val 36111"/>
                </a:avLst>
              </a:prstGeom>
              <a:solidFill>
                <a:srgbClr val="2942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sz="2000" b="1" dirty="0">
                  <a:latin typeface="Arial" panose="020B0604020202020204" pitchFamily="34" charset="0"/>
                  <a:cs typeface="Arial" panose="020B0604020202020204" pitchFamily="34" charset="0"/>
                </a:endParaRPr>
              </a:p>
            </p:txBody>
          </p:sp>
          <p:sp>
            <p:nvSpPr>
              <p:cNvPr id="5" name="文本框 4"/>
              <p:cNvSpPr txBox="1"/>
              <p:nvPr>
                <p:custDataLst>
                  <p:tags r:id="rId2"/>
                </p:custDataLst>
              </p:nvPr>
            </p:nvSpPr>
            <p:spPr>
              <a:xfrm>
                <a:off x="4141695" y="869577"/>
                <a:ext cx="779928" cy="460375"/>
              </a:xfrm>
              <a:prstGeom prst="rect">
                <a:avLst/>
              </a:prstGeom>
              <a:solidFill>
                <a:srgbClr val="66BAB4"/>
              </a:solidFill>
              <a:ln>
                <a:noFill/>
              </a:ln>
            </p:spPr>
            <p:txBody>
              <a:bodyPr wrap="square" rtlCol="0">
                <a:spAutoFit/>
              </a:bodyPr>
              <a:p>
                <a:pPr algn="ctr"/>
                <a:r>
                  <a:rPr lang="en-US" altLang="zh-CN" sz="2400" b="1" dirty="0">
                    <a:solidFill>
                      <a:schemeClr val="bg1"/>
                    </a:solidFill>
                    <a:latin typeface="Arial" panose="020B0604020202020204" pitchFamily="34" charset="0"/>
                    <a:cs typeface="Arial" panose="020B0604020202020204" pitchFamily="34" charset="0"/>
                  </a:rPr>
                  <a:t>01</a:t>
                </a:r>
                <a:endParaRPr lang="zh-CN" altLang="en-US" sz="2400" b="1" dirty="0">
                  <a:solidFill>
                    <a:schemeClr val="bg1"/>
                  </a:solidFill>
                  <a:latin typeface="Arial" panose="020B0604020202020204" pitchFamily="34" charset="0"/>
                  <a:cs typeface="Arial" panose="020B0604020202020204" pitchFamily="34" charset="0"/>
                </a:endParaRPr>
              </a:p>
            </p:txBody>
          </p:sp>
        </p:grpSp>
        <p:sp>
          <p:nvSpPr>
            <p:cNvPr id="7" name="文本框 6"/>
            <p:cNvSpPr txBox="1"/>
            <p:nvPr>
              <p:custDataLst>
                <p:tags r:id="rId3"/>
              </p:custDataLst>
            </p:nvPr>
          </p:nvSpPr>
          <p:spPr>
            <a:xfrm>
              <a:off x="7347" y="4989"/>
              <a:ext cx="6304" cy="822"/>
            </a:xfrm>
            <a:prstGeom prst="rect">
              <a:avLst/>
            </a:prstGeom>
            <a:noFill/>
          </p:spPr>
          <p:txBody>
            <a:bodyPr wrap="square" rtlCol="0">
              <a:spAutoFit/>
            </a:bodyPr>
            <a:p>
              <a:r>
                <a:rPr lang="en-US" altLang="zh-CN" sz="2800" b="1" dirty="0">
                  <a:solidFill>
                    <a:srgbClr val="8CBEE6"/>
                  </a:solidFill>
                  <a:latin typeface="Arial" panose="020B0604020202020204" pitchFamily="34" charset="0"/>
                  <a:cs typeface="Arial" panose="020B0604020202020204" pitchFamily="34" charset="0"/>
                  <a:sym typeface="+mn-ea"/>
                </a:rPr>
                <a:t>参赛项目背景</a:t>
              </a:r>
              <a:endParaRPr lang="en-US" altLang="zh-CN" sz="2800" b="1" dirty="0">
                <a:solidFill>
                  <a:srgbClr val="8CBEE6"/>
                </a:solidFill>
                <a:latin typeface="Arial" panose="020B0604020202020204" pitchFamily="34" charset="0"/>
                <a:cs typeface="Arial" panose="020B0604020202020204" pitchFamily="34" charset="0"/>
              </a:endParaRPr>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16" name="Rectangle 20"/>
          <p:cNvSpPr/>
          <p:nvPr>
            <p:custDataLst>
              <p:tags r:id="rId4"/>
            </p:custDataLst>
          </p:nvPr>
        </p:nvSpPr>
        <p:spPr>
          <a:xfrm>
            <a:off x="495168" y="1108676"/>
            <a:ext cx="10978330" cy="1004570"/>
          </a:xfrm>
          <a:prstGeom prst="rect">
            <a:avLst/>
          </a:prstGeom>
        </p:spPr>
        <p:txBody>
          <a:bodyPr wrap="square">
            <a:spAutoFit/>
          </a:bodyPr>
          <a:p>
            <a:pPr>
              <a:lnSpc>
                <a:spcPct val="110000"/>
              </a:lnSpc>
              <a:spcAft>
                <a:spcPts val="450"/>
              </a:spcAft>
            </a:pPr>
            <a:r>
              <a:rPr lang="zh-CN">
                <a:solidFill>
                  <a:schemeClr val="accent2">
                    <a:lumMod val="60000"/>
                    <a:lumOff val="40000"/>
                  </a:schemeClr>
                </a:solidFill>
                <a:latin typeface="VW Text" panose="020B0504040200000003" pitchFamily="34" charset="0"/>
                <a:sym typeface="+mn-ea"/>
              </a:rPr>
              <a:t>汽车的</a:t>
            </a:r>
            <a:r>
              <a:rPr>
                <a:solidFill>
                  <a:schemeClr val="accent2">
                    <a:lumMod val="60000"/>
                    <a:lumOff val="40000"/>
                  </a:schemeClr>
                </a:solidFill>
                <a:latin typeface="VW Text" panose="020B0504040200000003" pitchFamily="34" charset="0"/>
                <a:sym typeface="+mn-ea"/>
              </a:rPr>
              <a:t>环境感知</a:t>
            </a:r>
            <a:r>
              <a:rPr>
                <a:latin typeface="VW Text" panose="020B0504040200000003" pitchFamily="34" charset="0"/>
                <a:sym typeface="+mn-ea"/>
              </a:rPr>
              <a:t>主要是</a:t>
            </a:r>
            <a:r>
              <a:rPr lang="zh-CN">
                <a:latin typeface="VW Text" panose="020B0504040200000003" pitchFamily="34" charset="0"/>
                <a:sym typeface="+mn-ea"/>
              </a:rPr>
              <a:t>指</a:t>
            </a:r>
            <a:r>
              <a:rPr>
                <a:latin typeface="VW Text" panose="020B0504040200000003" pitchFamily="34" charset="0"/>
                <a:sym typeface="+mn-ea"/>
              </a:rPr>
              <a:t>利用激光雷达、毫米波雷达、超声波雷达以及车载高清摄像头等传感器获取汽车行驶过程中的外界环境信息</a:t>
            </a:r>
            <a:r>
              <a:rPr lang="zh-CN">
                <a:latin typeface="VW Text" panose="020B0504040200000003" pitchFamily="34" charset="0"/>
                <a:ea typeface="宋体" panose="02010600030101010101" pitchFamily="2" charset="-122"/>
                <a:sym typeface="+mn-ea"/>
              </a:rPr>
              <a:t>。除了这些常见的传感器设备，本组参赛的</a:t>
            </a:r>
            <a:r>
              <a:rPr lang="en-US" altLang="zh-CN">
                <a:latin typeface="VW Text" panose="020B0504040200000003" pitchFamily="34" charset="0"/>
                <a:ea typeface="宋体" panose="02010600030101010101" pitchFamily="2" charset="-122"/>
                <a:sym typeface="+mn-ea"/>
              </a:rPr>
              <a:t>idea</a:t>
            </a:r>
            <a:r>
              <a:rPr lang="zh-CN" altLang="en-US">
                <a:latin typeface="VW Text" panose="020B0504040200000003" pitchFamily="34" charset="0"/>
                <a:ea typeface="宋体" panose="02010600030101010101" pitchFamily="2" charset="-122"/>
                <a:sym typeface="+mn-ea"/>
              </a:rPr>
              <a:t>在于使用人工智能技术探索</a:t>
            </a:r>
            <a:r>
              <a:rPr lang="en-US" altLang="zh-CN" b="1">
                <a:solidFill>
                  <a:srgbClr val="DA0C1F"/>
                </a:solidFill>
                <a:latin typeface="VW Text" panose="020B0504040200000003" pitchFamily="34" charset="0"/>
                <a:ea typeface="宋体" panose="02010600030101010101" pitchFamily="2" charset="-122"/>
                <a:sym typeface="+mn-ea"/>
              </a:rPr>
              <a:t>WiFi</a:t>
            </a:r>
            <a:r>
              <a:rPr lang="zh-CN" altLang="en-US" b="1">
                <a:solidFill>
                  <a:srgbClr val="DA0C1F"/>
                </a:solidFill>
                <a:latin typeface="VW Text" panose="020B0504040200000003" pitchFamily="34" charset="0"/>
                <a:ea typeface="宋体" panose="02010600030101010101" pitchFamily="2" charset="-122"/>
                <a:sym typeface="+mn-ea"/>
              </a:rPr>
              <a:t>信号</a:t>
            </a:r>
            <a:r>
              <a:rPr lang="zh-CN" altLang="en-US">
                <a:latin typeface="VW Text" panose="020B0504040200000003" pitchFamily="34" charset="0"/>
                <a:ea typeface="宋体" panose="02010600030101010101" pitchFamily="2" charset="-122"/>
                <a:sym typeface="+mn-ea"/>
              </a:rPr>
              <a:t>在</a:t>
            </a:r>
            <a:r>
              <a:rPr>
                <a:latin typeface="VW Text" panose="020B0504040200000003" pitchFamily="34" charset="0"/>
                <a:sym typeface="+mn-ea"/>
              </a:rPr>
              <a:t>数字工厂</a:t>
            </a:r>
            <a:r>
              <a:rPr>
                <a:latin typeface="VW Text" panose="020B0504040200000003" pitchFamily="34" charset="0"/>
                <a:sym typeface="+mn-ea"/>
              </a:rPr>
              <a:t>与自动驾驶领域可能的应用。</a:t>
            </a:r>
            <a:endParaRPr>
              <a:latin typeface="VW Text" panose="020B0504040200000003" pitchFamily="34" charset="0"/>
              <a:sym typeface="+mn-ea"/>
            </a:endParaRPr>
          </a:p>
        </p:txBody>
      </p:sp>
      <p:grpSp>
        <p:nvGrpSpPr>
          <p:cNvPr id="2" name="组合 1"/>
          <p:cNvGrpSpPr/>
          <p:nvPr/>
        </p:nvGrpSpPr>
        <p:grpSpPr>
          <a:xfrm>
            <a:off x="1365250" y="2254885"/>
            <a:ext cx="9703435" cy="3869690"/>
            <a:chOff x="2803" y="4072"/>
            <a:chExt cx="15281" cy="6094"/>
          </a:xfrm>
        </p:grpSpPr>
        <p:sp>
          <p:nvSpPr>
            <p:cNvPr id="40" name="椭圆 39"/>
            <p:cNvSpPr/>
            <p:nvPr/>
          </p:nvSpPr>
          <p:spPr>
            <a:xfrm>
              <a:off x="6424" y="4440"/>
              <a:ext cx="5509" cy="5327"/>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nvGrpSpPr>
            <p:cNvPr id="28" name="组合 27"/>
            <p:cNvGrpSpPr/>
            <p:nvPr/>
          </p:nvGrpSpPr>
          <p:grpSpPr>
            <a:xfrm>
              <a:off x="3414" y="7586"/>
              <a:ext cx="2120" cy="2581"/>
              <a:chOff x="769" y="5207"/>
              <a:chExt cx="2881" cy="3554"/>
            </a:xfrm>
          </p:grpSpPr>
          <p:grpSp>
            <p:nvGrpSpPr>
              <p:cNvPr id="7" name="组合 6"/>
              <p:cNvGrpSpPr/>
              <p:nvPr/>
            </p:nvGrpSpPr>
            <p:grpSpPr>
              <a:xfrm>
                <a:off x="769" y="5207"/>
                <a:ext cx="2881" cy="2518"/>
                <a:chOff x="2638" y="4725"/>
                <a:chExt cx="4706" cy="3890"/>
              </a:xfrm>
            </p:grpSpPr>
            <p:sp>
              <p:nvSpPr>
                <p:cNvPr id="3" name="矩形 2"/>
                <p:cNvSpPr/>
                <p:nvPr/>
              </p:nvSpPr>
              <p:spPr>
                <a:xfrm>
                  <a:off x="2638" y="4725"/>
                  <a:ext cx="4706" cy="3891"/>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pic>
              <p:nvPicPr>
                <p:cNvPr id="101" name="图片 100"/>
                <p:cNvPicPr/>
                <p:nvPr/>
              </p:nvPicPr>
              <p:blipFill>
                <a:blip r:embed="rId5"/>
                <a:stretch>
                  <a:fillRect/>
                </a:stretch>
              </p:blipFill>
              <p:spPr>
                <a:xfrm>
                  <a:off x="3443" y="5243"/>
                  <a:ext cx="3096" cy="2855"/>
                </a:xfrm>
                <a:prstGeom prst="rect">
                  <a:avLst/>
                </a:prstGeom>
                <a:noFill/>
                <a:ln w="9525">
                  <a:noFill/>
                </a:ln>
              </p:spPr>
            </p:pic>
          </p:grpSp>
          <p:sp>
            <p:nvSpPr>
              <p:cNvPr id="8" name="文本框 7"/>
              <p:cNvSpPr txBox="1"/>
              <p:nvPr/>
            </p:nvSpPr>
            <p:spPr>
              <a:xfrm>
                <a:off x="1439" y="8102"/>
                <a:ext cx="1965" cy="659"/>
              </a:xfrm>
              <a:prstGeom prst="rect">
                <a:avLst/>
              </a:prstGeom>
              <a:noFill/>
            </p:spPr>
            <p:txBody>
              <a:bodyPr wrap="square" lIns="0" tIns="0" rIns="0" bIns="0" rtlCol="0" anchor="t">
                <a:spAutoFit/>
              </a:bodyPr>
              <a:p>
                <a:pPr>
                  <a:lnSpc>
                    <a:spcPct val="110000"/>
                  </a:lnSpc>
                  <a:spcAft>
                    <a:spcPts val="450"/>
                  </a:spcAft>
                </a:pPr>
                <a:r>
                  <a:rPr>
                    <a:latin typeface="VW Text" panose="020B0504040200000003" pitchFamily="34" charset="0"/>
                    <a:sym typeface="+mn-ea"/>
                  </a:rPr>
                  <a:t>摄像头</a:t>
                </a:r>
                <a:endParaRPr lang="zh-CN" altLang="en-US" sz="1400" dirty="0" err="1" smtClean="0">
                  <a:solidFill>
                    <a:schemeClr val="tx2"/>
                  </a:solidFill>
                  <a:latin typeface="VW Text" panose="020B0504040200000003" pitchFamily="34" charset="0"/>
                  <a:sym typeface="+mn-ea"/>
                </a:endParaRPr>
              </a:p>
            </p:txBody>
          </p:sp>
        </p:grpSp>
        <p:grpSp>
          <p:nvGrpSpPr>
            <p:cNvPr id="27" name="组合 26"/>
            <p:cNvGrpSpPr/>
            <p:nvPr/>
          </p:nvGrpSpPr>
          <p:grpSpPr>
            <a:xfrm>
              <a:off x="3102" y="4274"/>
              <a:ext cx="2009" cy="2094"/>
              <a:chOff x="1172" y="2028"/>
              <a:chExt cx="3184" cy="3402"/>
            </a:xfrm>
          </p:grpSpPr>
          <p:sp>
            <p:nvSpPr>
              <p:cNvPr id="17" name="矩形 16"/>
              <p:cNvSpPr/>
              <p:nvPr>
                <p:custDataLst>
                  <p:tags r:id="rId6"/>
                </p:custDataLst>
              </p:nvPr>
            </p:nvSpPr>
            <p:spPr>
              <a:xfrm>
                <a:off x="1450" y="2028"/>
                <a:ext cx="2881" cy="2519"/>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pic>
            <p:nvPicPr>
              <p:cNvPr id="14" name="图片 13"/>
              <p:cNvPicPr>
                <a:picLocks noChangeAspect="1"/>
              </p:cNvPicPr>
              <p:nvPr>
                <p:custDataLst>
                  <p:tags r:id="rId7"/>
                </p:custDataLst>
              </p:nvPr>
            </p:nvPicPr>
            <p:blipFill>
              <a:blip r:embed="rId8"/>
              <a:stretch>
                <a:fillRect/>
              </a:stretch>
            </p:blipFill>
            <p:spPr>
              <a:xfrm>
                <a:off x="1869" y="2361"/>
                <a:ext cx="1954" cy="1954"/>
              </a:xfrm>
              <a:prstGeom prst="rect">
                <a:avLst/>
              </a:prstGeom>
            </p:spPr>
          </p:pic>
          <p:sp>
            <p:nvSpPr>
              <p:cNvPr id="18" name="文本框 17"/>
              <p:cNvSpPr txBox="1"/>
              <p:nvPr/>
            </p:nvSpPr>
            <p:spPr>
              <a:xfrm>
                <a:off x="1172" y="4817"/>
                <a:ext cx="3184" cy="613"/>
              </a:xfrm>
              <a:prstGeom prst="rect">
                <a:avLst/>
              </a:prstGeom>
              <a:noFill/>
            </p:spPr>
            <p:txBody>
              <a:bodyPr wrap="square" lIns="0" tIns="0" rIns="0" bIns="0" rtlCol="0">
                <a:noAutofit/>
              </a:bodyPr>
              <a:p>
                <a:pPr algn="ctr"/>
                <a:r>
                  <a:rPr lang="zh-CN" sz="1800">
                    <a:latin typeface="VW Text" panose="020B0504040200000003" pitchFamily="34" charset="0"/>
                    <a:sym typeface="+mn-ea"/>
                  </a:rPr>
                  <a:t>毫米波</a:t>
                </a:r>
                <a:r>
                  <a:rPr sz="1800">
                    <a:latin typeface="VW Text" panose="020B0504040200000003" pitchFamily="34" charset="0"/>
                    <a:sym typeface="+mn-ea"/>
                  </a:rPr>
                  <a:t>雷达</a:t>
                </a:r>
                <a:endParaRPr sz="1800">
                  <a:latin typeface="VW Text" panose="020B0504040200000003" pitchFamily="34" charset="0"/>
                  <a:sym typeface="+mn-ea"/>
                </a:endParaRPr>
              </a:p>
              <a:p>
                <a:pPr algn="ctr"/>
                <a:endParaRPr sz="1800">
                  <a:latin typeface="VW Text" panose="020B0504040200000003" pitchFamily="34" charset="0"/>
                </a:endParaRPr>
              </a:p>
            </p:txBody>
          </p:sp>
        </p:grpSp>
        <p:grpSp>
          <p:nvGrpSpPr>
            <p:cNvPr id="29" name="组合 28"/>
            <p:cNvGrpSpPr/>
            <p:nvPr/>
          </p:nvGrpSpPr>
          <p:grpSpPr>
            <a:xfrm>
              <a:off x="12822" y="4072"/>
              <a:ext cx="2756" cy="2151"/>
              <a:chOff x="8289" y="5207"/>
              <a:chExt cx="4233" cy="3530"/>
            </a:xfrm>
          </p:grpSpPr>
          <p:sp>
            <p:nvSpPr>
              <p:cNvPr id="24" name="矩形 23"/>
              <p:cNvSpPr/>
              <p:nvPr>
                <p:custDataLst>
                  <p:tags r:id="rId9"/>
                </p:custDataLst>
              </p:nvPr>
            </p:nvSpPr>
            <p:spPr>
              <a:xfrm>
                <a:off x="8913" y="5207"/>
                <a:ext cx="2881" cy="2519"/>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pic>
            <p:nvPicPr>
              <p:cNvPr id="23" name="图片 22"/>
              <p:cNvPicPr>
                <a:picLocks noChangeAspect="1"/>
              </p:cNvPicPr>
              <p:nvPr>
                <p:custDataLst>
                  <p:tags r:id="rId10"/>
                </p:custDataLst>
              </p:nvPr>
            </p:nvPicPr>
            <p:blipFill>
              <a:blip r:embed="rId11"/>
              <a:stretch>
                <a:fillRect/>
              </a:stretch>
            </p:blipFill>
            <p:spPr>
              <a:xfrm>
                <a:off x="9457" y="5436"/>
                <a:ext cx="1898" cy="1898"/>
              </a:xfrm>
              <a:prstGeom prst="rect">
                <a:avLst/>
              </a:prstGeom>
            </p:spPr>
          </p:pic>
          <p:sp>
            <p:nvSpPr>
              <p:cNvPr id="26" name="文本框 25"/>
              <p:cNvSpPr txBox="1"/>
              <p:nvPr>
                <p:custDataLst>
                  <p:tags r:id="rId12"/>
                </p:custDataLst>
              </p:nvPr>
            </p:nvSpPr>
            <p:spPr>
              <a:xfrm>
                <a:off x="8289" y="8043"/>
                <a:ext cx="4233" cy="694"/>
              </a:xfrm>
              <a:prstGeom prst="rect">
                <a:avLst/>
              </a:prstGeom>
              <a:noFill/>
            </p:spPr>
            <p:txBody>
              <a:bodyPr wrap="square" lIns="0" tIns="0" rIns="0" bIns="0" rtlCol="0">
                <a:noAutofit/>
              </a:bodyPr>
              <a:p>
                <a:pPr algn="ctr"/>
                <a:r>
                  <a:rPr sz="1800">
                    <a:latin typeface="VW Text" panose="020B0504040200000003" pitchFamily="34" charset="0"/>
                    <a:sym typeface="+mn-ea"/>
                  </a:rPr>
                  <a:t>激光雷达</a:t>
                </a:r>
                <a:endParaRPr sz="1800">
                  <a:latin typeface="VW Text" panose="020B0504040200000003" pitchFamily="34" charset="0"/>
                  <a:sym typeface="+mn-ea"/>
                </a:endParaRPr>
              </a:p>
              <a:p>
                <a:pPr algn="ctr"/>
                <a:endParaRPr sz="1800">
                  <a:latin typeface="VW Text" panose="020B0504040200000003" pitchFamily="34" charset="0"/>
                </a:endParaRPr>
              </a:p>
            </p:txBody>
          </p:sp>
        </p:grpSp>
        <p:grpSp>
          <p:nvGrpSpPr>
            <p:cNvPr id="38" name="组合 37"/>
            <p:cNvGrpSpPr/>
            <p:nvPr/>
          </p:nvGrpSpPr>
          <p:grpSpPr>
            <a:xfrm>
              <a:off x="12967" y="7296"/>
              <a:ext cx="2363" cy="2315"/>
              <a:chOff x="10894" y="5436"/>
              <a:chExt cx="3529" cy="3330"/>
            </a:xfrm>
          </p:grpSpPr>
          <p:grpSp>
            <p:nvGrpSpPr>
              <p:cNvPr id="34" name="组合 33"/>
              <p:cNvGrpSpPr/>
              <p:nvPr/>
            </p:nvGrpSpPr>
            <p:grpSpPr>
              <a:xfrm>
                <a:off x="10894" y="5436"/>
                <a:ext cx="3529" cy="3330"/>
                <a:chOff x="8588" y="5207"/>
                <a:chExt cx="3529" cy="3330"/>
              </a:xfrm>
            </p:grpSpPr>
            <p:sp>
              <p:nvSpPr>
                <p:cNvPr id="35" name="矩形 34"/>
                <p:cNvSpPr/>
                <p:nvPr>
                  <p:custDataLst>
                    <p:tags r:id="rId13"/>
                  </p:custDataLst>
                </p:nvPr>
              </p:nvSpPr>
              <p:spPr>
                <a:xfrm>
                  <a:off x="8913" y="5207"/>
                  <a:ext cx="2881" cy="2519"/>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sp>
              <p:nvSpPr>
                <p:cNvPr id="37" name="文本框 36"/>
                <p:cNvSpPr txBox="1"/>
                <p:nvPr>
                  <p:custDataLst>
                    <p:tags r:id="rId14"/>
                  </p:custDataLst>
                </p:nvPr>
              </p:nvSpPr>
              <p:spPr>
                <a:xfrm>
                  <a:off x="8588" y="8000"/>
                  <a:ext cx="3529" cy="537"/>
                </a:xfrm>
                <a:prstGeom prst="rect">
                  <a:avLst/>
                </a:prstGeom>
                <a:noFill/>
              </p:spPr>
              <p:txBody>
                <a:bodyPr wrap="square" lIns="0" tIns="0" rIns="0" bIns="0" rtlCol="0">
                  <a:noAutofit/>
                </a:bodyPr>
                <a:p>
                  <a:pPr algn="ctr"/>
                  <a:r>
                    <a:rPr lang="zh-CN" sz="1800">
                      <a:latin typeface="VW Text" panose="020B0504040200000003" pitchFamily="34" charset="0"/>
                      <a:sym typeface="+mn-ea"/>
                    </a:rPr>
                    <a:t>超声波</a:t>
                  </a:r>
                  <a:r>
                    <a:rPr sz="1800">
                      <a:latin typeface="VW Text" panose="020B0504040200000003" pitchFamily="34" charset="0"/>
                      <a:sym typeface="+mn-ea"/>
                    </a:rPr>
                    <a:t>雷达</a:t>
                  </a:r>
                  <a:endParaRPr sz="1800">
                    <a:latin typeface="VW Text" panose="020B0504040200000003" pitchFamily="34" charset="0"/>
                    <a:sym typeface="+mn-ea"/>
                  </a:endParaRPr>
                </a:p>
                <a:p>
                  <a:pPr algn="ctr"/>
                  <a:endParaRPr sz="1800">
                    <a:latin typeface="VW Text" panose="020B0504040200000003" pitchFamily="34" charset="0"/>
                  </a:endParaRPr>
                </a:p>
              </p:txBody>
            </p:sp>
          </p:grpSp>
          <p:pic>
            <p:nvPicPr>
              <p:cNvPr id="31" name="图片 30"/>
              <p:cNvPicPr>
                <a:picLocks noChangeAspect="1"/>
              </p:cNvPicPr>
              <p:nvPr>
                <p:custDataLst>
                  <p:tags r:id="rId15"/>
                </p:custDataLst>
              </p:nvPr>
            </p:nvPicPr>
            <p:blipFill>
              <a:blip r:embed="rId16"/>
              <a:stretch>
                <a:fillRect/>
              </a:stretch>
            </p:blipFill>
            <p:spPr>
              <a:xfrm>
                <a:off x="11693" y="5775"/>
                <a:ext cx="1841" cy="1841"/>
              </a:xfrm>
              <a:prstGeom prst="rect">
                <a:avLst/>
              </a:prstGeom>
            </p:spPr>
          </p:pic>
        </p:grpSp>
        <p:sp>
          <p:nvSpPr>
            <p:cNvPr id="39" name="椭圆 38"/>
            <p:cNvSpPr/>
            <p:nvPr/>
          </p:nvSpPr>
          <p:spPr>
            <a:xfrm>
              <a:off x="6536" y="4562"/>
              <a:ext cx="5285" cy="5082"/>
            </a:xfrm>
            <a:prstGeom prst="ellipse">
              <a:avLst/>
            </a:prstGeom>
            <a:blipFill rotWithShape="1">
              <a:blip r:embed="rId17">
                <a:alphaModFix amt="92000"/>
              </a:blip>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nvGrpSpPr>
            <p:cNvPr id="45" name="组合 44"/>
            <p:cNvGrpSpPr/>
            <p:nvPr/>
          </p:nvGrpSpPr>
          <p:grpSpPr>
            <a:xfrm>
              <a:off x="2803" y="5848"/>
              <a:ext cx="3718" cy="635"/>
              <a:chOff x="3592" y="4670"/>
              <a:chExt cx="3718" cy="635"/>
            </a:xfrm>
          </p:grpSpPr>
          <p:cxnSp>
            <p:nvCxnSpPr>
              <p:cNvPr id="42" name="直接连接符 41"/>
              <p:cNvCxnSpPr>
                <a:stCxn id="39" idx="1"/>
              </p:cNvCxnSpPr>
              <p:nvPr/>
            </p:nvCxnSpPr>
            <p:spPr>
              <a:xfrm flipH="1" flipV="1">
                <a:off x="6794" y="4755"/>
                <a:ext cx="516" cy="551"/>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43" name="直接连接符 42"/>
              <p:cNvCxnSpPr/>
              <p:nvPr/>
            </p:nvCxnSpPr>
            <p:spPr>
              <a:xfrm flipH="1" flipV="1">
                <a:off x="3655" y="4743"/>
                <a:ext cx="3151" cy="12"/>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44" name="椭圆 43"/>
              <p:cNvSpPr/>
              <p:nvPr/>
            </p:nvSpPr>
            <p:spPr>
              <a:xfrm>
                <a:off x="3592" y="4670"/>
                <a:ext cx="173" cy="159"/>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grpSp>
          <p:nvGrpSpPr>
            <p:cNvPr id="46" name="组合 45"/>
            <p:cNvGrpSpPr/>
            <p:nvPr/>
          </p:nvGrpSpPr>
          <p:grpSpPr>
            <a:xfrm flipH="1">
              <a:off x="11687" y="5623"/>
              <a:ext cx="3649" cy="635"/>
              <a:chOff x="3592" y="4670"/>
              <a:chExt cx="3718" cy="635"/>
            </a:xfrm>
          </p:grpSpPr>
          <p:cxnSp>
            <p:nvCxnSpPr>
              <p:cNvPr id="47" name="直接连接符 46"/>
              <p:cNvCxnSpPr/>
              <p:nvPr>
                <p:custDataLst>
                  <p:tags r:id="rId18"/>
                </p:custDataLst>
              </p:nvPr>
            </p:nvCxnSpPr>
            <p:spPr>
              <a:xfrm flipH="1" flipV="1">
                <a:off x="6794" y="4755"/>
                <a:ext cx="516" cy="551"/>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48" name="直接连接符 47"/>
              <p:cNvCxnSpPr/>
              <p:nvPr>
                <p:custDataLst>
                  <p:tags r:id="rId19"/>
                </p:custDataLst>
              </p:nvPr>
            </p:nvCxnSpPr>
            <p:spPr>
              <a:xfrm flipH="1" flipV="1">
                <a:off x="3655" y="4743"/>
                <a:ext cx="3151" cy="12"/>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49" name="椭圆 48"/>
              <p:cNvSpPr/>
              <p:nvPr>
                <p:custDataLst>
                  <p:tags r:id="rId20"/>
                </p:custDataLst>
              </p:nvPr>
            </p:nvSpPr>
            <p:spPr>
              <a:xfrm>
                <a:off x="3592" y="4670"/>
                <a:ext cx="173" cy="159"/>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grpSp>
          <p:nvGrpSpPr>
            <p:cNvPr id="50" name="组合 49"/>
            <p:cNvGrpSpPr/>
            <p:nvPr/>
          </p:nvGrpSpPr>
          <p:grpSpPr>
            <a:xfrm flipH="1" flipV="1">
              <a:off x="11686" y="8371"/>
              <a:ext cx="3650" cy="925"/>
              <a:chOff x="3592" y="4670"/>
              <a:chExt cx="3718" cy="635"/>
            </a:xfrm>
          </p:grpSpPr>
          <p:cxnSp>
            <p:nvCxnSpPr>
              <p:cNvPr id="51" name="直接连接符 50"/>
              <p:cNvCxnSpPr/>
              <p:nvPr>
                <p:custDataLst>
                  <p:tags r:id="rId21"/>
                </p:custDataLst>
              </p:nvPr>
            </p:nvCxnSpPr>
            <p:spPr>
              <a:xfrm flipH="1" flipV="1">
                <a:off x="6794" y="4755"/>
                <a:ext cx="516" cy="551"/>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52" name="直接连接符 51"/>
              <p:cNvCxnSpPr/>
              <p:nvPr>
                <p:custDataLst>
                  <p:tags r:id="rId22"/>
                </p:custDataLst>
              </p:nvPr>
            </p:nvCxnSpPr>
            <p:spPr>
              <a:xfrm flipH="1" flipV="1">
                <a:off x="3655" y="4743"/>
                <a:ext cx="3151" cy="12"/>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53" name="椭圆 52"/>
              <p:cNvSpPr/>
              <p:nvPr>
                <p:custDataLst>
                  <p:tags r:id="rId23"/>
                </p:custDataLst>
              </p:nvPr>
            </p:nvSpPr>
            <p:spPr>
              <a:xfrm>
                <a:off x="3592" y="4670"/>
                <a:ext cx="173" cy="159"/>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grpSp>
          <p:nvGrpSpPr>
            <p:cNvPr id="54" name="组合 53"/>
            <p:cNvGrpSpPr/>
            <p:nvPr/>
          </p:nvGrpSpPr>
          <p:grpSpPr>
            <a:xfrm flipV="1">
              <a:off x="3156" y="8935"/>
              <a:ext cx="3718" cy="676"/>
              <a:chOff x="3592" y="4670"/>
              <a:chExt cx="3718" cy="635"/>
            </a:xfrm>
          </p:grpSpPr>
          <p:cxnSp>
            <p:nvCxnSpPr>
              <p:cNvPr id="55" name="直接连接符 54"/>
              <p:cNvCxnSpPr/>
              <p:nvPr>
                <p:custDataLst>
                  <p:tags r:id="rId24"/>
                </p:custDataLst>
              </p:nvPr>
            </p:nvCxnSpPr>
            <p:spPr>
              <a:xfrm flipH="1" flipV="1">
                <a:off x="6794" y="4755"/>
                <a:ext cx="516" cy="551"/>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56" name="直接连接符 55"/>
              <p:cNvCxnSpPr/>
              <p:nvPr>
                <p:custDataLst>
                  <p:tags r:id="rId25"/>
                </p:custDataLst>
              </p:nvPr>
            </p:nvCxnSpPr>
            <p:spPr>
              <a:xfrm flipH="1" flipV="1">
                <a:off x="3655" y="4743"/>
                <a:ext cx="3151" cy="12"/>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57" name="椭圆 56"/>
              <p:cNvSpPr/>
              <p:nvPr>
                <p:custDataLst>
                  <p:tags r:id="rId26"/>
                </p:custDataLst>
              </p:nvPr>
            </p:nvSpPr>
            <p:spPr>
              <a:xfrm>
                <a:off x="3592" y="4670"/>
                <a:ext cx="173" cy="159"/>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grpSp>
          <p:nvGrpSpPr>
            <p:cNvPr id="65" name="组合 64"/>
            <p:cNvGrpSpPr/>
            <p:nvPr/>
          </p:nvGrpSpPr>
          <p:grpSpPr>
            <a:xfrm>
              <a:off x="16076" y="4107"/>
              <a:ext cx="2008" cy="2094"/>
              <a:chOff x="16032" y="5882"/>
              <a:chExt cx="2008" cy="2094"/>
            </a:xfrm>
          </p:grpSpPr>
          <p:grpSp>
            <p:nvGrpSpPr>
              <p:cNvPr id="58" name="组合 57"/>
              <p:cNvGrpSpPr/>
              <p:nvPr/>
            </p:nvGrpSpPr>
            <p:grpSpPr>
              <a:xfrm>
                <a:off x="16032" y="5882"/>
                <a:ext cx="2009" cy="2094"/>
                <a:chOff x="1172" y="2028"/>
                <a:chExt cx="3184" cy="3402"/>
              </a:xfrm>
            </p:grpSpPr>
            <p:sp>
              <p:nvSpPr>
                <p:cNvPr id="59" name="矩形 58"/>
                <p:cNvSpPr/>
                <p:nvPr>
                  <p:custDataLst>
                    <p:tags r:id="rId27"/>
                  </p:custDataLst>
                </p:nvPr>
              </p:nvSpPr>
              <p:spPr>
                <a:xfrm>
                  <a:off x="1450" y="2028"/>
                  <a:ext cx="2881" cy="2519"/>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sp>
              <p:nvSpPr>
                <p:cNvPr id="61" name="文本框 60"/>
                <p:cNvSpPr txBox="1"/>
                <p:nvPr>
                  <p:custDataLst>
                    <p:tags r:id="rId28"/>
                  </p:custDataLst>
                </p:nvPr>
              </p:nvSpPr>
              <p:spPr>
                <a:xfrm>
                  <a:off x="1172" y="4817"/>
                  <a:ext cx="3184" cy="613"/>
                </a:xfrm>
                <a:prstGeom prst="rect">
                  <a:avLst/>
                </a:prstGeom>
                <a:noFill/>
              </p:spPr>
              <p:txBody>
                <a:bodyPr wrap="square" lIns="0" tIns="0" rIns="0" bIns="0" rtlCol="0">
                  <a:noAutofit/>
                </a:bodyPr>
                <a:p>
                  <a:pPr algn="ctr"/>
                  <a:r>
                    <a:rPr lang="en-US" sz="1800" b="1">
                      <a:solidFill>
                        <a:schemeClr val="tx1"/>
                      </a:solidFill>
                      <a:latin typeface="VW Text" panose="020B0504040200000003" pitchFamily="34" charset="0"/>
                      <a:ea typeface="宋体" panose="02010600030101010101" pitchFamily="2" charset="-122"/>
                      <a:sym typeface="+mn-ea"/>
                    </a:rPr>
                    <a:t>WiFI</a:t>
                  </a:r>
                  <a:r>
                    <a:rPr lang="zh-CN" altLang="en-US" sz="1800" b="1">
                      <a:solidFill>
                        <a:schemeClr val="tx1"/>
                      </a:solidFill>
                      <a:latin typeface="VW Text" panose="020B0504040200000003" pitchFamily="34" charset="0"/>
                      <a:ea typeface="宋体" panose="02010600030101010101" pitchFamily="2" charset="-122"/>
                      <a:sym typeface="+mn-ea"/>
                    </a:rPr>
                    <a:t>信号</a:t>
                  </a:r>
                  <a:endParaRPr lang="zh-CN" altLang="en-US" sz="1800" b="1">
                    <a:solidFill>
                      <a:schemeClr val="tx1"/>
                    </a:solidFill>
                    <a:latin typeface="VW Text" panose="020B0504040200000003" pitchFamily="34" charset="0"/>
                    <a:ea typeface="宋体" panose="02010600030101010101" pitchFamily="2" charset="-122"/>
                    <a:sym typeface="+mn-ea"/>
                  </a:endParaRPr>
                </a:p>
              </p:txBody>
            </p:sp>
          </p:grpSp>
          <p:pic>
            <p:nvPicPr>
              <p:cNvPr id="63" name="图片 62"/>
              <p:cNvPicPr>
                <a:picLocks noChangeAspect="1"/>
              </p:cNvPicPr>
              <p:nvPr>
                <p:custDataLst>
                  <p:tags r:id="rId29"/>
                </p:custDataLst>
              </p:nvPr>
            </p:nvPicPr>
            <p:blipFill>
              <a:blip r:embed="rId30"/>
              <a:stretch>
                <a:fillRect/>
              </a:stretch>
            </p:blipFill>
            <p:spPr>
              <a:xfrm>
                <a:off x="16467" y="6049"/>
                <a:ext cx="1247" cy="1247"/>
              </a:xfrm>
              <a:prstGeom prst="rect">
                <a:avLst/>
              </a:prstGeom>
            </p:spPr>
          </p:pic>
        </p:grpSp>
      </p:grpSp>
      <p:grpSp>
        <p:nvGrpSpPr>
          <p:cNvPr id="13" name="组合 12"/>
          <p:cNvGrpSpPr/>
          <p:nvPr/>
        </p:nvGrpSpPr>
        <p:grpSpPr>
          <a:xfrm>
            <a:off x="0" y="104775"/>
            <a:ext cx="12192000" cy="864870"/>
            <a:chOff x="0" y="165"/>
            <a:chExt cx="19200" cy="1362"/>
          </a:xfrm>
        </p:grpSpPr>
        <p:sp>
          <p:nvSpPr>
            <p:cNvPr id="4" name="矩形: 圆角 1"/>
            <p:cNvSpPr/>
            <p:nvPr>
              <p:custDataLst>
                <p:tags r:id="rId31"/>
              </p:custDataLst>
            </p:nvPr>
          </p:nvSpPr>
          <p:spPr>
            <a:xfrm>
              <a:off x="65" y="165"/>
              <a:ext cx="1491" cy="1059"/>
            </a:xfrm>
            <a:prstGeom prst="roundRect">
              <a:avLst>
                <a:gd name="adj" fmla="val 22122"/>
              </a:avLst>
            </a:prstGeom>
            <a:solidFill>
              <a:srgbClr val="99D1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r"/>
              <a:r>
                <a:rPr lang="en-US" altLang="zh-CN" sz="3200" b="1" dirty="0">
                  <a:latin typeface="Arial" panose="020B0604020202020204" pitchFamily="34" charset="0"/>
                  <a:cs typeface="Arial" panose="020B0604020202020204" pitchFamily="34" charset="0"/>
                </a:rPr>
                <a:t>01</a:t>
              </a:r>
              <a:endParaRPr lang="zh-CN" altLang="en-US" sz="3200" b="1" dirty="0">
                <a:latin typeface="Arial" panose="020B0604020202020204" pitchFamily="34" charset="0"/>
                <a:cs typeface="Arial" panose="020B0604020202020204" pitchFamily="34" charset="0"/>
              </a:endParaRPr>
            </a:p>
          </p:txBody>
        </p:sp>
        <p:sp>
          <p:nvSpPr>
            <p:cNvPr id="9" name="文本框 8"/>
            <p:cNvSpPr txBox="1"/>
            <p:nvPr>
              <p:custDataLst>
                <p:tags r:id="rId32"/>
              </p:custDataLst>
            </p:nvPr>
          </p:nvSpPr>
          <p:spPr>
            <a:xfrm>
              <a:off x="1749" y="234"/>
              <a:ext cx="7140" cy="822"/>
            </a:xfrm>
            <a:prstGeom prst="rect">
              <a:avLst/>
            </a:prstGeom>
            <a:noFill/>
          </p:spPr>
          <p:txBody>
            <a:bodyPr wrap="square" rtlCol="0">
              <a:spAutoFit/>
            </a:bodyPr>
            <a:lstStyle/>
            <a:p>
              <a:pPr lvl="0" algn="l">
                <a:buClrTx/>
                <a:buSzTx/>
                <a:buFontTx/>
              </a:pPr>
              <a:r>
                <a:rPr lang="zh-CN" altLang="en-US" sz="2800" b="1" dirty="0">
                  <a:solidFill>
                    <a:srgbClr val="8CBEE6"/>
                  </a:solidFill>
                  <a:latin typeface="Arial" panose="020B0604020202020204" pitchFamily="34" charset="0"/>
                  <a:cs typeface="Arial" panose="020B0604020202020204" pitchFamily="34" charset="0"/>
                  <a:sym typeface="+mn-ea"/>
                </a:rPr>
                <a:t>背景</a:t>
              </a:r>
              <a:r>
                <a:rPr lang="zh-CN" altLang="en-US" sz="2800" b="1" dirty="0">
                  <a:solidFill>
                    <a:srgbClr val="8CBEE6"/>
                  </a:solidFill>
                  <a:latin typeface="Arial" panose="020B0604020202020204" pitchFamily="34" charset="0"/>
                  <a:cs typeface="Arial" panose="020B0604020202020204" pitchFamily="34" charset="0"/>
                  <a:sym typeface="+mn-ea"/>
                </a:rPr>
                <a:t>介绍</a:t>
              </a:r>
              <a:endParaRPr lang="zh-CN" altLang="en-US" sz="2800" b="1" dirty="0">
                <a:solidFill>
                  <a:srgbClr val="8CBEE6"/>
                </a:solidFill>
                <a:latin typeface="Arial" panose="020B0604020202020204" pitchFamily="34" charset="0"/>
                <a:cs typeface="Arial" panose="020B0604020202020204" pitchFamily="34" charset="0"/>
                <a:sym typeface="+mn-ea"/>
              </a:endParaRPr>
            </a:p>
          </p:txBody>
        </p:sp>
        <p:sp>
          <p:nvSpPr>
            <p:cNvPr id="12" name="矩形 11"/>
            <p:cNvSpPr/>
            <p:nvPr>
              <p:custDataLst>
                <p:tags r:id="rId33"/>
              </p:custDataLst>
            </p:nvPr>
          </p:nvSpPr>
          <p:spPr>
            <a:xfrm flipV="1">
              <a:off x="0" y="1403"/>
              <a:ext cx="19200" cy="12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grpSp>
        <p:nvGrpSpPr>
          <p:cNvPr id="16" name="组合 15"/>
          <p:cNvGrpSpPr/>
          <p:nvPr/>
        </p:nvGrpSpPr>
        <p:grpSpPr>
          <a:xfrm>
            <a:off x="934085" y="1367790"/>
            <a:ext cx="10473690" cy="4924425"/>
            <a:chOff x="1579" y="2445"/>
            <a:chExt cx="16494" cy="7755"/>
          </a:xfrm>
        </p:grpSpPr>
        <p:grpSp>
          <p:nvGrpSpPr>
            <p:cNvPr id="2" name="组合 1"/>
            <p:cNvGrpSpPr/>
            <p:nvPr/>
          </p:nvGrpSpPr>
          <p:grpSpPr>
            <a:xfrm>
              <a:off x="1579" y="2445"/>
              <a:ext cx="14905" cy="5982"/>
              <a:chOff x="1788" y="4178"/>
              <a:chExt cx="14905" cy="5982"/>
            </a:xfrm>
          </p:grpSpPr>
          <p:sp>
            <p:nvSpPr>
              <p:cNvPr id="40" name="椭圆 39"/>
              <p:cNvSpPr/>
              <p:nvPr/>
            </p:nvSpPr>
            <p:spPr>
              <a:xfrm>
                <a:off x="6424" y="4440"/>
                <a:ext cx="5509" cy="5327"/>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nvGrpSpPr>
              <p:cNvPr id="7" name="组合 6"/>
              <p:cNvGrpSpPr/>
              <p:nvPr/>
            </p:nvGrpSpPr>
            <p:grpSpPr>
              <a:xfrm rot="0">
                <a:off x="1788" y="8934"/>
                <a:ext cx="1265" cy="1227"/>
                <a:chOff x="-971" y="7591"/>
                <a:chExt cx="2808" cy="2610"/>
              </a:xfrm>
            </p:grpSpPr>
            <p:sp>
              <p:nvSpPr>
                <p:cNvPr id="3" name="矩形 2"/>
                <p:cNvSpPr/>
                <p:nvPr/>
              </p:nvSpPr>
              <p:spPr>
                <a:xfrm>
                  <a:off x="-971" y="7591"/>
                  <a:ext cx="2808" cy="2610"/>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pic>
              <p:nvPicPr>
                <p:cNvPr id="101" name="图片 100"/>
                <p:cNvPicPr/>
                <p:nvPr/>
              </p:nvPicPr>
              <p:blipFill>
                <a:blip r:embed="rId4"/>
                <a:stretch>
                  <a:fillRect/>
                </a:stretch>
              </p:blipFill>
              <p:spPr>
                <a:xfrm>
                  <a:off x="-549" y="8098"/>
                  <a:ext cx="1971" cy="1901"/>
                </a:xfrm>
                <a:prstGeom prst="rect">
                  <a:avLst/>
                </a:prstGeom>
                <a:noFill/>
                <a:ln w="9525">
                  <a:noFill/>
                </a:ln>
              </p:spPr>
            </p:pic>
          </p:grpSp>
          <p:grpSp>
            <p:nvGrpSpPr>
              <p:cNvPr id="27" name="组合 26"/>
              <p:cNvGrpSpPr/>
              <p:nvPr/>
            </p:nvGrpSpPr>
            <p:grpSpPr>
              <a:xfrm>
                <a:off x="1867" y="4178"/>
                <a:ext cx="1218" cy="1028"/>
                <a:chOff x="-785" y="1873"/>
                <a:chExt cx="1930" cy="1670"/>
              </a:xfrm>
            </p:grpSpPr>
            <p:sp>
              <p:nvSpPr>
                <p:cNvPr id="17" name="矩形 16"/>
                <p:cNvSpPr/>
                <p:nvPr>
                  <p:custDataLst>
                    <p:tags r:id="rId5"/>
                  </p:custDataLst>
                </p:nvPr>
              </p:nvSpPr>
              <p:spPr>
                <a:xfrm>
                  <a:off x="-785" y="1873"/>
                  <a:ext cx="1930" cy="1670"/>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pic>
              <p:nvPicPr>
                <p:cNvPr id="14" name="图片 13"/>
                <p:cNvPicPr>
                  <a:picLocks noChangeAspect="1"/>
                </p:cNvPicPr>
                <p:nvPr>
                  <p:custDataLst>
                    <p:tags r:id="rId6"/>
                  </p:custDataLst>
                </p:nvPr>
              </p:nvPicPr>
              <p:blipFill>
                <a:blip r:embed="rId7"/>
                <a:stretch>
                  <a:fillRect/>
                </a:stretch>
              </p:blipFill>
              <p:spPr>
                <a:xfrm>
                  <a:off x="-422" y="2145"/>
                  <a:ext cx="1220" cy="1220"/>
                </a:xfrm>
                <a:prstGeom prst="rect">
                  <a:avLst/>
                </a:prstGeom>
              </p:spPr>
            </p:pic>
          </p:grpSp>
          <p:grpSp>
            <p:nvGrpSpPr>
              <p:cNvPr id="29" name="组合 28"/>
              <p:cNvGrpSpPr/>
              <p:nvPr/>
            </p:nvGrpSpPr>
            <p:grpSpPr>
              <a:xfrm>
                <a:off x="15419" y="4913"/>
                <a:ext cx="1205" cy="1104"/>
                <a:chOff x="12279" y="6587"/>
                <a:chExt cx="1851" cy="1812"/>
              </a:xfrm>
            </p:grpSpPr>
            <p:sp>
              <p:nvSpPr>
                <p:cNvPr id="24" name="矩形 23"/>
                <p:cNvSpPr/>
                <p:nvPr>
                  <p:custDataLst>
                    <p:tags r:id="rId8"/>
                  </p:custDataLst>
                </p:nvPr>
              </p:nvSpPr>
              <p:spPr>
                <a:xfrm>
                  <a:off x="12279" y="6587"/>
                  <a:ext cx="1851" cy="1812"/>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pic>
              <p:nvPicPr>
                <p:cNvPr id="23" name="图片 22"/>
                <p:cNvPicPr>
                  <a:picLocks noChangeAspect="1"/>
                </p:cNvPicPr>
                <p:nvPr>
                  <p:custDataLst>
                    <p:tags r:id="rId9"/>
                  </p:custDataLst>
                </p:nvPr>
              </p:nvPicPr>
              <p:blipFill>
                <a:blip r:embed="rId10"/>
                <a:stretch>
                  <a:fillRect/>
                </a:stretch>
              </p:blipFill>
              <p:spPr>
                <a:xfrm>
                  <a:off x="12518" y="6787"/>
                  <a:ext cx="1227" cy="1228"/>
                </a:xfrm>
                <a:prstGeom prst="rect">
                  <a:avLst/>
                </a:prstGeom>
              </p:spPr>
            </p:pic>
          </p:grpSp>
          <p:grpSp>
            <p:nvGrpSpPr>
              <p:cNvPr id="38" name="组合 37"/>
              <p:cNvGrpSpPr/>
              <p:nvPr/>
            </p:nvGrpSpPr>
            <p:grpSpPr>
              <a:xfrm>
                <a:off x="15522" y="8509"/>
                <a:ext cx="1172" cy="1024"/>
                <a:chOff x="14709" y="7181"/>
                <a:chExt cx="1750" cy="1473"/>
              </a:xfrm>
            </p:grpSpPr>
            <p:sp>
              <p:nvSpPr>
                <p:cNvPr id="35" name="矩形 34"/>
                <p:cNvSpPr/>
                <p:nvPr>
                  <p:custDataLst>
                    <p:tags r:id="rId11"/>
                  </p:custDataLst>
                </p:nvPr>
              </p:nvSpPr>
              <p:spPr>
                <a:xfrm>
                  <a:off x="14709" y="7181"/>
                  <a:ext cx="1750" cy="1473"/>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pic>
              <p:nvPicPr>
                <p:cNvPr id="31" name="图片 30"/>
                <p:cNvPicPr>
                  <a:picLocks noChangeAspect="1"/>
                </p:cNvPicPr>
                <p:nvPr>
                  <p:custDataLst>
                    <p:tags r:id="rId12"/>
                  </p:custDataLst>
                </p:nvPr>
              </p:nvPicPr>
              <p:blipFill>
                <a:blip r:embed="rId13"/>
                <a:stretch>
                  <a:fillRect/>
                </a:stretch>
              </p:blipFill>
              <p:spPr>
                <a:xfrm>
                  <a:off x="14816" y="7333"/>
                  <a:ext cx="1529" cy="1190"/>
                </a:xfrm>
                <a:prstGeom prst="rect">
                  <a:avLst/>
                </a:prstGeom>
              </p:spPr>
            </p:pic>
          </p:grpSp>
          <p:sp>
            <p:nvSpPr>
              <p:cNvPr id="39" name="椭圆 38"/>
              <p:cNvSpPr/>
              <p:nvPr/>
            </p:nvSpPr>
            <p:spPr>
              <a:xfrm>
                <a:off x="6536" y="4562"/>
                <a:ext cx="5285" cy="5082"/>
              </a:xfrm>
              <a:prstGeom prst="ellipse">
                <a:avLst/>
              </a:prstGeom>
              <a:blipFill rotWithShape="1">
                <a:blip r:embed="rId14">
                  <a:alphaModFix amt="92000"/>
                </a:blip>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nvGrpSpPr>
              <p:cNvPr id="45" name="组合 44"/>
              <p:cNvGrpSpPr/>
              <p:nvPr/>
            </p:nvGrpSpPr>
            <p:grpSpPr>
              <a:xfrm>
                <a:off x="3156" y="4460"/>
                <a:ext cx="3907" cy="946"/>
                <a:chOff x="3945" y="3282"/>
                <a:chExt cx="3907" cy="946"/>
              </a:xfrm>
            </p:grpSpPr>
            <p:cxnSp>
              <p:nvCxnSpPr>
                <p:cNvPr id="42" name="直接连接符 41"/>
                <p:cNvCxnSpPr/>
                <p:nvPr/>
              </p:nvCxnSpPr>
              <p:spPr>
                <a:xfrm flipH="1" flipV="1">
                  <a:off x="7214" y="3368"/>
                  <a:ext cx="638" cy="860"/>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43" name="直接连接符 42"/>
                <p:cNvCxnSpPr/>
                <p:nvPr/>
              </p:nvCxnSpPr>
              <p:spPr>
                <a:xfrm flipH="1" flipV="1">
                  <a:off x="4063" y="3356"/>
                  <a:ext cx="3151" cy="12"/>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44" name="椭圆 43"/>
                <p:cNvSpPr/>
                <p:nvPr/>
              </p:nvSpPr>
              <p:spPr>
                <a:xfrm>
                  <a:off x="3945" y="3282"/>
                  <a:ext cx="173" cy="159"/>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grpSp>
            <p:nvGrpSpPr>
              <p:cNvPr id="46" name="组合 45"/>
              <p:cNvGrpSpPr/>
              <p:nvPr/>
            </p:nvGrpSpPr>
            <p:grpSpPr>
              <a:xfrm flipH="1">
                <a:off x="11687" y="5623"/>
                <a:ext cx="3649" cy="635"/>
                <a:chOff x="3592" y="4670"/>
                <a:chExt cx="3718" cy="635"/>
              </a:xfrm>
            </p:grpSpPr>
            <p:cxnSp>
              <p:nvCxnSpPr>
                <p:cNvPr id="47" name="直接连接符 46"/>
                <p:cNvCxnSpPr/>
                <p:nvPr>
                  <p:custDataLst>
                    <p:tags r:id="rId15"/>
                  </p:custDataLst>
                </p:nvPr>
              </p:nvCxnSpPr>
              <p:spPr>
                <a:xfrm flipH="1" flipV="1">
                  <a:off x="6794" y="4755"/>
                  <a:ext cx="516" cy="551"/>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48" name="直接连接符 47"/>
                <p:cNvCxnSpPr/>
                <p:nvPr>
                  <p:custDataLst>
                    <p:tags r:id="rId16"/>
                  </p:custDataLst>
                </p:nvPr>
              </p:nvCxnSpPr>
              <p:spPr>
                <a:xfrm flipH="1" flipV="1">
                  <a:off x="3655" y="4743"/>
                  <a:ext cx="3151" cy="12"/>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49" name="椭圆 48"/>
                <p:cNvSpPr/>
                <p:nvPr>
                  <p:custDataLst>
                    <p:tags r:id="rId17"/>
                  </p:custDataLst>
                </p:nvPr>
              </p:nvSpPr>
              <p:spPr>
                <a:xfrm>
                  <a:off x="3592" y="4670"/>
                  <a:ext cx="173" cy="159"/>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grpSp>
            <p:nvGrpSpPr>
              <p:cNvPr id="50" name="组合 49"/>
              <p:cNvGrpSpPr/>
              <p:nvPr/>
            </p:nvGrpSpPr>
            <p:grpSpPr>
              <a:xfrm flipH="1" flipV="1">
                <a:off x="11686" y="8371"/>
                <a:ext cx="3650" cy="925"/>
                <a:chOff x="3592" y="4670"/>
                <a:chExt cx="3718" cy="635"/>
              </a:xfrm>
            </p:grpSpPr>
            <p:cxnSp>
              <p:nvCxnSpPr>
                <p:cNvPr id="51" name="直接连接符 50"/>
                <p:cNvCxnSpPr/>
                <p:nvPr>
                  <p:custDataLst>
                    <p:tags r:id="rId18"/>
                  </p:custDataLst>
                </p:nvPr>
              </p:nvCxnSpPr>
              <p:spPr>
                <a:xfrm flipH="1" flipV="1">
                  <a:off x="6794" y="4755"/>
                  <a:ext cx="516" cy="551"/>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52" name="直接连接符 51"/>
                <p:cNvCxnSpPr/>
                <p:nvPr>
                  <p:custDataLst>
                    <p:tags r:id="rId19"/>
                  </p:custDataLst>
                </p:nvPr>
              </p:nvCxnSpPr>
              <p:spPr>
                <a:xfrm flipH="1" flipV="1">
                  <a:off x="3655" y="4743"/>
                  <a:ext cx="3151" cy="12"/>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53" name="椭圆 52"/>
                <p:cNvSpPr/>
                <p:nvPr>
                  <p:custDataLst>
                    <p:tags r:id="rId20"/>
                  </p:custDataLst>
                </p:nvPr>
              </p:nvSpPr>
              <p:spPr>
                <a:xfrm>
                  <a:off x="3592" y="4670"/>
                  <a:ext cx="173" cy="159"/>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grpSp>
            <p:nvGrpSpPr>
              <p:cNvPr id="54" name="组合 53"/>
              <p:cNvGrpSpPr/>
              <p:nvPr/>
            </p:nvGrpSpPr>
            <p:grpSpPr>
              <a:xfrm flipV="1">
                <a:off x="3156" y="8935"/>
                <a:ext cx="3718" cy="676"/>
                <a:chOff x="3592" y="4670"/>
                <a:chExt cx="3718" cy="635"/>
              </a:xfrm>
            </p:grpSpPr>
            <p:cxnSp>
              <p:nvCxnSpPr>
                <p:cNvPr id="55" name="直接连接符 54"/>
                <p:cNvCxnSpPr/>
                <p:nvPr>
                  <p:custDataLst>
                    <p:tags r:id="rId21"/>
                  </p:custDataLst>
                </p:nvPr>
              </p:nvCxnSpPr>
              <p:spPr>
                <a:xfrm flipH="1" flipV="1">
                  <a:off x="6794" y="4755"/>
                  <a:ext cx="516" cy="551"/>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56" name="直接连接符 55"/>
                <p:cNvCxnSpPr/>
                <p:nvPr>
                  <p:custDataLst>
                    <p:tags r:id="rId22"/>
                  </p:custDataLst>
                </p:nvPr>
              </p:nvCxnSpPr>
              <p:spPr>
                <a:xfrm flipH="1" flipV="1">
                  <a:off x="3655" y="4743"/>
                  <a:ext cx="3151" cy="12"/>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57" name="椭圆 56"/>
                <p:cNvSpPr/>
                <p:nvPr>
                  <p:custDataLst>
                    <p:tags r:id="rId23"/>
                  </p:custDataLst>
                </p:nvPr>
              </p:nvSpPr>
              <p:spPr>
                <a:xfrm>
                  <a:off x="3592" y="4670"/>
                  <a:ext cx="173" cy="159"/>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grpSp>
        <p:grpSp>
          <p:nvGrpSpPr>
            <p:cNvPr id="21" name="组合 20"/>
            <p:cNvGrpSpPr/>
            <p:nvPr/>
          </p:nvGrpSpPr>
          <p:grpSpPr>
            <a:xfrm>
              <a:off x="3010" y="7959"/>
              <a:ext cx="4222" cy="1744"/>
              <a:chOff x="3262" y="8036"/>
              <a:chExt cx="4222" cy="1744"/>
            </a:xfrm>
          </p:grpSpPr>
          <p:sp>
            <p:nvSpPr>
              <p:cNvPr id="9" name="圆角矩形 8"/>
              <p:cNvSpPr/>
              <p:nvPr/>
            </p:nvSpPr>
            <p:spPr>
              <a:xfrm>
                <a:off x="3262" y="8036"/>
                <a:ext cx="466" cy="1568"/>
              </a:xfrm>
              <a:prstGeom prst="roundRect">
                <a:avLst/>
              </a:prstGeom>
              <a:solidFill>
                <a:srgbClr val="CCD4D6"/>
              </a:solidFill>
              <a:ln>
                <a:noFill/>
              </a:ln>
              <a:effectLst>
                <a:outerShdw blurRad="50800" dist="38100" dir="10800000" algn="r" rotWithShape="0">
                  <a:srgbClr val="66BAB4">
                    <a:alpha val="41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r>
                  <a:rPr lang="zh-CN" altLang="en-US" sz="1800" b="1" dirty="0">
                    <a:solidFill>
                      <a:schemeClr val="bg1"/>
                    </a:solidFill>
                    <a:latin typeface="VW Text" panose="020B0504040200000003" pitchFamily="34" charset="0"/>
                  </a:rPr>
                  <a:t>特点</a:t>
                </a:r>
                <a:endParaRPr lang="zh-CN" altLang="en-US" sz="1800" b="1" dirty="0">
                  <a:solidFill>
                    <a:schemeClr val="bg1"/>
                  </a:solidFill>
                  <a:latin typeface="VW Text" panose="020B0504040200000003" pitchFamily="34" charset="0"/>
                </a:endParaRPr>
              </a:p>
            </p:txBody>
          </p:sp>
          <p:sp>
            <p:nvSpPr>
              <p:cNvPr id="15" name="文本框 14"/>
              <p:cNvSpPr txBox="1"/>
              <p:nvPr/>
            </p:nvSpPr>
            <p:spPr>
              <a:xfrm>
                <a:off x="3894" y="8036"/>
                <a:ext cx="3590" cy="1744"/>
              </a:xfrm>
              <a:prstGeom prst="rect">
                <a:avLst/>
              </a:prstGeom>
              <a:noFill/>
            </p:spPr>
            <p:txBody>
              <a:bodyPr wrap="square" lIns="0" tIns="0" rIns="0" bIns="0" rtlCol="0">
                <a:spAutoFit/>
              </a:bodyPr>
              <a:p>
                <a:pPr algn="l"/>
                <a:r>
                  <a:rPr lang="en-US" altLang="zh-CN" sz="1800" dirty="0">
                    <a:latin typeface="VW Text" panose="020B0504040200000003" pitchFamily="34" charset="0"/>
                    <a:sym typeface="+mn-ea"/>
                  </a:rPr>
                  <a:t>结构简单，标定容易</a:t>
                </a:r>
                <a:endParaRPr lang="en-US" altLang="zh-CN" sz="1800" dirty="0">
                  <a:latin typeface="VW Text" panose="020B0504040200000003" pitchFamily="34" charset="0"/>
                  <a:sym typeface="+mn-ea"/>
                </a:endParaRPr>
              </a:p>
              <a:p>
                <a:pPr algn="l"/>
                <a:endParaRPr lang="en-US" altLang="zh-CN" sz="1800" dirty="0">
                  <a:latin typeface="VW Text" panose="020B0504040200000003" pitchFamily="34" charset="0"/>
                </a:endParaRPr>
              </a:p>
              <a:p>
                <a:pPr algn="l"/>
                <a:r>
                  <a:rPr lang="zh-CN" altLang="en-US" sz="1800" dirty="0">
                    <a:latin typeface="VW Text" panose="020B0504040200000003" pitchFamily="34" charset="0"/>
                  </a:rPr>
                  <a:t>但易</a:t>
                </a:r>
                <a:r>
                  <a:rPr>
                    <a:latin typeface="VW Text" panose="020B0504040200000003" pitchFamily="34" charset="0"/>
                    <a:sym typeface="+mn-ea"/>
                  </a:rPr>
                  <a:t>受光照和气象条件影响</a:t>
                </a:r>
                <a:endParaRPr lang="zh-CN" altLang="en-US" sz="1800" dirty="0">
                  <a:latin typeface="VW Text" panose="020B0504040200000003" pitchFamily="34" charset="0"/>
                </a:endParaRPr>
              </a:p>
            </p:txBody>
          </p:sp>
        </p:grpSp>
        <p:grpSp>
          <p:nvGrpSpPr>
            <p:cNvPr id="22" name="组合 21"/>
            <p:cNvGrpSpPr/>
            <p:nvPr/>
          </p:nvGrpSpPr>
          <p:grpSpPr>
            <a:xfrm>
              <a:off x="1658" y="3658"/>
              <a:ext cx="4178" cy="2181"/>
              <a:chOff x="726" y="9566"/>
              <a:chExt cx="4178" cy="2181"/>
            </a:xfrm>
          </p:grpSpPr>
          <p:sp>
            <p:nvSpPr>
              <p:cNvPr id="25" name="圆角矩形 24"/>
              <p:cNvSpPr/>
              <p:nvPr>
                <p:custDataLst>
                  <p:tags r:id="rId24"/>
                </p:custDataLst>
              </p:nvPr>
            </p:nvSpPr>
            <p:spPr>
              <a:xfrm>
                <a:off x="726" y="9635"/>
                <a:ext cx="466" cy="1568"/>
              </a:xfrm>
              <a:prstGeom prst="roundRect">
                <a:avLst/>
              </a:prstGeom>
              <a:solidFill>
                <a:srgbClr val="CCD4D6"/>
              </a:solidFill>
              <a:ln>
                <a:noFill/>
              </a:ln>
              <a:effectLst>
                <a:outerShdw blurRad="50800" dist="38100" dir="10800000" algn="r" rotWithShape="0">
                  <a:srgbClr val="66BAB4">
                    <a:alpha val="41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r>
                  <a:rPr lang="zh-CN" altLang="en-US" sz="1800" b="1" dirty="0">
                    <a:solidFill>
                      <a:schemeClr val="bg1"/>
                    </a:solidFill>
                    <a:latin typeface="VW Text" panose="020B0504040200000003" pitchFamily="34" charset="0"/>
                  </a:rPr>
                  <a:t>特点</a:t>
                </a:r>
                <a:endParaRPr lang="zh-CN" altLang="en-US" sz="1800" b="1" dirty="0">
                  <a:solidFill>
                    <a:schemeClr val="bg1"/>
                  </a:solidFill>
                  <a:latin typeface="VW Text" panose="020B0504040200000003" pitchFamily="34" charset="0"/>
                </a:endParaRPr>
              </a:p>
            </p:txBody>
          </p:sp>
          <p:sp>
            <p:nvSpPr>
              <p:cNvPr id="30" name="文本框 29"/>
              <p:cNvSpPr txBox="1"/>
              <p:nvPr>
                <p:custDataLst>
                  <p:tags r:id="rId25"/>
                </p:custDataLst>
              </p:nvPr>
            </p:nvSpPr>
            <p:spPr>
              <a:xfrm>
                <a:off x="1314" y="9566"/>
                <a:ext cx="3590" cy="2181"/>
              </a:xfrm>
              <a:prstGeom prst="rect">
                <a:avLst/>
              </a:prstGeom>
              <a:noFill/>
            </p:spPr>
            <p:txBody>
              <a:bodyPr wrap="square" lIns="0" tIns="0" rIns="0" bIns="0" rtlCol="0">
                <a:spAutoFit/>
              </a:bodyPr>
              <a:p>
                <a:pPr algn="l"/>
                <a:r>
                  <a:rPr>
                    <a:latin typeface="VW Text" panose="020B0504040200000003" pitchFamily="34" charset="0"/>
                    <a:sym typeface="+mn-ea"/>
                  </a:rPr>
                  <a:t>工作频段在 24 GHz、77 GHz、60 GHz</a:t>
                </a:r>
                <a:r>
                  <a:rPr lang="zh-CN">
                    <a:latin typeface="VW Text" panose="020B0504040200000003" pitchFamily="34" charset="0"/>
                    <a:ea typeface="宋体" panose="02010600030101010101" pitchFamily="2" charset="-122"/>
                    <a:sym typeface="+mn-ea"/>
                  </a:rPr>
                  <a:t>。</a:t>
                </a:r>
                <a:endParaRPr lang="en-US" altLang="zh-CN" sz="1800" dirty="0">
                  <a:latin typeface="VW Text" panose="020B0504040200000003" pitchFamily="34" charset="0"/>
                </a:endParaRPr>
              </a:p>
              <a:p>
                <a:pPr algn="l"/>
                <a:r>
                  <a:rPr>
                    <a:latin typeface="VW Text" panose="020B0504040200000003" pitchFamily="34" charset="0"/>
                    <a:sym typeface="+mn-ea"/>
                  </a:rPr>
                  <a:t>探测距离远，性能稳定</a:t>
                </a:r>
                <a:r>
                  <a:rPr lang="zh-CN">
                    <a:latin typeface="VW Text" panose="020B0504040200000003" pitchFamily="34" charset="0"/>
                    <a:ea typeface="宋体" panose="02010600030101010101" pitchFamily="2" charset="-122"/>
                    <a:sym typeface="+mn-ea"/>
                  </a:rPr>
                  <a:t>，但频率高，穿透力</a:t>
                </a:r>
                <a:r>
                  <a:rPr lang="zh-CN">
                    <a:latin typeface="VW Text" panose="020B0504040200000003" pitchFamily="34" charset="0"/>
                    <a:ea typeface="宋体" panose="02010600030101010101" pitchFamily="2" charset="-122"/>
                    <a:sym typeface="+mn-ea"/>
                  </a:rPr>
                  <a:t>差</a:t>
                </a:r>
                <a:endParaRPr lang="zh-CN">
                  <a:latin typeface="VW Text" panose="020B0504040200000003" pitchFamily="34" charset="0"/>
                  <a:ea typeface="宋体" panose="02010600030101010101" pitchFamily="2" charset="-122"/>
                  <a:sym typeface="+mn-ea"/>
                </a:endParaRPr>
              </a:p>
            </p:txBody>
          </p:sp>
        </p:grpSp>
        <p:sp>
          <p:nvSpPr>
            <p:cNvPr id="32" name="文本框 31"/>
            <p:cNvSpPr txBox="1"/>
            <p:nvPr/>
          </p:nvSpPr>
          <p:spPr>
            <a:xfrm>
              <a:off x="12758" y="8020"/>
              <a:ext cx="5103" cy="2181"/>
            </a:xfrm>
            <a:prstGeom prst="rect">
              <a:avLst/>
            </a:prstGeom>
            <a:noFill/>
          </p:spPr>
          <p:txBody>
            <a:bodyPr wrap="square" lIns="0" tIns="0" rIns="0" bIns="0" rtlCol="0" anchor="t">
              <a:spAutoFit/>
            </a:bodyPr>
            <a:p>
              <a:pPr algn="l"/>
              <a:r>
                <a:rPr sz="1800">
                  <a:latin typeface="VW Text" panose="020B0504040200000003" pitchFamily="34" charset="0"/>
                </a:rPr>
                <a:t>超声波雷达的频率低，穿透能力</a:t>
              </a:r>
              <a:r>
                <a:rPr lang="zh-CN" sz="1800">
                  <a:latin typeface="VW Text" panose="020B0504040200000003" pitchFamily="34" charset="0"/>
                </a:rPr>
                <a:t>好</a:t>
              </a:r>
              <a:r>
                <a:rPr lang="zh-CN" sz="1800">
                  <a:latin typeface="VW Text" panose="020B0504040200000003" pitchFamily="34" charset="0"/>
                  <a:ea typeface="宋体" panose="02010600030101010101" pitchFamily="2" charset="-122"/>
                </a:rPr>
                <a:t>，常用于</a:t>
              </a:r>
              <a:r>
                <a:rPr lang="zh-CN" sz="1800">
                  <a:latin typeface="VW Text" panose="020B0504040200000003" pitchFamily="34" charset="0"/>
                  <a:ea typeface="宋体" panose="02010600030101010101" pitchFamily="2" charset="-122"/>
                </a:rPr>
                <a:t>测距、避障和定位。</a:t>
              </a:r>
              <a:endParaRPr lang="zh-CN" sz="1800">
                <a:latin typeface="VW Text" panose="020B0504040200000003" pitchFamily="34" charset="0"/>
                <a:ea typeface="宋体" panose="02010600030101010101" pitchFamily="2" charset="-122"/>
              </a:endParaRPr>
            </a:p>
            <a:p>
              <a:pPr algn="l"/>
              <a:endParaRPr sz="1800">
                <a:latin typeface="VW Text" panose="020B0504040200000003" pitchFamily="34" charset="0"/>
              </a:endParaRPr>
            </a:p>
            <a:p>
              <a:pPr algn="l"/>
              <a:r>
                <a:rPr lang="zh-CN" sz="1800">
                  <a:latin typeface="VW Text" panose="020B0504040200000003" pitchFamily="34" charset="0"/>
                </a:rPr>
                <a:t>但信号发射范围窄，是定向的</a:t>
              </a:r>
              <a:r>
                <a:rPr lang="zh-CN" sz="1800">
                  <a:latin typeface="VW Text" panose="020B0504040200000003" pitchFamily="34" charset="0"/>
                </a:rPr>
                <a:t>波束检测。</a:t>
              </a:r>
              <a:endParaRPr lang="zh-CN" sz="1800">
                <a:latin typeface="VW Text" panose="020B0504040200000003" pitchFamily="34" charset="0"/>
              </a:endParaRPr>
            </a:p>
          </p:txBody>
        </p:sp>
        <p:sp>
          <p:nvSpPr>
            <p:cNvPr id="33" name="圆角矩形 32"/>
            <p:cNvSpPr/>
            <p:nvPr>
              <p:custDataLst>
                <p:tags r:id="rId26"/>
              </p:custDataLst>
            </p:nvPr>
          </p:nvSpPr>
          <p:spPr>
            <a:xfrm>
              <a:off x="12147" y="8090"/>
              <a:ext cx="466" cy="1568"/>
            </a:xfrm>
            <a:prstGeom prst="roundRect">
              <a:avLst/>
            </a:prstGeom>
            <a:solidFill>
              <a:srgbClr val="CCD4D6"/>
            </a:solidFill>
            <a:ln>
              <a:noFill/>
            </a:ln>
            <a:effectLst>
              <a:outerShdw blurRad="50800" dist="38100" dir="10800000" algn="r" rotWithShape="0">
                <a:srgbClr val="66BAB4">
                  <a:alpha val="41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r>
                <a:rPr lang="zh-CN" altLang="en-US" sz="1800" b="1" dirty="0">
                  <a:solidFill>
                    <a:schemeClr val="bg1"/>
                  </a:solidFill>
                  <a:latin typeface="VW Text" panose="020B0504040200000003" pitchFamily="34" charset="0"/>
                </a:rPr>
                <a:t>特点</a:t>
              </a:r>
              <a:endParaRPr lang="zh-CN" altLang="en-US" sz="1800" b="1" dirty="0">
                <a:solidFill>
                  <a:schemeClr val="bg1"/>
                </a:solidFill>
                <a:latin typeface="VW Text" panose="020B0504040200000003" pitchFamily="34" charset="0"/>
              </a:endParaRPr>
            </a:p>
          </p:txBody>
        </p:sp>
        <p:sp>
          <p:nvSpPr>
            <p:cNvPr id="36" name="圆角矩形 35"/>
            <p:cNvSpPr/>
            <p:nvPr>
              <p:custDataLst>
                <p:tags r:id="rId27"/>
              </p:custDataLst>
            </p:nvPr>
          </p:nvSpPr>
          <p:spPr>
            <a:xfrm>
              <a:off x="12613" y="4284"/>
              <a:ext cx="466" cy="1568"/>
            </a:xfrm>
            <a:prstGeom prst="roundRect">
              <a:avLst/>
            </a:prstGeom>
            <a:solidFill>
              <a:srgbClr val="CCD4D6"/>
            </a:solidFill>
            <a:ln>
              <a:noFill/>
            </a:ln>
            <a:effectLst>
              <a:outerShdw blurRad="50800" dist="38100" dir="10800000" algn="r" rotWithShape="0">
                <a:srgbClr val="66BAB4">
                  <a:alpha val="41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r>
                <a:rPr lang="zh-CN" altLang="en-US" sz="1800" b="1" dirty="0">
                  <a:solidFill>
                    <a:schemeClr val="bg1"/>
                  </a:solidFill>
                  <a:latin typeface="VW Text" panose="020B0504040200000003" pitchFamily="34" charset="0"/>
                </a:rPr>
                <a:t>特点</a:t>
              </a:r>
              <a:endParaRPr lang="zh-CN" altLang="en-US" sz="1800" b="1" dirty="0">
                <a:solidFill>
                  <a:schemeClr val="bg1"/>
                </a:solidFill>
                <a:latin typeface="VW Text" panose="020B0504040200000003" pitchFamily="34" charset="0"/>
              </a:endParaRPr>
            </a:p>
          </p:txBody>
        </p:sp>
        <p:sp>
          <p:nvSpPr>
            <p:cNvPr id="41" name="文本框 40"/>
            <p:cNvSpPr txBox="1"/>
            <p:nvPr/>
          </p:nvSpPr>
          <p:spPr>
            <a:xfrm>
              <a:off x="13457" y="4526"/>
              <a:ext cx="4616" cy="1308"/>
            </a:xfrm>
            <a:prstGeom prst="rect">
              <a:avLst/>
            </a:prstGeom>
            <a:noFill/>
          </p:spPr>
          <p:txBody>
            <a:bodyPr wrap="square" lIns="0" tIns="0" rIns="0" bIns="0" rtlCol="0">
              <a:spAutoFit/>
            </a:bodyPr>
            <a:p>
              <a:pPr algn="l"/>
              <a:r>
                <a:rPr sz="1800">
                  <a:latin typeface="VW Text" panose="020B0504040200000003" pitchFamily="34" charset="0"/>
                </a:rPr>
                <a:t>较为优秀的车载传感器</a:t>
              </a:r>
              <a:r>
                <a:rPr lang="zh-CN" sz="1800">
                  <a:latin typeface="VW Text" panose="020B0504040200000003" pitchFamily="34" charset="0"/>
                  <a:ea typeface="宋体" panose="02010600030101010101" pitchFamily="2" charset="-122"/>
                </a:rPr>
                <a:t>，高精度，高分辨率，大范围，但是</a:t>
              </a:r>
              <a:r>
                <a:rPr lang="zh-CN" sz="1800">
                  <a:latin typeface="VW Text" panose="020B0504040200000003" pitchFamily="34" charset="0"/>
                  <a:ea typeface="宋体" panose="02010600030101010101" pitchFamily="2" charset="-122"/>
                </a:rPr>
                <a:t>贵。</a:t>
              </a:r>
              <a:endParaRPr lang="zh-CN" sz="1800">
                <a:latin typeface="VW Text" panose="020B0504040200000003" pitchFamily="34" charset="0"/>
                <a:ea typeface="宋体" panose="02010600030101010101" pitchFamily="2" charset="-122"/>
              </a:endParaRPr>
            </a:p>
          </p:txBody>
        </p:sp>
      </p:grpSp>
      <p:grpSp>
        <p:nvGrpSpPr>
          <p:cNvPr id="13" name="组合 12"/>
          <p:cNvGrpSpPr/>
          <p:nvPr/>
        </p:nvGrpSpPr>
        <p:grpSpPr>
          <a:xfrm>
            <a:off x="0" y="104775"/>
            <a:ext cx="12192000" cy="864870"/>
            <a:chOff x="0" y="165"/>
            <a:chExt cx="19200" cy="1362"/>
          </a:xfrm>
        </p:grpSpPr>
        <p:sp>
          <p:nvSpPr>
            <p:cNvPr id="4" name="矩形: 圆角 1"/>
            <p:cNvSpPr/>
            <p:nvPr>
              <p:custDataLst>
                <p:tags r:id="rId28"/>
              </p:custDataLst>
            </p:nvPr>
          </p:nvSpPr>
          <p:spPr>
            <a:xfrm>
              <a:off x="65" y="165"/>
              <a:ext cx="1491" cy="1059"/>
            </a:xfrm>
            <a:prstGeom prst="roundRect">
              <a:avLst>
                <a:gd name="adj" fmla="val 22122"/>
              </a:avLst>
            </a:prstGeom>
            <a:solidFill>
              <a:srgbClr val="99D1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r"/>
              <a:r>
                <a:rPr lang="en-US" altLang="zh-CN" sz="3200" b="1" dirty="0">
                  <a:latin typeface="Arial" panose="020B0604020202020204" pitchFamily="34" charset="0"/>
                  <a:cs typeface="Arial" panose="020B0604020202020204" pitchFamily="34" charset="0"/>
                </a:rPr>
                <a:t>01</a:t>
              </a:r>
              <a:endParaRPr lang="zh-CN" altLang="en-US" sz="3200" b="1" dirty="0">
                <a:latin typeface="Arial" panose="020B0604020202020204" pitchFamily="34" charset="0"/>
                <a:cs typeface="Arial" panose="020B0604020202020204" pitchFamily="34" charset="0"/>
              </a:endParaRPr>
            </a:p>
          </p:txBody>
        </p:sp>
        <p:sp>
          <p:nvSpPr>
            <p:cNvPr id="8" name="文本框 7"/>
            <p:cNvSpPr txBox="1"/>
            <p:nvPr>
              <p:custDataLst>
                <p:tags r:id="rId29"/>
              </p:custDataLst>
            </p:nvPr>
          </p:nvSpPr>
          <p:spPr>
            <a:xfrm>
              <a:off x="1749" y="234"/>
              <a:ext cx="7140" cy="822"/>
            </a:xfrm>
            <a:prstGeom prst="rect">
              <a:avLst/>
            </a:prstGeom>
            <a:noFill/>
          </p:spPr>
          <p:txBody>
            <a:bodyPr wrap="square" rtlCol="0">
              <a:spAutoFit/>
            </a:bodyPr>
            <a:p>
              <a:pPr lvl="0" algn="l">
                <a:buClrTx/>
                <a:buSzTx/>
                <a:buFontTx/>
              </a:pPr>
              <a:r>
                <a:rPr lang="zh-CN" altLang="en-US" sz="2800" b="1" dirty="0">
                  <a:solidFill>
                    <a:srgbClr val="8CBEE6"/>
                  </a:solidFill>
                  <a:latin typeface="Arial" panose="020B0604020202020204" pitchFamily="34" charset="0"/>
                  <a:cs typeface="Arial" panose="020B0604020202020204" pitchFamily="34" charset="0"/>
                  <a:sym typeface="+mn-ea"/>
                </a:rPr>
                <a:t>各类传感器特点</a:t>
              </a:r>
              <a:r>
                <a:rPr lang="zh-CN" altLang="en-US" sz="2800" b="1" dirty="0">
                  <a:solidFill>
                    <a:srgbClr val="8CBEE6"/>
                  </a:solidFill>
                  <a:latin typeface="Arial" panose="020B0604020202020204" pitchFamily="34" charset="0"/>
                  <a:cs typeface="Arial" panose="020B0604020202020204" pitchFamily="34" charset="0"/>
                  <a:sym typeface="+mn-ea"/>
                </a:rPr>
                <a:t>介绍</a:t>
              </a:r>
              <a:endParaRPr lang="zh-CN" altLang="en-US" sz="2800" b="1" dirty="0">
                <a:solidFill>
                  <a:srgbClr val="8CBEE6"/>
                </a:solidFill>
                <a:latin typeface="Arial" panose="020B0604020202020204" pitchFamily="34" charset="0"/>
                <a:cs typeface="Arial" panose="020B0604020202020204" pitchFamily="34" charset="0"/>
                <a:sym typeface="+mn-ea"/>
              </a:endParaRPr>
            </a:p>
          </p:txBody>
        </p:sp>
        <p:sp>
          <p:nvSpPr>
            <p:cNvPr id="12" name="矩形 11"/>
            <p:cNvSpPr/>
            <p:nvPr>
              <p:custDataLst>
                <p:tags r:id="rId30"/>
              </p:custDataLst>
            </p:nvPr>
          </p:nvSpPr>
          <p:spPr>
            <a:xfrm flipV="1">
              <a:off x="0" y="1403"/>
              <a:ext cx="19200" cy="12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grpSp>
        <p:nvGrpSpPr>
          <p:cNvPr id="2" name="组合 1"/>
          <p:cNvGrpSpPr/>
          <p:nvPr/>
        </p:nvGrpSpPr>
        <p:grpSpPr>
          <a:xfrm>
            <a:off x="1245870" y="1189990"/>
            <a:ext cx="8005928" cy="2449855"/>
            <a:chOff x="1292" y="855"/>
            <a:chExt cx="14034" cy="6645"/>
          </a:xfrm>
        </p:grpSpPr>
        <p:sp>
          <p:nvSpPr>
            <p:cNvPr id="41" name="文本框 40"/>
            <p:cNvSpPr txBox="1"/>
            <p:nvPr/>
          </p:nvSpPr>
          <p:spPr>
            <a:xfrm>
              <a:off x="4012" y="855"/>
              <a:ext cx="11314" cy="6645"/>
            </a:xfrm>
            <a:prstGeom prst="rect">
              <a:avLst/>
            </a:prstGeom>
            <a:noFill/>
          </p:spPr>
          <p:txBody>
            <a:bodyPr wrap="square" lIns="0" tIns="0" rIns="0" bIns="0" rtlCol="0">
              <a:noAutofit/>
            </a:bodyPr>
            <a:p>
              <a:r>
                <a:rPr>
                  <a:latin typeface="VW Text" panose="020B0504040200000003" pitchFamily="34" charset="0"/>
                </a:rPr>
                <a:t>WiFi信号</a:t>
              </a:r>
              <a:r>
                <a:rPr lang="zh-CN">
                  <a:latin typeface="VW Text" panose="020B0504040200000003" pitchFamily="34" charset="0"/>
                </a:rPr>
                <a:t>是</a:t>
              </a:r>
              <a:r>
                <a:rPr>
                  <a:latin typeface="VW Text" panose="020B0504040200000003" pitchFamily="34" charset="0"/>
                </a:rPr>
                <a:t>工作频段主要在2.4 GHz和5 GHz范围</a:t>
              </a:r>
              <a:r>
                <a:rPr lang="zh-CN">
                  <a:latin typeface="VW Text" panose="020B0504040200000003" pitchFamily="34" charset="0"/>
                </a:rPr>
                <a:t>内的电磁波</a:t>
              </a:r>
              <a:r>
                <a:rPr>
                  <a:latin typeface="VW Text" panose="020B0504040200000003" pitchFamily="34" charset="0"/>
                </a:rPr>
                <a:t>。</a:t>
              </a:r>
              <a:endParaRPr>
                <a:latin typeface="VW Text" panose="020B0504040200000003" pitchFamily="34" charset="0"/>
              </a:endParaRPr>
            </a:p>
            <a:p>
              <a:endParaRPr lang="zh-CN">
                <a:latin typeface="VW Text" panose="020B0504040200000003" pitchFamily="34" charset="0"/>
              </a:endParaRPr>
            </a:p>
            <a:p>
              <a:pPr marL="285750" indent="-285750">
                <a:buFont typeface="Arial" panose="020B0604020202020204" pitchFamily="34" charset="0"/>
                <a:buChar char="•"/>
              </a:pPr>
              <a:r>
                <a:rPr lang="zh-CN">
                  <a:latin typeface="VW Text" panose="020B0504040200000003" pitchFamily="34" charset="0"/>
                </a:rPr>
                <a:t>相较于激光传感器，</a:t>
              </a:r>
              <a:r>
                <a:rPr lang="en-US" altLang="zh-CN">
                  <a:latin typeface="VW Text" panose="020B0504040200000003" pitchFamily="34" charset="0"/>
                </a:rPr>
                <a:t>WiFi</a:t>
              </a:r>
              <a:r>
                <a:rPr lang="zh-CN" altLang="en-US">
                  <a:latin typeface="VW Text" panose="020B0504040200000003" pitchFamily="34" charset="0"/>
                </a:rPr>
                <a:t>的</a:t>
              </a:r>
              <a:r>
                <a:rPr lang="zh-CN">
                  <a:latin typeface="VW Text" panose="020B0504040200000003" pitchFamily="34" charset="0"/>
                </a:rPr>
                <a:t>硬件设备</a:t>
              </a:r>
              <a:r>
                <a:rPr lang="zh-CN">
                  <a:solidFill>
                    <a:srgbClr val="FAAA3C"/>
                  </a:solidFill>
                  <a:latin typeface="VW Text" panose="020B0504040200000003" pitchFamily="34" charset="0"/>
                </a:rPr>
                <a:t>便宜易得，随处可见</a:t>
              </a:r>
              <a:r>
                <a:rPr lang="zh-CN">
                  <a:latin typeface="VW Text" panose="020B0504040200000003" pitchFamily="34" charset="0"/>
                </a:rPr>
                <a:t>。</a:t>
              </a:r>
              <a:endParaRPr lang="zh-CN">
                <a:latin typeface="VW Text" panose="020B0504040200000003" pitchFamily="34" charset="0"/>
              </a:endParaRPr>
            </a:p>
            <a:p>
              <a:pPr marL="285750" indent="-285750">
                <a:buFont typeface="Arial" panose="020B0604020202020204" pitchFamily="34" charset="0"/>
                <a:buChar char="•"/>
              </a:pPr>
              <a:endParaRPr lang="zh-CN">
                <a:latin typeface="VW Text" panose="020B0504040200000003" pitchFamily="34" charset="0"/>
              </a:endParaRPr>
            </a:p>
            <a:p>
              <a:pPr marL="285750" indent="-285750">
                <a:buFont typeface="Arial" panose="020B0604020202020204" pitchFamily="34" charset="0"/>
                <a:buChar char="•"/>
              </a:pPr>
              <a:r>
                <a:rPr lang="zh-CN">
                  <a:latin typeface="VW Text" panose="020B0504040200000003" pitchFamily="34" charset="0"/>
                </a:rPr>
                <a:t>相较于摄像头，</a:t>
              </a:r>
              <a:r>
                <a:rPr lang="en-US" altLang="zh-CN">
                  <a:latin typeface="VW Text" panose="020B0504040200000003" pitchFamily="34" charset="0"/>
                </a:rPr>
                <a:t>WiFi</a:t>
              </a:r>
              <a:r>
                <a:rPr lang="zh-CN">
                  <a:latin typeface="VW Text" panose="020B0504040200000003" pitchFamily="34" charset="0"/>
                </a:rPr>
                <a:t>信号</a:t>
              </a:r>
              <a:r>
                <a:rPr lang="zh-CN">
                  <a:solidFill>
                    <a:srgbClr val="FAAA3C"/>
                  </a:solidFill>
                  <a:latin typeface="VW Text" panose="020B0504040200000003" pitchFamily="34" charset="0"/>
                  <a:sym typeface="+mn-ea"/>
                </a:rPr>
                <a:t>不受光线和颜色的影响</a:t>
              </a:r>
              <a:r>
                <a:rPr lang="zh-CN" altLang="en-US">
                  <a:latin typeface="+mj-ea"/>
                  <a:ea typeface="+mj-ea"/>
                  <a:sym typeface="+mn-ea"/>
                </a:rPr>
                <a:t>。</a:t>
              </a:r>
              <a:endParaRPr lang="zh-CN" altLang="en-US">
                <a:latin typeface="+mj-ea"/>
                <a:ea typeface="+mj-ea"/>
                <a:sym typeface="+mn-ea"/>
              </a:endParaRPr>
            </a:p>
            <a:p>
              <a:pPr marL="285750" indent="-285750">
                <a:buFont typeface="Arial" panose="020B0604020202020204" pitchFamily="34" charset="0"/>
                <a:buChar char="•"/>
              </a:pPr>
              <a:endParaRPr lang="zh-CN" altLang="en-US">
                <a:latin typeface="+mj-ea"/>
                <a:ea typeface="+mj-ea"/>
                <a:sym typeface="+mn-ea"/>
              </a:endParaRPr>
            </a:p>
            <a:p>
              <a:pPr marL="285750" indent="-285750">
                <a:buFont typeface="Arial" panose="020B0604020202020204" pitchFamily="34" charset="0"/>
                <a:buChar char="•"/>
              </a:pPr>
              <a:r>
                <a:rPr lang="zh-CN" altLang="en-US">
                  <a:latin typeface="+mj-ea"/>
                  <a:ea typeface="+mj-ea"/>
                  <a:sym typeface="+mn-ea"/>
                </a:rPr>
                <a:t>因为毫米波过高的频率，在其与物体相互作用会产生过高的路径损耗。</a:t>
              </a:r>
              <a:r>
                <a:rPr lang="en-US" altLang="zh-CN">
                  <a:latin typeface="+mj-ea"/>
                  <a:ea typeface="+mj-ea"/>
                  <a:sym typeface="+mn-ea"/>
                </a:rPr>
                <a:t>WiFi</a:t>
              </a:r>
              <a:r>
                <a:rPr lang="zh-CN" altLang="en-US">
                  <a:latin typeface="+mj-ea"/>
                  <a:ea typeface="+mj-ea"/>
                  <a:sym typeface="+mn-ea"/>
                </a:rPr>
                <a:t>信号因为较低的频率，具有</a:t>
              </a:r>
              <a:r>
                <a:rPr lang="zh-CN">
                  <a:solidFill>
                    <a:srgbClr val="FAAA3C"/>
                  </a:solidFill>
                  <a:latin typeface="VW Text" panose="020B0504040200000003" pitchFamily="34" charset="0"/>
                  <a:sym typeface="+mn-ea"/>
                </a:rPr>
                <a:t>一定的穿透力</a:t>
              </a:r>
              <a:r>
                <a:rPr lang="zh-CN" altLang="en-US">
                  <a:latin typeface="+mj-ea"/>
                  <a:ea typeface="+mj-ea"/>
                  <a:sym typeface="+mn-ea"/>
                </a:rPr>
                <a:t>，信号可以透过障碍物被接收。</a:t>
              </a:r>
              <a:endParaRPr lang="zh-CN" altLang="en-US">
                <a:latin typeface="+mj-ea"/>
                <a:ea typeface="+mj-ea"/>
                <a:sym typeface="+mn-ea"/>
              </a:endParaRPr>
            </a:p>
            <a:p>
              <a:pPr marL="285750" indent="-285750">
                <a:buFont typeface="Arial" panose="020B0604020202020204" pitchFamily="34" charset="0"/>
                <a:buChar char="•"/>
              </a:pPr>
              <a:endParaRPr lang="zh-CN" altLang="en-US">
                <a:latin typeface="+mj-ea"/>
                <a:ea typeface="+mj-ea"/>
                <a:sym typeface="+mn-ea"/>
              </a:endParaRPr>
            </a:p>
            <a:p>
              <a:pPr marL="285750" indent="-285750">
                <a:buFont typeface="Arial" panose="020B0604020202020204" pitchFamily="34" charset="0"/>
                <a:buChar char="•"/>
              </a:pPr>
              <a:r>
                <a:rPr lang="zh-CN" altLang="en-US">
                  <a:latin typeface="+mj-ea"/>
                  <a:ea typeface="+mj-ea"/>
                  <a:sym typeface="+mn-ea"/>
                </a:rPr>
                <a:t>相较于超声波，</a:t>
              </a:r>
              <a:r>
                <a:rPr lang="en-US" altLang="zh-CN">
                  <a:latin typeface="+mj-ea"/>
                  <a:ea typeface="+mj-ea"/>
                  <a:sym typeface="+mn-ea"/>
                </a:rPr>
                <a:t>WiFi</a:t>
              </a:r>
              <a:r>
                <a:rPr lang="zh-CN" altLang="en-US">
                  <a:latin typeface="+mj-ea"/>
                  <a:ea typeface="+mj-ea"/>
                  <a:sym typeface="+mn-ea"/>
                </a:rPr>
                <a:t>信号是</a:t>
              </a:r>
              <a:r>
                <a:rPr lang="zh-CN">
                  <a:solidFill>
                    <a:srgbClr val="FAAA3C"/>
                  </a:solidFill>
                  <a:latin typeface="VW Text" panose="020B0504040200000003" pitchFamily="34" charset="0"/>
                  <a:sym typeface="+mn-ea"/>
                </a:rPr>
                <a:t>全范围扩散</a:t>
              </a:r>
              <a:r>
                <a:rPr lang="zh-CN" altLang="en-US">
                  <a:latin typeface="+mj-ea"/>
                  <a:ea typeface="+mj-ea"/>
                  <a:sym typeface="+mn-ea"/>
                </a:rPr>
                <a:t>。</a:t>
              </a:r>
              <a:endParaRPr lang="zh-CN" altLang="en-US">
                <a:latin typeface="+mj-ea"/>
                <a:ea typeface="+mj-ea"/>
                <a:sym typeface="+mn-ea"/>
              </a:endParaRPr>
            </a:p>
          </p:txBody>
        </p:sp>
        <p:grpSp>
          <p:nvGrpSpPr>
            <p:cNvPr id="65" name="组合 64"/>
            <p:cNvGrpSpPr/>
            <p:nvPr/>
          </p:nvGrpSpPr>
          <p:grpSpPr>
            <a:xfrm>
              <a:off x="1292" y="1285"/>
              <a:ext cx="2009" cy="1927"/>
              <a:chOff x="16032" y="6049"/>
              <a:chExt cx="2009" cy="1927"/>
            </a:xfrm>
          </p:grpSpPr>
          <p:grpSp>
            <p:nvGrpSpPr>
              <p:cNvPr id="60" name="组合 59"/>
              <p:cNvGrpSpPr/>
              <p:nvPr/>
            </p:nvGrpSpPr>
            <p:grpSpPr>
              <a:xfrm>
                <a:off x="16032" y="6049"/>
                <a:ext cx="2009" cy="1927"/>
                <a:chOff x="1172" y="2299"/>
                <a:chExt cx="3184" cy="3131"/>
              </a:xfrm>
            </p:grpSpPr>
            <p:sp>
              <p:nvSpPr>
                <p:cNvPr id="62" name="矩形 61"/>
                <p:cNvSpPr/>
                <p:nvPr>
                  <p:custDataLst>
                    <p:tags r:id="rId4"/>
                  </p:custDataLst>
                </p:nvPr>
              </p:nvSpPr>
              <p:spPr>
                <a:xfrm>
                  <a:off x="1451" y="2299"/>
                  <a:ext cx="2082" cy="2247"/>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sp>
              <p:nvSpPr>
                <p:cNvPr id="64" name="文本框 63"/>
                <p:cNvSpPr txBox="1"/>
                <p:nvPr>
                  <p:custDataLst>
                    <p:tags r:id="rId5"/>
                  </p:custDataLst>
                </p:nvPr>
              </p:nvSpPr>
              <p:spPr>
                <a:xfrm>
                  <a:off x="1172" y="4817"/>
                  <a:ext cx="3184" cy="613"/>
                </a:xfrm>
                <a:prstGeom prst="rect">
                  <a:avLst/>
                </a:prstGeom>
                <a:noFill/>
              </p:spPr>
              <p:txBody>
                <a:bodyPr wrap="square" lIns="0" tIns="0" rIns="0" bIns="0" rtlCol="0">
                  <a:noAutofit/>
                </a:bodyPr>
                <a:p>
                  <a:pPr algn="ctr"/>
                  <a:r>
                    <a:rPr lang="en-US" sz="1800" b="1">
                      <a:solidFill>
                        <a:schemeClr val="tx1"/>
                      </a:solidFill>
                      <a:latin typeface="VW Text" panose="020B0504040200000003" pitchFamily="34" charset="0"/>
                      <a:ea typeface="宋体" panose="02010600030101010101" pitchFamily="2" charset="-122"/>
                      <a:sym typeface="+mn-ea"/>
                    </a:rPr>
                    <a:t>WiFI</a:t>
                  </a:r>
                  <a:r>
                    <a:rPr lang="zh-CN" altLang="en-US" sz="1800" b="1">
                      <a:solidFill>
                        <a:schemeClr val="tx1"/>
                      </a:solidFill>
                      <a:latin typeface="VW Text" panose="020B0504040200000003" pitchFamily="34" charset="0"/>
                      <a:ea typeface="宋体" panose="02010600030101010101" pitchFamily="2" charset="-122"/>
                      <a:sym typeface="+mn-ea"/>
                    </a:rPr>
                    <a:t>信号</a:t>
                  </a:r>
                  <a:endParaRPr lang="zh-CN" altLang="en-US" sz="1800" b="1">
                    <a:solidFill>
                      <a:schemeClr val="tx1"/>
                    </a:solidFill>
                    <a:latin typeface="VW Text" panose="020B0504040200000003" pitchFamily="34" charset="0"/>
                    <a:ea typeface="宋体" panose="02010600030101010101" pitchFamily="2" charset="-122"/>
                    <a:sym typeface="+mn-ea"/>
                  </a:endParaRPr>
                </a:p>
              </p:txBody>
            </p:sp>
          </p:grpSp>
          <p:pic>
            <p:nvPicPr>
              <p:cNvPr id="66" name="图片 65"/>
              <p:cNvPicPr>
                <a:picLocks noChangeAspect="1"/>
              </p:cNvPicPr>
              <p:nvPr>
                <p:custDataLst>
                  <p:tags r:id="rId6"/>
                </p:custDataLst>
              </p:nvPr>
            </p:nvPicPr>
            <p:blipFill>
              <a:blip r:embed="rId7"/>
              <a:stretch>
                <a:fillRect/>
              </a:stretch>
            </p:blipFill>
            <p:spPr>
              <a:xfrm>
                <a:off x="16509" y="6160"/>
                <a:ext cx="710" cy="1163"/>
              </a:xfrm>
              <a:prstGeom prst="rect">
                <a:avLst/>
              </a:prstGeom>
            </p:spPr>
          </p:pic>
        </p:grpSp>
      </p:grpSp>
      <p:sp>
        <p:nvSpPr>
          <p:cNvPr id="67" name="文本框 66"/>
          <p:cNvSpPr txBox="1"/>
          <p:nvPr/>
        </p:nvSpPr>
        <p:spPr>
          <a:xfrm>
            <a:off x="1346200" y="4337685"/>
            <a:ext cx="8501380" cy="459105"/>
          </a:xfrm>
          <a:prstGeom prst="rect">
            <a:avLst/>
          </a:prstGeom>
          <a:noFill/>
        </p:spPr>
        <p:txBody>
          <a:bodyPr wrap="square" lIns="0" tIns="0" rIns="0" bIns="0" rtlCol="0">
            <a:noAutofit/>
          </a:bodyPr>
          <a:p>
            <a:r>
              <a:rPr>
                <a:latin typeface="+mj-ea"/>
                <a:ea typeface="+mj-ea"/>
              </a:rPr>
              <a:t>根据以上WiFi信号的特点，本参赛小组现提出在数字工厂中使用</a:t>
            </a:r>
            <a:r>
              <a:rPr lang="zh-CN">
                <a:latin typeface="+mj-ea"/>
                <a:ea typeface="+mj-ea"/>
              </a:rPr>
              <a:t>基于人工智能的</a:t>
            </a:r>
            <a:r>
              <a:rPr>
                <a:solidFill>
                  <a:schemeClr val="accent2">
                    <a:lumMod val="60000"/>
                    <a:lumOff val="40000"/>
                  </a:schemeClr>
                </a:solidFill>
                <a:latin typeface="VW Text" panose="020B0504040200000003" pitchFamily="34" charset="0"/>
              </a:rPr>
              <a:t>WiFi信号工业机器人姿势识别</a:t>
            </a:r>
            <a:r>
              <a:rPr lang="zh-CN">
                <a:latin typeface="+mj-ea"/>
                <a:ea typeface="+mj-ea"/>
              </a:rPr>
              <a:t>，</a:t>
            </a:r>
            <a:r>
              <a:rPr lang="zh-CN">
                <a:latin typeface="+mj-ea"/>
                <a:ea typeface="+mj-ea"/>
              </a:rPr>
              <a:t>实时监控机器人是否存在故障，</a:t>
            </a:r>
            <a:r>
              <a:rPr>
                <a:latin typeface="+mj-ea"/>
                <a:ea typeface="+mj-ea"/>
              </a:rPr>
              <a:t>以提高</a:t>
            </a:r>
            <a:r>
              <a:rPr lang="zh-CN">
                <a:latin typeface="+mj-ea"/>
                <a:ea typeface="+mj-ea"/>
              </a:rPr>
              <a:t>数字</a:t>
            </a:r>
            <a:r>
              <a:rPr>
                <a:latin typeface="+mj-ea"/>
                <a:ea typeface="+mj-ea"/>
              </a:rPr>
              <a:t>工厂运作效率。同时，该技术可作为</a:t>
            </a:r>
            <a:r>
              <a:rPr>
                <a:solidFill>
                  <a:schemeClr val="accent2">
                    <a:lumMod val="60000"/>
                    <a:lumOff val="40000"/>
                  </a:schemeClr>
                </a:solidFill>
                <a:latin typeface="VW Text" panose="020B0504040200000003" pitchFamily="34" charset="0"/>
              </a:rPr>
              <a:t>自动驾驶障碍物检测</a:t>
            </a:r>
            <a:r>
              <a:rPr>
                <a:latin typeface="+mj-ea"/>
                <a:ea typeface="+mj-ea"/>
              </a:rPr>
              <a:t>的补充手段。</a:t>
            </a:r>
            <a:endParaRPr>
              <a:latin typeface="+mj-ea"/>
              <a:ea typeface="+mj-ea"/>
            </a:endParaRPr>
          </a:p>
        </p:txBody>
      </p:sp>
      <p:pic>
        <p:nvPicPr>
          <p:cNvPr id="2055" name="Picture 7" descr="https://cdn.pixabay.com/photo/2023/08/20/02/09/ai-generated-8201501_1280.png"/>
          <p:cNvPicPr>
            <a:picLocks noGrp="1" noChangeAspect="1" noChangeArrowheads="1"/>
          </p:cNvPicPr>
          <p:nvPr>
            <p:ph type="pic" sz="quarter" idx="19"/>
            <p:custDataLst>
              <p:tags r:id="rId8"/>
            </p:custDataLst>
          </p:nvPr>
        </p:nvPicPr>
        <p:blipFill>
          <a:blip r:embed="rId9">
            <a:extLst>
              <a:ext uri="{28A0092B-C50C-407E-A947-70E740481C1C}">
                <a14:useLocalDpi xmlns:a14="http://schemas.microsoft.com/office/drawing/2010/main" val="0"/>
              </a:ext>
            </a:extLst>
          </a:blip>
          <a:srcRect l="9157" r="9157"/>
          <a:stretch>
            <a:fillRect/>
          </a:stretch>
        </p:blipFill>
        <p:spPr bwMode="auto">
          <a:xfrm>
            <a:off x="2991485" y="5296535"/>
            <a:ext cx="1718945" cy="1178560"/>
          </a:xfrm>
          <a:prstGeom prst="rect">
            <a:avLst/>
          </a:prstGeom>
          <a:noFill/>
          <a:extLst>
            <a:ext uri="{909E8E84-426E-40DD-AFC4-6F175D3DCCD1}">
              <a14:hiddenFill xmlns:a14="http://schemas.microsoft.com/office/drawing/2010/main">
                <a:solidFill>
                  <a:srgbClr val="FFFFFF"/>
                </a:solidFill>
              </a14:hiddenFill>
            </a:ext>
          </a:extLst>
        </p:spPr>
      </p:pic>
      <p:pic>
        <p:nvPicPr>
          <p:cNvPr id="103" name="图片 102"/>
          <p:cNvPicPr/>
          <p:nvPr>
            <p:custDataLst>
              <p:tags r:id="rId10"/>
            </p:custDataLst>
          </p:nvPr>
        </p:nvPicPr>
        <p:blipFill>
          <a:blip r:embed="rId11"/>
          <a:stretch>
            <a:fillRect/>
          </a:stretch>
        </p:blipFill>
        <p:spPr>
          <a:xfrm>
            <a:off x="5644515" y="5297170"/>
            <a:ext cx="1877695" cy="1177290"/>
          </a:xfrm>
          <a:prstGeom prst="rect">
            <a:avLst/>
          </a:prstGeom>
          <a:noFill/>
          <a:ln w="9525">
            <a:noFill/>
          </a:ln>
        </p:spPr>
      </p:pic>
      <p:grpSp>
        <p:nvGrpSpPr>
          <p:cNvPr id="13" name="组合 12"/>
          <p:cNvGrpSpPr/>
          <p:nvPr/>
        </p:nvGrpSpPr>
        <p:grpSpPr>
          <a:xfrm>
            <a:off x="0" y="104775"/>
            <a:ext cx="12192000" cy="864870"/>
            <a:chOff x="0" y="165"/>
            <a:chExt cx="19200" cy="1362"/>
          </a:xfrm>
        </p:grpSpPr>
        <p:sp>
          <p:nvSpPr>
            <p:cNvPr id="4" name="矩形: 圆角 1"/>
            <p:cNvSpPr/>
            <p:nvPr>
              <p:custDataLst>
                <p:tags r:id="rId12"/>
              </p:custDataLst>
            </p:nvPr>
          </p:nvSpPr>
          <p:spPr>
            <a:xfrm>
              <a:off x="65" y="165"/>
              <a:ext cx="1491" cy="1059"/>
            </a:xfrm>
            <a:prstGeom prst="roundRect">
              <a:avLst>
                <a:gd name="adj" fmla="val 22122"/>
              </a:avLst>
            </a:prstGeom>
            <a:solidFill>
              <a:srgbClr val="99D1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r"/>
              <a:r>
                <a:rPr lang="en-US" altLang="zh-CN" sz="3200" b="1" dirty="0">
                  <a:latin typeface="Arial" panose="020B0604020202020204" pitchFamily="34" charset="0"/>
                  <a:cs typeface="Arial" panose="020B0604020202020204" pitchFamily="34" charset="0"/>
                </a:rPr>
                <a:t>01</a:t>
              </a:r>
              <a:endParaRPr lang="zh-CN" altLang="en-US" sz="3200" b="1" dirty="0">
                <a:latin typeface="Arial" panose="020B0604020202020204" pitchFamily="34" charset="0"/>
                <a:cs typeface="Arial" panose="020B0604020202020204" pitchFamily="34" charset="0"/>
              </a:endParaRPr>
            </a:p>
          </p:txBody>
        </p:sp>
        <p:sp>
          <p:nvSpPr>
            <p:cNvPr id="8" name="文本框 7"/>
            <p:cNvSpPr txBox="1"/>
            <p:nvPr>
              <p:custDataLst>
                <p:tags r:id="rId13"/>
              </p:custDataLst>
            </p:nvPr>
          </p:nvSpPr>
          <p:spPr>
            <a:xfrm>
              <a:off x="1749" y="234"/>
              <a:ext cx="7140" cy="822"/>
            </a:xfrm>
            <a:prstGeom prst="rect">
              <a:avLst/>
            </a:prstGeom>
            <a:noFill/>
          </p:spPr>
          <p:txBody>
            <a:bodyPr wrap="square" rtlCol="0">
              <a:spAutoFit/>
            </a:bodyPr>
            <a:p>
              <a:pPr lvl="0" algn="l">
                <a:buClrTx/>
                <a:buSzTx/>
                <a:buFontTx/>
              </a:pPr>
              <a:r>
                <a:rPr lang="en-US" altLang="zh-CN" sz="2800" b="1" dirty="0">
                  <a:solidFill>
                    <a:srgbClr val="8CBEE6"/>
                  </a:solidFill>
                  <a:latin typeface="Arial" panose="020B0604020202020204" pitchFamily="34" charset="0"/>
                  <a:cs typeface="Arial" panose="020B0604020202020204" pitchFamily="34" charset="0"/>
                  <a:sym typeface="+mn-ea"/>
                </a:rPr>
                <a:t>WiFi</a:t>
              </a:r>
              <a:r>
                <a:rPr lang="zh-CN" altLang="en-US" sz="2800" b="1" dirty="0">
                  <a:solidFill>
                    <a:srgbClr val="8CBEE6"/>
                  </a:solidFill>
                  <a:latin typeface="Arial" panose="020B0604020202020204" pitchFamily="34" charset="0"/>
                  <a:cs typeface="Arial" panose="020B0604020202020204" pitchFamily="34" charset="0"/>
                  <a:sym typeface="+mn-ea"/>
                </a:rPr>
                <a:t>信号</a:t>
              </a:r>
              <a:r>
                <a:rPr lang="zh-CN" altLang="en-US" sz="2800" b="1" dirty="0">
                  <a:solidFill>
                    <a:srgbClr val="8CBEE6"/>
                  </a:solidFill>
                  <a:latin typeface="Arial" panose="020B0604020202020204" pitchFamily="34" charset="0"/>
                  <a:cs typeface="Arial" panose="020B0604020202020204" pitchFamily="34" charset="0"/>
                  <a:sym typeface="+mn-ea"/>
                </a:rPr>
                <a:t>特点分析</a:t>
              </a:r>
              <a:endParaRPr lang="zh-CN" altLang="en-US" sz="2800" b="1" dirty="0">
                <a:solidFill>
                  <a:srgbClr val="8CBEE6"/>
                </a:solidFill>
                <a:latin typeface="Arial" panose="020B0604020202020204" pitchFamily="34" charset="0"/>
                <a:cs typeface="Arial" panose="020B0604020202020204" pitchFamily="34" charset="0"/>
                <a:sym typeface="+mn-ea"/>
              </a:endParaRPr>
            </a:p>
          </p:txBody>
        </p:sp>
        <p:sp>
          <p:nvSpPr>
            <p:cNvPr id="12" name="矩形 11"/>
            <p:cNvSpPr/>
            <p:nvPr>
              <p:custDataLst>
                <p:tags r:id="rId14"/>
              </p:custDataLst>
            </p:nvPr>
          </p:nvSpPr>
          <p:spPr>
            <a:xfrm flipV="1">
              <a:off x="0" y="1403"/>
              <a:ext cx="19200" cy="12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日期占位符 11"/>
          <p:cNvSpPr>
            <a:spLocks noGrp="1"/>
          </p:cNvSpPr>
          <p:nvPr>
            <p:ph type="dt" sz="half" idx="10"/>
          </p:nvPr>
        </p:nvSpPr>
        <p:spPr/>
        <p:txBody>
          <a:bodyPr/>
          <a:p>
            <a:fld id="{10DE6694-91EE-4B0C-9E3C-CED68B155AFF}" type="datetime1">
              <a:rPr lang="zh-CN" altLang="en-US" noProof="0" smtClean="0"/>
            </a:fld>
            <a:endParaRPr lang="en-US" noProof="0"/>
          </a:p>
        </p:txBody>
      </p:sp>
      <p:sp>
        <p:nvSpPr>
          <p:cNvPr id="13" name="页脚占位符 12"/>
          <p:cNvSpPr>
            <a:spLocks noGrp="1"/>
          </p:cNvSpPr>
          <p:nvPr>
            <p:ph type="ftr" sz="quarter" idx="11"/>
          </p:nvPr>
        </p:nvSpPr>
        <p:spPr/>
        <p:txBody>
          <a:bodyPr/>
          <a:p>
            <a:r>
              <a:rPr lang="en-US" noProof="0" smtClean="0"/>
              <a:t>Department VWA-DT  |  Hackathon Challenge Release  |  CSD-class</a:t>
            </a:r>
            <a:endParaRPr lang="en-US" noProof="0"/>
          </a:p>
        </p:txBody>
      </p:sp>
      <p:sp>
        <p:nvSpPr>
          <p:cNvPr id="14" name="灯片编号占位符 13"/>
          <p:cNvSpPr>
            <a:spLocks noGrp="1"/>
          </p:cNvSpPr>
          <p:nvPr>
            <p:ph type="sldNum" sz="quarter" idx="12"/>
          </p:nvPr>
        </p:nvSpPr>
        <p:spPr/>
        <p:txBody>
          <a:bodyPr/>
          <a:p>
            <a:fld id="{53C98C43-8B83-4748-BA0D-B0C90A16569F}" type="slidenum">
              <a:rPr lang="en-US" noProof="0" smtClean="0"/>
            </a:fld>
            <a:endParaRPr lang="en-US" noProof="0"/>
          </a:p>
        </p:txBody>
      </p:sp>
      <p:grpSp>
        <p:nvGrpSpPr>
          <p:cNvPr id="16" name="组合 15"/>
          <p:cNvGrpSpPr/>
          <p:nvPr/>
        </p:nvGrpSpPr>
        <p:grpSpPr>
          <a:xfrm>
            <a:off x="1158240" y="1195070"/>
            <a:ext cx="4113530" cy="4860290"/>
            <a:chOff x="1551" y="667"/>
            <a:chExt cx="7384" cy="8665"/>
          </a:xfrm>
        </p:grpSpPr>
        <p:grpSp>
          <p:nvGrpSpPr>
            <p:cNvPr id="11" name="组合 10"/>
            <p:cNvGrpSpPr/>
            <p:nvPr/>
          </p:nvGrpSpPr>
          <p:grpSpPr>
            <a:xfrm>
              <a:off x="1551" y="667"/>
              <a:ext cx="7384" cy="8665"/>
              <a:chOff x="1551" y="667"/>
              <a:chExt cx="6272" cy="5911"/>
            </a:xfrm>
          </p:grpSpPr>
          <p:grpSp>
            <p:nvGrpSpPr>
              <p:cNvPr id="3" name="组合 2"/>
              <p:cNvGrpSpPr/>
              <p:nvPr/>
            </p:nvGrpSpPr>
            <p:grpSpPr>
              <a:xfrm>
                <a:off x="1551" y="667"/>
                <a:ext cx="6272" cy="5911"/>
                <a:chOff x="1433" y="3434"/>
                <a:chExt cx="7390" cy="6852"/>
              </a:xfrm>
            </p:grpSpPr>
            <p:sp>
              <p:nvSpPr>
                <p:cNvPr id="10" name="矩形 9"/>
                <p:cNvSpPr/>
                <p:nvPr>
                  <p:custDataLst>
                    <p:tags r:id="rId1"/>
                  </p:custDataLst>
                </p:nvPr>
              </p:nvSpPr>
              <p:spPr>
                <a:xfrm>
                  <a:off x="1433" y="4860"/>
                  <a:ext cx="7390" cy="5427"/>
                </a:xfrm>
                <a:prstGeom prst="rect">
                  <a:avLst/>
                </a:prstGeom>
                <a:solidFill>
                  <a:schemeClr val="tx2">
                    <a:lumMod val="25000"/>
                    <a:lumOff val="75000"/>
                    <a:alpha val="28000"/>
                  </a:schemeClr>
                </a:solidFill>
                <a:ln>
                  <a:solidFill>
                    <a:schemeClr val="accent1">
                      <a:lumMod val="75000"/>
                      <a:alpha val="39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8" name="圆角矩形 7"/>
                <p:cNvSpPr/>
                <p:nvPr>
                  <p:custDataLst>
                    <p:tags r:id="rId2"/>
                  </p:custDataLst>
                </p:nvPr>
              </p:nvSpPr>
              <p:spPr>
                <a:xfrm>
                  <a:off x="1433" y="3434"/>
                  <a:ext cx="7389" cy="1669"/>
                </a:xfrm>
                <a:prstGeom prst="roundRect">
                  <a:avLst/>
                </a:prstGeom>
                <a:solidFill>
                  <a:srgbClr val="99D1CD"/>
                </a:solidFill>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altLang="en-US" sz="3600">
                      <a:solidFill>
                        <a:schemeClr val="bg1"/>
                      </a:solidFill>
                      <a:sym typeface="+mn-ea"/>
                    </a:rPr>
                    <a:t>识别</a:t>
                  </a:r>
                  <a:endParaRPr lang="zh-CN" altLang="en-US" sz="3600">
                    <a:solidFill>
                      <a:schemeClr val="bg1"/>
                    </a:solidFill>
                    <a:sym typeface="+mn-ea"/>
                  </a:endParaRPr>
                </a:p>
              </p:txBody>
            </p:sp>
          </p:grpSp>
          <p:sp>
            <p:nvSpPr>
              <p:cNvPr id="4" name="文本框 3"/>
              <p:cNvSpPr txBox="1"/>
              <p:nvPr/>
            </p:nvSpPr>
            <p:spPr>
              <a:xfrm>
                <a:off x="1811" y="2338"/>
                <a:ext cx="5785" cy="1497"/>
              </a:xfrm>
              <a:prstGeom prst="rect">
                <a:avLst/>
              </a:prstGeom>
              <a:noFill/>
            </p:spPr>
            <p:txBody>
              <a:bodyPr wrap="square" lIns="0" tIns="0" rIns="0" bIns="0" rtlCol="0">
                <a:spAutoFit/>
              </a:bodyPr>
              <a:p>
                <a:pPr algn="l"/>
                <a:r>
                  <a:rPr lang="zh-CN" altLang="en-US" sz="1600">
                    <a:latin typeface="+mj-ea"/>
                    <a:ea typeface="+mj-ea"/>
                    <a:sym typeface="+mn-ea"/>
                  </a:rPr>
                  <a:t>根据提出模型具有的</a:t>
                </a:r>
                <a:r>
                  <a:rPr lang="zh-CN" altLang="en-US" sz="1600">
                    <a:latin typeface="+mj-ea"/>
                    <a:ea typeface="+mj-ea"/>
                    <a:sym typeface="+mn-ea"/>
                  </a:rPr>
                  <a:t>识别功能可用于工业机器人的动作识别，实现自动监控并及时报警，在Digital Factory应用场景下有效提高工厂运转效率。</a:t>
                </a:r>
                <a:endParaRPr lang="zh-CN" altLang="en-US" sz="1600" b="0">
                  <a:latin typeface="+mj-ea"/>
                  <a:ea typeface="+mj-ea"/>
                </a:endParaRPr>
              </a:p>
              <a:p>
                <a:pPr algn="l"/>
                <a:endParaRPr lang="zh-CN" altLang="en-US" sz="1600" dirty="0" err="1" smtClean="0">
                  <a:solidFill>
                    <a:schemeClr val="tx2"/>
                  </a:solidFill>
                </a:endParaRPr>
              </a:p>
            </p:txBody>
          </p:sp>
          <p:sp>
            <p:nvSpPr>
              <p:cNvPr id="5" name="圆角矩形 4"/>
              <p:cNvSpPr/>
              <p:nvPr/>
            </p:nvSpPr>
            <p:spPr>
              <a:xfrm>
                <a:off x="1812" y="4268"/>
                <a:ext cx="2592" cy="1993"/>
              </a:xfrm>
              <a:prstGeom prst="roundRect">
                <a:avLst/>
              </a:prstGeom>
              <a:solidFill>
                <a:srgbClr val="C882BE">
                  <a:alpha val="57000"/>
                </a:srgb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r>
                  <a:rPr lang="zh-CN" altLang="en-US" sz="1600">
                    <a:latin typeface="+mj-ea"/>
                    <a:ea typeface="+mj-ea"/>
                    <a:sym typeface="+mn-ea"/>
                  </a:rPr>
                  <a:t>设备便宜，易部署</a:t>
                </a:r>
                <a:endParaRPr lang="zh-CN" altLang="en-US" sz="1600" dirty="0" err="1" smtClean="0"/>
              </a:p>
            </p:txBody>
          </p:sp>
          <p:sp>
            <p:nvSpPr>
              <p:cNvPr id="7" name="圆角矩形 6"/>
              <p:cNvSpPr/>
              <p:nvPr>
                <p:custDataLst>
                  <p:tags r:id="rId3"/>
                </p:custDataLst>
              </p:nvPr>
            </p:nvSpPr>
            <p:spPr>
              <a:xfrm>
                <a:off x="4632" y="4268"/>
                <a:ext cx="2657" cy="1993"/>
              </a:xfrm>
              <a:prstGeom prst="roundRect">
                <a:avLst/>
              </a:prstGeom>
              <a:solidFill>
                <a:srgbClr val="C882BE">
                  <a:alpha val="57000"/>
                </a:srgb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r>
                  <a:rPr lang="zh-CN" altLang="en-US" sz="1600">
                    <a:latin typeface="+mj-ea"/>
                    <a:ea typeface="+mj-ea"/>
                    <a:sym typeface="+mn-ea"/>
                  </a:rPr>
                  <a:t>不受光线影响，无灯工厂也可以有效工作</a:t>
                </a:r>
                <a:endParaRPr lang="zh-CN" altLang="en-US" sz="1600" dirty="0" err="1" smtClean="0"/>
              </a:p>
            </p:txBody>
          </p:sp>
        </p:grpSp>
        <p:sp>
          <p:nvSpPr>
            <p:cNvPr id="15" name="圆角矩形 14"/>
            <p:cNvSpPr/>
            <p:nvPr/>
          </p:nvSpPr>
          <p:spPr>
            <a:xfrm>
              <a:off x="1857" y="4998"/>
              <a:ext cx="2075" cy="729"/>
            </a:xfrm>
            <a:prstGeom prst="roundRect">
              <a:avLst/>
            </a:prstGeom>
            <a:solidFill>
              <a:srgbClr val="CCE8E6"/>
            </a:solidFill>
            <a:effectLst>
              <a:outerShdw blurRad="50800" dist="38100" dir="2700000" algn="tl" rotWithShape="0">
                <a:prstClr val="black">
                  <a:alpha val="40000"/>
                </a:prstClr>
              </a:outerShdw>
            </a:effectLst>
          </p:spPr>
          <p:style>
            <a:lnRef idx="2">
              <a:schemeClr val="accent1"/>
            </a:lnRef>
            <a:fillRef idx="0">
              <a:srgbClr val="FFFFFF"/>
            </a:fillRef>
            <a:effectRef idx="0">
              <a:srgbClr val="FFFFFF"/>
            </a:effectRef>
            <a:fontRef idx="minor">
              <a:schemeClr val="tx1"/>
            </a:fontRef>
          </p:style>
          <p:txBody>
            <a:bodyPr lIns="180000" tIns="180000" rIns="180000" bIns="180000" rtlCol="0" anchor="ctr"/>
            <a:p>
              <a:pPr algn="ctr"/>
              <a:r>
                <a:rPr lang="zh-CN" altLang="en-US" sz="1400" b="1" dirty="0" err="1" smtClean="0">
                  <a:solidFill>
                    <a:schemeClr val="bg2"/>
                  </a:solidFill>
                </a:rPr>
                <a:t>显著优势</a:t>
              </a:r>
              <a:endParaRPr lang="zh-CN" altLang="en-US" sz="1400" b="1" dirty="0" err="1" smtClean="0">
                <a:solidFill>
                  <a:schemeClr val="bg2"/>
                </a:solidFill>
              </a:endParaRPr>
            </a:p>
          </p:txBody>
        </p:sp>
      </p:grpSp>
      <p:grpSp>
        <p:nvGrpSpPr>
          <p:cNvPr id="17" name="组合 16"/>
          <p:cNvGrpSpPr/>
          <p:nvPr/>
        </p:nvGrpSpPr>
        <p:grpSpPr>
          <a:xfrm>
            <a:off x="6073775" y="1189990"/>
            <a:ext cx="4443095" cy="4860925"/>
            <a:chOff x="1551" y="667"/>
            <a:chExt cx="7384" cy="8665"/>
          </a:xfrm>
        </p:grpSpPr>
        <p:grpSp>
          <p:nvGrpSpPr>
            <p:cNvPr id="18" name="组合 17"/>
            <p:cNvGrpSpPr/>
            <p:nvPr/>
          </p:nvGrpSpPr>
          <p:grpSpPr>
            <a:xfrm>
              <a:off x="1551" y="667"/>
              <a:ext cx="7384" cy="8665"/>
              <a:chOff x="1551" y="667"/>
              <a:chExt cx="6272" cy="5911"/>
            </a:xfrm>
          </p:grpSpPr>
          <p:grpSp>
            <p:nvGrpSpPr>
              <p:cNvPr id="19" name="组合 18"/>
              <p:cNvGrpSpPr/>
              <p:nvPr/>
            </p:nvGrpSpPr>
            <p:grpSpPr>
              <a:xfrm>
                <a:off x="1551" y="667"/>
                <a:ext cx="6272" cy="5911"/>
                <a:chOff x="1433" y="3434"/>
                <a:chExt cx="7390" cy="6852"/>
              </a:xfrm>
            </p:grpSpPr>
            <p:sp>
              <p:nvSpPr>
                <p:cNvPr id="20" name="矩形 19"/>
                <p:cNvSpPr/>
                <p:nvPr>
                  <p:custDataLst>
                    <p:tags r:id="rId4"/>
                  </p:custDataLst>
                </p:nvPr>
              </p:nvSpPr>
              <p:spPr>
                <a:xfrm>
                  <a:off x="1433" y="4860"/>
                  <a:ext cx="7390" cy="5427"/>
                </a:xfrm>
                <a:prstGeom prst="rect">
                  <a:avLst/>
                </a:prstGeom>
                <a:solidFill>
                  <a:schemeClr val="tx2">
                    <a:lumMod val="25000"/>
                    <a:lumOff val="75000"/>
                    <a:alpha val="28000"/>
                  </a:schemeClr>
                </a:solidFill>
                <a:ln>
                  <a:solidFill>
                    <a:schemeClr val="accent1">
                      <a:lumMod val="75000"/>
                      <a:alpha val="39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21" name="圆角矩形 20"/>
                <p:cNvSpPr/>
                <p:nvPr>
                  <p:custDataLst>
                    <p:tags r:id="rId5"/>
                  </p:custDataLst>
                </p:nvPr>
              </p:nvSpPr>
              <p:spPr>
                <a:xfrm>
                  <a:off x="1433" y="3434"/>
                  <a:ext cx="7389" cy="1669"/>
                </a:xfrm>
                <a:prstGeom prst="roundRect">
                  <a:avLst/>
                </a:prstGeom>
                <a:solidFill>
                  <a:srgbClr val="99D1CD"/>
                </a:solidFill>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altLang="en-US" sz="3600">
                      <a:solidFill>
                        <a:schemeClr val="bg1"/>
                      </a:solidFill>
                      <a:sym typeface="+mn-ea"/>
                    </a:rPr>
                    <a:t>定位</a:t>
                  </a:r>
                  <a:endParaRPr lang="zh-CN" altLang="en-US" sz="3600">
                    <a:solidFill>
                      <a:schemeClr val="bg1"/>
                    </a:solidFill>
                    <a:sym typeface="+mn-ea"/>
                  </a:endParaRPr>
                </a:p>
              </p:txBody>
            </p:sp>
          </p:grpSp>
          <p:sp>
            <p:nvSpPr>
              <p:cNvPr id="22" name="文本框 21"/>
              <p:cNvSpPr txBox="1"/>
              <p:nvPr>
                <p:custDataLst>
                  <p:tags r:id="rId6"/>
                </p:custDataLst>
              </p:nvPr>
            </p:nvSpPr>
            <p:spPr>
              <a:xfrm>
                <a:off x="1811" y="2438"/>
                <a:ext cx="5785" cy="598"/>
              </a:xfrm>
              <a:prstGeom prst="rect">
                <a:avLst/>
              </a:prstGeom>
              <a:noFill/>
            </p:spPr>
            <p:txBody>
              <a:bodyPr wrap="square" lIns="0" tIns="0" rIns="0" bIns="0" rtlCol="0">
                <a:spAutoFit/>
              </a:bodyPr>
              <a:p>
                <a:pPr algn="l"/>
                <a:r>
                  <a:rPr lang="zh-CN" altLang="en-US" sz="1600">
                    <a:latin typeface="+mj-ea"/>
                    <a:ea typeface="+mj-ea"/>
                    <a:sym typeface="+mn-ea"/>
                  </a:rPr>
                  <a:t>根据提出模型</a:t>
                </a:r>
                <a:r>
                  <a:rPr lang="zh-CN" altLang="en-US" sz="1600">
                    <a:latin typeface="+mj-ea"/>
                    <a:ea typeface="+mj-ea"/>
                    <a:sym typeface="+mn-ea"/>
                  </a:rPr>
                  <a:t>具有的定位功能，可以将其用于自动驾驶的障碍物识别。</a:t>
                </a:r>
                <a:endParaRPr lang="zh-CN" altLang="en-US" sz="1600" dirty="0" err="1" smtClean="0">
                  <a:solidFill>
                    <a:schemeClr val="tx2"/>
                  </a:solidFill>
                </a:endParaRPr>
              </a:p>
            </p:txBody>
          </p:sp>
          <p:sp>
            <p:nvSpPr>
              <p:cNvPr id="23" name="圆角矩形 22"/>
              <p:cNvSpPr/>
              <p:nvPr>
                <p:custDataLst>
                  <p:tags r:id="rId7"/>
                </p:custDataLst>
              </p:nvPr>
            </p:nvSpPr>
            <p:spPr>
              <a:xfrm>
                <a:off x="1812" y="4268"/>
                <a:ext cx="2592" cy="1993"/>
              </a:xfrm>
              <a:prstGeom prst="roundRect">
                <a:avLst/>
              </a:prstGeom>
              <a:solidFill>
                <a:srgbClr val="C882BE">
                  <a:alpha val="57000"/>
                </a:srgb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r>
                  <a:rPr lang="en-US" altLang="zh-CN" sz="1600">
                    <a:latin typeface="+mj-ea"/>
                    <a:ea typeface="+mj-ea"/>
                    <a:sym typeface="+mn-ea"/>
                  </a:rPr>
                  <a:t>WiFi</a:t>
                </a:r>
                <a:r>
                  <a:rPr lang="zh-CN" altLang="en-US" sz="1600">
                    <a:latin typeface="+mj-ea"/>
                    <a:ea typeface="+mj-ea"/>
                    <a:sym typeface="+mn-ea"/>
                  </a:rPr>
                  <a:t>信号具备一定穿透力，可以辨别遮挡物后面的行人。</a:t>
                </a:r>
                <a:endParaRPr lang="zh-CN" altLang="en-US" sz="1600" dirty="0" err="1" smtClean="0"/>
              </a:p>
            </p:txBody>
          </p:sp>
          <p:sp>
            <p:nvSpPr>
              <p:cNvPr id="24" name="圆角矩形 23"/>
              <p:cNvSpPr/>
              <p:nvPr>
                <p:custDataLst>
                  <p:tags r:id="rId8"/>
                </p:custDataLst>
              </p:nvPr>
            </p:nvSpPr>
            <p:spPr>
              <a:xfrm>
                <a:off x="4632" y="4268"/>
                <a:ext cx="2657" cy="1993"/>
              </a:xfrm>
              <a:prstGeom prst="roundRect">
                <a:avLst/>
              </a:prstGeom>
              <a:solidFill>
                <a:srgbClr val="C882BE">
                  <a:alpha val="57000"/>
                </a:srgb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r>
                  <a:rPr lang="zh-CN" altLang="en-US" sz="1600">
                    <a:latin typeface="+mj-ea"/>
                    <a:ea typeface="+mj-ea"/>
                    <a:sym typeface="+mn-ea"/>
                  </a:rPr>
                  <a:t>全范围扩散的信号可以</a:t>
                </a:r>
                <a:r>
                  <a:rPr lang="zh-CN" altLang="en-US" sz="1600">
                    <a:latin typeface="+mj-ea"/>
                    <a:ea typeface="+mj-ea"/>
                    <a:sym typeface="+mn-ea"/>
                  </a:rPr>
                  <a:t>全局判断障碍物大致方位，再由超声波雷达指向对应位置精准识障。</a:t>
                </a:r>
                <a:endParaRPr lang="zh-CN" altLang="en-US" sz="1600" dirty="0" err="1" smtClean="0"/>
              </a:p>
            </p:txBody>
          </p:sp>
        </p:grpSp>
        <p:sp>
          <p:nvSpPr>
            <p:cNvPr id="25" name="圆角矩形 24"/>
            <p:cNvSpPr/>
            <p:nvPr>
              <p:custDataLst>
                <p:tags r:id="rId9"/>
              </p:custDataLst>
            </p:nvPr>
          </p:nvSpPr>
          <p:spPr>
            <a:xfrm>
              <a:off x="1856" y="5036"/>
              <a:ext cx="2075" cy="729"/>
            </a:xfrm>
            <a:prstGeom prst="roundRect">
              <a:avLst/>
            </a:prstGeom>
            <a:solidFill>
              <a:srgbClr val="CCE8E6"/>
            </a:solidFill>
            <a:effectLst>
              <a:outerShdw blurRad="50800" dist="38100" dir="2700000" algn="tl" rotWithShape="0">
                <a:prstClr val="black">
                  <a:alpha val="40000"/>
                </a:prstClr>
              </a:outerShdw>
            </a:effectLst>
          </p:spPr>
          <p:style>
            <a:lnRef idx="2">
              <a:schemeClr val="accent1"/>
            </a:lnRef>
            <a:fillRef idx="0">
              <a:srgbClr val="FFFFFF"/>
            </a:fillRef>
            <a:effectRef idx="0">
              <a:srgbClr val="FFFFFF"/>
            </a:effectRef>
            <a:fontRef idx="minor">
              <a:schemeClr val="tx1"/>
            </a:fontRef>
          </p:style>
          <p:txBody>
            <a:bodyPr lIns="180000" tIns="180000" rIns="180000" bIns="180000" rtlCol="0" anchor="ctr"/>
            <a:p>
              <a:pPr algn="ctr"/>
              <a:r>
                <a:rPr lang="zh-CN" altLang="en-US" sz="1400" b="1" dirty="0" err="1" smtClean="0">
                  <a:solidFill>
                    <a:schemeClr val="bg2"/>
                  </a:solidFill>
                </a:rPr>
                <a:t>显著优势</a:t>
              </a:r>
              <a:endParaRPr lang="zh-CN" altLang="en-US" sz="1400" b="1" dirty="0" err="1" smtClean="0">
                <a:solidFill>
                  <a:schemeClr val="bg2"/>
                </a:solidFill>
              </a:endParaRPr>
            </a:p>
          </p:txBody>
        </p:sp>
      </p:grpSp>
      <p:grpSp>
        <p:nvGrpSpPr>
          <p:cNvPr id="2" name="组合 1"/>
          <p:cNvGrpSpPr/>
          <p:nvPr/>
        </p:nvGrpSpPr>
        <p:grpSpPr>
          <a:xfrm>
            <a:off x="0" y="104775"/>
            <a:ext cx="12192000" cy="864870"/>
            <a:chOff x="0" y="165"/>
            <a:chExt cx="19200" cy="1362"/>
          </a:xfrm>
        </p:grpSpPr>
        <p:sp>
          <p:nvSpPr>
            <p:cNvPr id="6" name="矩形: 圆角 1"/>
            <p:cNvSpPr/>
            <p:nvPr>
              <p:custDataLst>
                <p:tags r:id="rId10"/>
              </p:custDataLst>
            </p:nvPr>
          </p:nvSpPr>
          <p:spPr>
            <a:xfrm>
              <a:off x="65" y="165"/>
              <a:ext cx="1491" cy="1059"/>
            </a:xfrm>
            <a:prstGeom prst="roundRect">
              <a:avLst>
                <a:gd name="adj" fmla="val 22122"/>
              </a:avLst>
            </a:prstGeom>
            <a:solidFill>
              <a:srgbClr val="99D1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r"/>
              <a:r>
                <a:rPr lang="en-US" altLang="zh-CN" sz="3200" b="1" dirty="0">
                  <a:latin typeface="Arial" panose="020B0604020202020204" pitchFamily="34" charset="0"/>
                  <a:cs typeface="Arial" panose="020B0604020202020204" pitchFamily="34" charset="0"/>
                </a:rPr>
                <a:t>01</a:t>
              </a:r>
              <a:endParaRPr lang="zh-CN" altLang="en-US" sz="3200" b="1" dirty="0">
                <a:latin typeface="Arial" panose="020B0604020202020204" pitchFamily="34" charset="0"/>
                <a:cs typeface="Arial" panose="020B0604020202020204" pitchFamily="34" charset="0"/>
              </a:endParaRPr>
            </a:p>
          </p:txBody>
        </p:sp>
        <p:sp>
          <p:nvSpPr>
            <p:cNvPr id="9" name="文本框 8"/>
            <p:cNvSpPr txBox="1"/>
            <p:nvPr>
              <p:custDataLst>
                <p:tags r:id="rId11"/>
              </p:custDataLst>
            </p:nvPr>
          </p:nvSpPr>
          <p:spPr>
            <a:xfrm>
              <a:off x="1749" y="234"/>
              <a:ext cx="7140" cy="822"/>
            </a:xfrm>
            <a:prstGeom prst="rect">
              <a:avLst/>
            </a:prstGeom>
            <a:noFill/>
          </p:spPr>
          <p:txBody>
            <a:bodyPr wrap="square" rtlCol="0">
              <a:spAutoFit/>
            </a:bodyPr>
            <a:p>
              <a:pPr lvl="0" algn="l">
                <a:buClrTx/>
                <a:buSzTx/>
                <a:buFontTx/>
              </a:pPr>
              <a:r>
                <a:rPr lang="en-US" altLang="zh-CN" sz="2800" b="1" dirty="0">
                  <a:solidFill>
                    <a:srgbClr val="8CBEE6"/>
                  </a:solidFill>
                  <a:latin typeface="Arial" panose="020B0604020202020204" pitchFamily="34" charset="0"/>
                  <a:cs typeface="Arial" panose="020B0604020202020204" pitchFamily="34" charset="0"/>
                  <a:sym typeface="+mn-ea"/>
                </a:rPr>
                <a:t>WiFi</a:t>
              </a:r>
              <a:r>
                <a:rPr lang="zh-CN" altLang="en-US" sz="2800" b="1" dirty="0">
                  <a:solidFill>
                    <a:srgbClr val="8CBEE6"/>
                  </a:solidFill>
                  <a:latin typeface="Arial" panose="020B0604020202020204" pitchFamily="34" charset="0"/>
                  <a:cs typeface="Arial" panose="020B0604020202020204" pitchFamily="34" charset="0"/>
                  <a:sym typeface="+mn-ea"/>
                </a:rPr>
                <a:t>信号具有的功能和</a:t>
              </a:r>
              <a:r>
                <a:rPr lang="zh-CN" altLang="en-US" sz="2800" b="1" dirty="0">
                  <a:solidFill>
                    <a:srgbClr val="8CBEE6"/>
                  </a:solidFill>
                  <a:latin typeface="Arial" panose="020B0604020202020204" pitchFamily="34" charset="0"/>
                  <a:cs typeface="Arial" panose="020B0604020202020204" pitchFamily="34" charset="0"/>
                  <a:sym typeface="+mn-ea"/>
                </a:rPr>
                <a:t>优势</a:t>
              </a:r>
              <a:endParaRPr lang="zh-CN" altLang="en-US" sz="2800" b="1" dirty="0">
                <a:solidFill>
                  <a:srgbClr val="8CBEE6"/>
                </a:solidFill>
                <a:latin typeface="Arial" panose="020B0604020202020204" pitchFamily="34" charset="0"/>
                <a:cs typeface="Arial" panose="020B0604020202020204" pitchFamily="34" charset="0"/>
                <a:sym typeface="+mn-ea"/>
              </a:endParaRPr>
            </a:p>
          </p:txBody>
        </p:sp>
        <p:sp>
          <p:nvSpPr>
            <p:cNvPr id="26" name="矩形 25"/>
            <p:cNvSpPr/>
            <p:nvPr>
              <p:custDataLst>
                <p:tags r:id="rId12"/>
              </p:custDataLst>
            </p:nvPr>
          </p:nvSpPr>
          <p:spPr>
            <a:xfrm flipV="1">
              <a:off x="0" y="1403"/>
              <a:ext cx="19200" cy="12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日期占位符 11"/>
          <p:cNvSpPr>
            <a:spLocks noGrp="1"/>
          </p:cNvSpPr>
          <p:nvPr>
            <p:ph type="dt" sz="half" idx="10"/>
          </p:nvPr>
        </p:nvSpPr>
        <p:spPr/>
        <p:txBody>
          <a:bodyPr/>
          <a:p>
            <a:fld id="{10DE6694-91EE-4B0C-9E3C-CED68B155AFF}" type="datetime1">
              <a:rPr lang="zh-CN" altLang="en-US" noProof="0" smtClean="0"/>
            </a:fld>
            <a:endParaRPr lang="en-US" noProof="0"/>
          </a:p>
        </p:txBody>
      </p:sp>
      <p:sp>
        <p:nvSpPr>
          <p:cNvPr id="13" name="页脚占位符 12"/>
          <p:cNvSpPr>
            <a:spLocks noGrp="1"/>
          </p:cNvSpPr>
          <p:nvPr>
            <p:ph type="ftr" sz="quarter" idx="11"/>
          </p:nvPr>
        </p:nvSpPr>
        <p:spPr/>
        <p:txBody>
          <a:bodyPr/>
          <a:p>
            <a:r>
              <a:rPr lang="en-US" noProof="0" smtClean="0"/>
              <a:t>Department VWA-DT  |  Hackathon Challenge Release  |  CSD-class</a:t>
            </a:r>
            <a:endParaRPr lang="en-US" noProof="0"/>
          </a:p>
        </p:txBody>
      </p:sp>
      <p:sp>
        <p:nvSpPr>
          <p:cNvPr id="14" name="灯片编号占位符 13"/>
          <p:cNvSpPr>
            <a:spLocks noGrp="1"/>
          </p:cNvSpPr>
          <p:nvPr>
            <p:ph type="sldNum" sz="quarter" idx="12"/>
          </p:nvPr>
        </p:nvSpPr>
        <p:spPr/>
        <p:txBody>
          <a:bodyPr/>
          <a:p>
            <a:fld id="{53C98C43-8B83-4748-BA0D-B0C90A16569F}" type="slidenum">
              <a:rPr lang="en-US" noProof="0" smtClean="0"/>
            </a:fld>
            <a:endParaRPr lang="en-US" noProof="0"/>
          </a:p>
        </p:txBody>
      </p:sp>
      <p:grpSp>
        <p:nvGrpSpPr>
          <p:cNvPr id="3" name="组合 2"/>
          <p:cNvGrpSpPr/>
          <p:nvPr/>
        </p:nvGrpSpPr>
        <p:grpSpPr>
          <a:xfrm>
            <a:off x="3783330" y="3169920"/>
            <a:ext cx="5428615" cy="521970"/>
            <a:chOff x="4718" y="3518"/>
            <a:chExt cx="8549" cy="822"/>
          </a:xfrm>
        </p:grpSpPr>
        <p:sp>
          <p:nvSpPr>
            <p:cNvPr id="31" name="文本框 30"/>
            <p:cNvSpPr txBox="1"/>
            <p:nvPr>
              <p:custDataLst>
                <p:tags r:id="rId1"/>
              </p:custDataLst>
            </p:nvPr>
          </p:nvSpPr>
          <p:spPr>
            <a:xfrm>
              <a:off x="7347" y="3518"/>
              <a:ext cx="5920" cy="822"/>
            </a:xfrm>
            <a:prstGeom prst="rect">
              <a:avLst/>
            </a:prstGeom>
            <a:noFill/>
          </p:spPr>
          <p:txBody>
            <a:bodyPr wrap="square" rtlCol="0">
              <a:spAutoFit/>
            </a:bodyPr>
            <a:lstStyle>
              <a:defPPr>
                <a:defRPr lang="zh-CN"/>
              </a:defPPr>
              <a:lvl1pPr>
                <a:defRPr sz="2800" b="1">
                  <a:solidFill>
                    <a:srgbClr val="002900"/>
                  </a:solidFill>
                  <a:latin typeface="Arial" panose="020B0604020202020204" pitchFamily="34" charset="0"/>
                  <a:cs typeface="Arial" panose="020B0604020202020204" pitchFamily="34" charset="0"/>
                </a:defRPr>
              </a:lvl1pPr>
            </a:lstStyle>
            <a:p>
              <a:pPr algn="l">
                <a:buClrTx/>
                <a:buSzTx/>
                <a:buFontTx/>
              </a:pPr>
              <a:r>
                <a:rPr lang="zh-CN" altLang="en-US" dirty="0">
                  <a:solidFill>
                    <a:srgbClr val="8CBEE6"/>
                  </a:solidFill>
                </a:rPr>
                <a:t>模型</a:t>
              </a:r>
              <a:r>
                <a:rPr lang="zh-CN" altLang="en-US" dirty="0">
                  <a:solidFill>
                    <a:srgbClr val="8CBEE6"/>
                  </a:solidFill>
                </a:rPr>
                <a:t>细节</a:t>
              </a:r>
              <a:endParaRPr lang="zh-CN" altLang="en-US" dirty="0">
                <a:solidFill>
                  <a:srgbClr val="8CBEE6"/>
                </a:solidFill>
              </a:endParaRPr>
            </a:p>
          </p:txBody>
        </p:sp>
        <p:grpSp>
          <p:nvGrpSpPr>
            <p:cNvPr id="41" name="组合 40"/>
            <p:cNvGrpSpPr/>
            <p:nvPr/>
          </p:nvGrpSpPr>
          <p:grpSpPr>
            <a:xfrm>
              <a:off x="4718" y="3568"/>
              <a:ext cx="1228" cy="727"/>
              <a:chOff x="4141695" y="869577"/>
              <a:chExt cx="779929" cy="461665"/>
            </a:xfrm>
          </p:grpSpPr>
          <p:sp>
            <p:nvSpPr>
              <p:cNvPr id="42" name="平行四边形 41"/>
              <p:cNvSpPr/>
              <p:nvPr>
                <p:custDataLst>
                  <p:tags r:id="rId2"/>
                </p:custDataLst>
              </p:nvPr>
            </p:nvSpPr>
            <p:spPr>
              <a:xfrm>
                <a:off x="4141695" y="869577"/>
                <a:ext cx="779929" cy="461665"/>
              </a:xfrm>
              <a:prstGeom prst="parallelogram">
                <a:avLst>
                  <a:gd name="adj" fmla="val 36111"/>
                </a:avLst>
              </a:prstGeom>
              <a:solidFill>
                <a:srgbClr val="2942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Arial" panose="020B0604020202020204" pitchFamily="34" charset="0"/>
                  <a:cs typeface="Arial" panose="020B0604020202020204" pitchFamily="34" charset="0"/>
                </a:endParaRPr>
              </a:p>
            </p:txBody>
          </p:sp>
          <p:sp>
            <p:nvSpPr>
              <p:cNvPr id="43" name="文本框 42"/>
              <p:cNvSpPr txBox="1"/>
              <p:nvPr>
                <p:custDataLst>
                  <p:tags r:id="rId3"/>
                </p:custDataLst>
              </p:nvPr>
            </p:nvSpPr>
            <p:spPr>
              <a:xfrm>
                <a:off x="4141695" y="869577"/>
                <a:ext cx="779928" cy="460375"/>
              </a:xfrm>
              <a:prstGeom prst="rect">
                <a:avLst/>
              </a:prstGeom>
              <a:solidFill>
                <a:srgbClr val="66BAB4"/>
              </a:solidFill>
              <a:ln>
                <a:noFill/>
              </a:ln>
            </p:spPr>
            <p:txBody>
              <a:bodyPr wrap="square" rtlCol="0">
                <a:spAutoFit/>
              </a:bodyPr>
              <a:lstStyle/>
              <a:p>
                <a:pPr algn="ctr"/>
                <a:r>
                  <a:rPr lang="en-US" altLang="zh-CN" sz="2400" b="1" dirty="0">
                    <a:solidFill>
                      <a:schemeClr val="bg1"/>
                    </a:solidFill>
                    <a:latin typeface="Arial" panose="020B0604020202020204" pitchFamily="34" charset="0"/>
                    <a:cs typeface="Arial" panose="020B0604020202020204" pitchFamily="34" charset="0"/>
                  </a:rPr>
                  <a:t>02</a:t>
                </a:r>
                <a:endParaRPr lang="zh-CN" altLang="en-US" sz="2400" b="1" dirty="0">
                  <a:solidFill>
                    <a:schemeClr val="bg1"/>
                  </a:solidFill>
                  <a:latin typeface="Arial" panose="020B0604020202020204" pitchFamily="34" charset="0"/>
                  <a:cs typeface="Arial" panose="020B0604020202020204" pitchFamily="34" charset="0"/>
                </a:endParaRPr>
              </a:p>
            </p:txBody>
          </p:sp>
        </p:gr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圆角矩形 35"/>
          <p:cNvSpPr/>
          <p:nvPr/>
        </p:nvSpPr>
        <p:spPr>
          <a:xfrm>
            <a:off x="326390" y="3141345"/>
            <a:ext cx="11185525" cy="3244850"/>
          </a:xfrm>
          <a:prstGeom prst="roundRect">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41" name="文本框 40"/>
          <p:cNvSpPr txBox="1"/>
          <p:nvPr/>
        </p:nvSpPr>
        <p:spPr>
          <a:xfrm>
            <a:off x="535940" y="1292225"/>
            <a:ext cx="11057890" cy="1849120"/>
          </a:xfrm>
          <a:prstGeom prst="rect">
            <a:avLst/>
          </a:prstGeom>
          <a:noFill/>
        </p:spPr>
        <p:txBody>
          <a:bodyPr wrap="square" lIns="0" tIns="0" rIns="0" bIns="0" rtlCol="0">
            <a:noAutofit/>
          </a:bodyPr>
          <a:p>
            <a:r>
              <a:rPr lang="zh-CN" altLang="en-US">
                <a:latin typeface="+mj-ea"/>
                <a:ea typeface="+mj-ea"/>
                <a:sym typeface="+mn-ea"/>
              </a:rPr>
              <a:t>基于</a:t>
            </a:r>
            <a:r>
              <a:rPr lang="en-US" altLang="zh-CN">
                <a:latin typeface="+mj-ea"/>
                <a:ea typeface="+mj-ea"/>
                <a:sym typeface="+mn-ea"/>
              </a:rPr>
              <a:t>WiFi</a:t>
            </a:r>
            <a:r>
              <a:rPr lang="zh-CN" altLang="en-US">
                <a:latin typeface="+mj-ea"/>
                <a:ea typeface="+mj-ea"/>
                <a:sym typeface="+mn-ea"/>
              </a:rPr>
              <a:t>的动作识别系统包括一个</a:t>
            </a:r>
            <a:r>
              <a:rPr lang="en-US" altLang="zh-CN">
                <a:latin typeface="+mj-ea"/>
                <a:ea typeface="+mj-ea"/>
                <a:sym typeface="+mn-ea"/>
              </a:rPr>
              <a:t>WiFi</a:t>
            </a:r>
            <a:r>
              <a:rPr lang="zh-CN" altLang="en-US">
                <a:latin typeface="+mj-ea"/>
                <a:ea typeface="+mj-ea"/>
                <a:sym typeface="+mn-ea"/>
              </a:rPr>
              <a:t>发送器和环境中的一个或多个</a:t>
            </a:r>
            <a:r>
              <a:rPr lang="en-US" altLang="zh-CN">
                <a:latin typeface="+mj-ea"/>
                <a:ea typeface="+mj-ea"/>
                <a:sym typeface="+mn-ea"/>
              </a:rPr>
              <a:t>WiFi</a:t>
            </a:r>
            <a:r>
              <a:rPr lang="zh-CN" altLang="en-US">
                <a:latin typeface="+mj-ea"/>
                <a:ea typeface="+mj-ea"/>
                <a:sym typeface="+mn-ea"/>
              </a:rPr>
              <a:t>接收器。无线信号通过发送器发送，经过环境中的物品和人体时会发生</a:t>
            </a:r>
            <a:r>
              <a:rPr lang="en-US" altLang="zh-CN">
                <a:latin typeface="+mj-ea"/>
                <a:ea typeface="+mj-ea"/>
                <a:sym typeface="+mn-ea"/>
              </a:rPr>
              <a:t>折射、反射和散射</a:t>
            </a:r>
            <a:r>
              <a:rPr lang="zh-CN" altLang="en-US">
                <a:latin typeface="+mj-ea"/>
                <a:ea typeface="+mj-ea"/>
                <a:sym typeface="+mn-ea"/>
              </a:rPr>
              <a:t>等多路效应，在接收端产生多路径叠加信号。</a:t>
            </a:r>
            <a:endParaRPr lang="zh-CN" altLang="en-US">
              <a:latin typeface="+mj-ea"/>
              <a:ea typeface="+mj-ea"/>
              <a:sym typeface="+mn-ea"/>
            </a:endParaRPr>
          </a:p>
          <a:p>
            <a:endParaRPr lang="zh-CN" altLang="en-US">
              <a:latin typeface="+mj-ea"/>
              <a:ea typeface="+mj-ea"/>
              <a:sym typeface="+mn-ea"/>
            </a:endParaRPr>
          </a:p>
          <a:p>
            <a:r>
              <a:rPr lang="zh-CN" altLang="en-US">
                <a:latin typeface="+mj-ea"/>
                <a:ea typeface="+mj-ea"/>
                <a:sym typeface="+mn-ea"/>
              </a:rPr>
              <a:t>在这个过程中，信号通过环境中静态的物体时，基本保持不变，基于这个原理通过神经网络</a:t>
            </a:r>
            <a:r>
              <a:rPr lang="zh-CN" altLang="en-US">
                <a:latin typeface="+mj-ea"/>
                <a:ea typeface="+mj-ea"/>
                <a:sym typeface="+mn-ea"/>
              </a:rPr>
              <a:t>可以进行</a:t>
            </a:r>
            <a:r>
              <a:rPr lang="zh-CN" altLang="en-US">
                <a:solidFill>
                  <a:srgbClr val="FF0000"/>
                </a:solidFill>
                <a:latin typeface="+mj-ea"/>
                <a:ea typeface="+mj-ea"/>
                <a:sym typeface="+mn-ea"/>
              </a:rPr>
              <a:t>物体定位</a:t>
            </a:r>
            <a:r>
              <a:rPr lang="zh-CN" altLang="en-US">
                <a:latin typeface="+mj-ea"/>
                <a:ea typeface="+mj-ea"/>
                <a:sym typeface="+mn-ea"/>
              </a:rPr>
              <a:t>。</a:t>
            </a:r>
            <a:endParaRPr lang="zh-CN" altLang="en-US">
              <a:latin typeface="+mj-ea"/>
              <a:ea typeface="+mj-ea"/>
              <a:sym typeface="+mn-ea"/>
            </a:endParaRPr>
          </a:p>
          <a:p>
            <a:endParaRPr lang="zh-CN" altLang="en-US">
              <a:latin typeface="+mj-ea"/>
              <a:ea typeface="+mj-ea"/>
              <a:sym typeface="+mn-ea"/>
            </a:endParaRPr>
          </a:p>
          <a:p>
            <a:r>
              <a:rPr lang="zh-CN" altLang="en-US">
                <a:latin typeface="+mj-ea"/>
                <a:ea typeface="+mj-ea"/>
                <a:sym typeface="+mn-ea"/>
              </a:rPr>
              <a:t>而经过运动的人体时，不同的动作接收到的信号也不一样，基于这个原理通过神经网络可以对</a:t>
            </a:r>
            <a:r>
              <a:rPr lang="zh-CN" altLang="en-US">
                <a:solidFill>
                  <a:srgbClr val="FF0000"/>
                </a:solidFill>
                <a:latin typeface="+mj-ea"/>
                <a:ea typeface="+mj-ea"/>
                <a:sym typeface="+mn-ea"/>
              </a:rPr>
              <a:t>物体的动作识别</a:t>
            </a:r>
            <a:r>
              <a:rPr lang="zh-CN" altLang="en-US">
                <a:latin typeface="+mj-ea"/>
                <a:ea typeface="+mj-ea"/>
                <a:sym typeface="+mn-ea"/>
              </a:rPr>
              <a:t>。</a:t>
            </a:r>
            <a:endParaRPr lang="zh-CN" altLang="en-US">
              <a:latin typeface="+mj-ea"/>
              <a:ea typeface="+mj-ea"/>
              <a:sym typeface="+mn-ea"/>
            </a:endParaRPr>
          </a:p>
          <a:p>
            <a:endParaRPr>
              <a:latin typeface="VW Text" panose="020B0504040200000003" pitchFamily="34" charset="0"/>
            </a:endParaRPr>
          </a:p>
          <a:p>
            <a:endParaRPr lang="zh-CN" altLang="en-US">
              <a:latin typeface="+mj-ea"/>
              <a:ea typeface="+mj-ea"/>
              <a:sym typeface="+mn-ea"/>
            </a:endParaRPr>
          </a:p>
        </p:txBody>
      </p:sp>
      <p:grpSp>
        <p:nvGrpSpPr>
          <p:cNvPr id="35" name="组合 34"/>
          <p:cNvGrpSpPr/>
          <p:nvPr/>
        </p:nvGrpSpPr>
        <p:grpSpPr>
          <a:xfrm rot="0">
            <a:off x="1029335" y="3754755"/>
            <a:ext cx="3641725" cy="2098084"/>
            <a:chOff x="6418" y="5304"/>
            <a:chExt cx="6032" cy="4296"/>
          </a:xfrm>
        </p:grpSpPr>
        <p:grpSp>
          <p:nvGrpSpPr>
            <p:cNvPr id="13" name="组合 12"/>
            <p:cNvGrpSpPr/>
            <p:nvPr/>
          </p:nvGrpSpPr>
          <p:grpSpPr>
            <a:xfrm>
              <a:off x="6418" y="5304"/>
              <a:ext cx="6032" cy="3184"/>
              <a:chOff x="10505" y="2810"/>
              <a:chExt cx="7308" cy="4103"/>
            </a:xfrm>
          </p:grpSpPr>
          <p:grpSp>
            <p:nvGrpSpPr>
              <p:cNvPr id="14" name="组合 13"/>
              <p:cNvGrpSpPr/>
              <p:nvPr/>
            </p:nvGrpSpPr>
            <p:grpSpPr>
              <a:xfrm>
                <a:off x="10712" y="2845"/>
                <a:ext cx="1088" cy="1107"/>
                <a:chOff x="2832" y="2845"/>
                <a:chExt cx="1088" cy="1107"/>
              </a:xfrm>
            </p:grpSpPr>
            <p:pic>
              <p:nvPicPr>
                <p:cNvPr id="15" name="Picture 4" descr="Image result for wireless device icon"/>
                <p:cNvPicPr>
                  <a:picLocks noChangeAspect="1" noChangeArrowheads="1"/>
                </p:cNvPicPr>
                <p:nvPr>
                  <p:custDataLst>
                    <p:tags r:id="rId4"/>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2832" y="2984"/>
                  <a:ext cx="951" cy="96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Image result for wireless icon"/>
                <p:cNvPicPr>
                  <a:picLocks noChangeAspect="1" noChangeArrowheads="1"/>
                </p:cNvPicPr>
                <p:nvPr>
                  <p:custDataLst>
                    <p:tags r:id="rId6"/>
                  </p:custDataLst>
                </p:nvPr>
              </p:nvPicPr>
              <p:blipFill rotWithShape="1">
                <a:blip r:embed="rId7" cstate="print">
                  <a:extLst>
                    <a:ext uri="{28A0092B-C50C-407E-A947-70E740481C1C}">
                      <a14:useLocalDpi xmlns:a14="http://schemas.microsoft.com/office/drawing/2010/main" val="0"/>
                    </a:ext>
                  </a:extLst>
                </a:blip>
                <a:srcRect b="35823"/>
                <a:stretch>
                  <a:fillRect/>
                </a:stretch>
              </p:blipFill>
              <p:spPr bwMode="auto">
                <a:xfrm>
                  <a:off x="3216" y="2845"/>
                  <a:ext cx="704" cy="34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组合 16"/>
              <p:cNvGrpSpPr/>
              <p:nvPr/>
            </p:nvGrpSpPr>
            <p:grpSpPr>
              <a:xfrm>
                <a:off x="16661" y="2984"/>
                <a:ext cx="1088" cy="1107"/>
                <a:chOff x="8781" y="2984"/>
                <a:chExt cx="1088" cy="1107"/>
              </a:xfrm>
            </p:grpSpPr>
            <p:pic>
              <p:nvPicPr>
                <p:cNvPr id="18" name="Picture 4" descr="Image result for wireless device icon"/>
                <p:cNvPicPr>
                  <a:picLocks noChangeAspect="1" noChangeArrowheads="1"/>
                </p:cNvPicPr>
                <p:nvPr>
                  <p:custDataLst>
                    <p:tags r:id="rId8"/>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8781" y="3123"/>
                  <a:ext cx="951" cy="96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Image result for wireless icon"/>
                <p:cNvPicPr>
                  <a:picLocks noChangeAspect="1" noChangeArrowheads="1"/>
                </p:cNvPicPr>
                <p:nvPr>
                  <p:custDataLst>
                    <p:tags r:id="rId9"/>
                  </p:custDataLst>
                </p:nvPr>
              </p:nvPicPr>
              <p:blipFill rotWithShape="1">
                <a:blip r:embed="rId7" cstate="print">
                  <a:extLst>
                    <a:ext uri="{28A0092B-C50C-407E-A947-70E740481C1C}">
                      <a14:useLocalDpi xmlns:a14="http://schemas.microsoft.com/office/drawing/2010/main" val="0"/>
                    </a:ext>
                  </a:extLst>
                </a:blip>
                <a:srcRect b="35823"/>
                <a:stretch>
                  <a:fillRect/>
                </a:stretch>
              </p:blipFill>
              <p:spPr bwMode="auto">
                <a:xfrm>
                  <a:off x="9165" y="2984"/>
                  <a:ext cx="704" cy="349"/>
                </a:xfrm>
                <a:prstGeom prst="rect">
                  <a:avLst/>
                </a:prstGeom>
                <a:noFill/>
                <a:extLst>
                  <a:ext uri="{909E8E84-426E-40DD-AFC4-6F175D3DCCD1}">
                    <a14:hiddenFill xmlns:a14="http://schemas.microsoft.com/office/drawing/2010/main">
                      <a:solidFill>
                        <a:srgbClr val="FFFFFF"/>
                      </a:solidFill>
                    </a14:hiddenFill>
                  </a:ext>
                </a:extLst>
              </p:spPr>
            </p:pic>
          </p:grpSp>
          <p:pic>
            <p:nvPicPr>
              <p:cNvPr id="20" name="图片 481"/>
              <p:cNvPicPr>
                <a:picLocks noChangeAspect="1" noChangeArrowheads="1"/>
              </p:cNvPicPr>
              <p:nvPr>
                <p:custDataLst>
                  <p:tags r:id="rId10"/>
                </p:custDataLst>
              </p:nvPr>
            </p:nvPicPr>
            <p:blipFill>
              <a:blip r:embed="rId11" cstate="print">
                <a:extLst>
                  <a:ext uri="{28A0092B-C50C-407E-A947-70E740481C1C}">
                    <a14:useLocalDpi xmlns:a14="http://schemas.microsoft.com/office/drawing/2010/main" val="0"/>
                  </a:ext>
                </a:extLst>
              </a:blip>
              <a:srcRect l="12694" t="7698" r="13248" b="7698"/>
              <a:stretch>
                <a:fillRect/>
              </a:stretch>
            </p:blipFill>
            <p:spPr bwMode="auto">
              <a:xfrm>
                <a:off x="11893" y="5243"/>
                <a:ext cx="1167" cy="1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1" name="直接箭头连接符 20"/>
              <p:cNvCxnSpPr>
                <a:stCxn id="20" idx="0"/>
              </p:cNvCxnSpPr>
              <p:nvPr>
                <p:custDataLst>
                  <p:tags r:id="rId12"/>
                </p:custDataLst>
              </p:nvPr>
            </p:nvCxnSpPr>
            <p:spPr>
              <a:xfrm flipV="1">
                <a:off x="12477" y="3678"/>
                <a:ext cx="4013" cy="1565"/>
              </a:xfrm>
              <a:prstGeom prst="straightConnector1">
                <a:avLst/>
              </a:prstGeom>
              <a:ln w="12700" cap="flat" cmpd="sng" algn="ctr">
                <a:solidFill>
                  <a:schemeClr val="accent1"/>
                </a:solidFill>
                <a:prstDash val="dash"/>
                <a:miter lim="800000"/>
                <a:tailEnd type="arrow" w="med" len="med"/>
              </a:ln>
            </p:spPr>
            <p:style>
              <a:lnRef idx="0">
                <a:schemeClr val="accent1"/>
              </a:lnRef>
              <a:fillRef idx="0">
                <a:srgbClr val="FFFFFF"/>
              </a:fillRef>
              <a:effectRef idx="0">
                <a:srgbClr val="FFFFFF"/>
              </a:effectRef>
              <a:fontRef idx="minor">
                <a:schemeClr val="tx1"/>
              </a:fontRef>
            </p:style>
          </p:cxnSp>
          <p:cxnSp>
            <p:nvCxnSpPr>
              <p:cNvPr id="22" name="直接连接符 21"/>
              <p:cNvCxnSpPr>
                <a:endCxn id="25" idx="0"/>
              </p:cNvCxnSpPr>
              <p:nvPr>
                <p:custDataLst>
                  <p:tags r:id="rId13"/>
                </p:custDataLst>
              </p:nvPr>
            </p:nvCxnSpPr>
            <p:spPr>
              <a:xfrm>
                <a:off x="11929" y="3803"/>
                <a:ext cx="2115" cy="1441"/>
              </a:xfrm>
              <a:prstGeom prst="line">
                <a:avLst/>
              </a:prstGeom>
              <a:ln w="12700" cap="flat" cmpd="sng" algn="ctr">
                <a:solidFill>
                  <a:schemeClr val="accent4">
                    <a:lumMod val="75000"/>
                  </a:schemeClr>
                </a:solidFill>
                <a:prstDash val="dash"/>
                <a:miter lim="800000"/>
              </a:ln>
            </p:spPr>
            <p:style>
              <a:lnRef idx="0">
                <a:schemeClr val="accent1"/>
              </a:lnRef>
              <a:fillRef idx="0">
                <a:srgbClr val="FFFFFF"/>
              </a:fillRef>
              <a:effectRef idx="0">
                <a:srgbClr val="FFFFFF"/>
              </a:effectRef>
              <a:fontRef idx="minor">
                <a:schemeClr val="tx1"/>
              </a:fontRef>
            </p:style>
          </p:cxnSp>
          <p:cxnSp>
            <p:nvCxnSpPr>
              <p:cNvPr id="23" name="直接箭头连接符 22"/>
              <p:cNvCxnSpPr>
                <a:stCxn id="25" idx="0"/>
              </p:cNvCxnSpPr>
              <p:nvPr>
                <p:custDataLst>
                  <p:tags r:id="rId14"/>
                </p:custDataLst>
              </p:nvPr>
            </p:nvCxnSpPr>
            <p:spPr>
              <a:xfrm flipV="1">
                <a:off x="14044" y="3937"/>
                <a:ext cx="2456" cy="1307"/>
              </a:xfrm>
              <a:prstGeom prst="straightConnector1">
                <a:avLst/>
              </a:prstGeom>
              <a:ln w="12700" cap="flat" cmpd="sng" algn="ctr">
                <a:solidFill>
                  <a:schemeClr val="accent4">
                    <a:lumMod val="75000"/>
                  </a:schemeClr>
                </a:solidFill>
                <a:prstDash val="dash"/>
                <a:miter lim="800000"/>
                <a:tailEnd type="arrow" w="med" len="med"/>
              </a:ln>
            </p:spPr>
            <p:style>
              <a:lnRef idx="0">
                <a:schemeClr val="accent1"/>
              </a:lnRef>
              <a:fillRef idx="0">
                <a:srgbClr val="FFFFFF"/>
              </a:fillRef>
              <a:effectRef idx="0">
                <a:srgbClr val="FFFFFF"/>
              </a:effectRef>
              <a:fontRef idx="minor">
                <a:schemeClr val="tx1"/>
              </a:fontRef>
            </p:style>
          </p:cxnSp>
          <p:cxnSp>
            <p:nvCxnSpPr>
              <p:cNvPr id="24" name="直接连接符 23"/>
              <p:cNvCxnSpPr>
                <a:endCxn id="20" idx="0"/>
              </p:cNvCxnSpPr>
              <p:nvPr>
                <p:custDataLst>
                  <p:tags r:id="rId15"/>
                </p:custDataLst>
              </p:nvPr>
            </p:nvCxnSpPr>
            <p:spPr>
              <a:xfrm>
                <a:off x="11690" y="3947"/>
                <a:ext cx="787" cy="1296"/>
              </a:xfrm>
              <a:prstGeom prst="line">
                <a:avLst/>
              </a:prstGeom>
              <a:ln w="12700" cap="flat" cmpd="sng" algn="ctr">
                <a:solidFill>
                  <a:schemeClr val="accent1"/>
                </a:solidFill>
                <a:prstDash val="dash"/>
                <a:miter lim="800000"/>
              </a:ln>
            </p:spPr>
            <p:style>
              <a:lnRef idx="0">
                <a:schemeClr val="accent1"/>
              </a:lnRef>
              <a:fillRef idx="0">
                <a:srgbClr val="FFFFFF"/>
              </a:fillRef>
              <a:effectRef idx="0">
                <a:srgbClr val="FFFFFF"/>
              </a:effectRef>
              <a:fontRef idx="minor">
                <a:schemeClr val="tx1"/>
              </a:fontRef>
            </p:style>
          </p:cxnSp>
          <p:pic>
            <p:nvPicPr>
              <p:cNvPr id="25" name="图片 481"/>
              <p:cNvPicPr>
                <a:picLocks noChangeAspect="1" noChangeArrowheads="1"/>
              </p:cNvPicPr>
              <p:nvPr>
                <p:custDataLst>
                  <p:tags r:id="rId16"/>
                </p:custDataLst>
              </p:nvPr>
            </p:nvPicPr>
            <p:blipFill>
              <a:blip r:embed="rId11" cstate="print">
                <a:extLst>
                  <a:ext uri="{28A0092B-C50C-407E-A947-70E740481C1C}">
                    <a14:useLocalDpi xmlns:a14="http://schemas.microsoft.com/office/drawing/2010/main" val="0"/>
                  </a:ext>
                </a:extLst>
              </a:blip>
              <a:srcRect l="12694" t="7698" r="13248" b="7698"/>
              <a:stretch>
                <a:fillRect/>
              </a:stretch>
            </p:blipFill>
            <p:spPr bwMode="auto">
              <a:xfrm>
                <a:off x="13460" y="5244"/>
                <a:ext cx="1167" cy="1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图片 481"/>
              <p:cNvPicPr>
                <a:picLocks noChangeAspect="1" noChangeArrowheads="1"/>
              </p:cNvPicPr>
              <p:nvPr>
                <p:custDataLst>
                  <p:tags r:id="rId17"/>
                </p:custDataLst>
              </p:nvPr>
            </p:nvPicPr>
            <p:blipFill>
              <a:blip r:embed="rId11" cstate="print">
                <a:extLst>
                  <a:ext uri="{28A0092B-C50C-407E-A947-70E740481C1C}">
                    <a14:useLocalDpi xmlns:a14="http://schemas.microsoft.com/office/drawing/2010/main" val="0"/>
                  </a:ext>
                </a:extLst>
              </a:blip>
              <a:srcRect l="12694" t="7698" r="13248" b="7698"/>
              <a:stretch>
                <a:fillRect/>
              </a:stretch>
            </p:blipFill>
            <p:spPr bwMode="auto">
              <a:xfrm>
                <a:off x="15027" y="5244"/>
                <a:ext cx="1167" cy="1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7" name="直接连接符 26"/>
              <p:cNvCxnSpPr/>
              <p:nvPr>
                <p:custDataLst>
                  <p:tags r:id="rId18"/>
                </p:custDataLst>
              </p:nvPr>
            </p:nvCxnSpPr>
            <p:spPr>
              <a:xfrm>
                <a:off x="11863" y="3639"/>
                <a:ext cx="3748" cy="1605"/>
              </a:xfrm>
              <a:prstGeom prst="line">
                <a:avLst/>
              </a:prstGeom>
              <a:ln w="12700" cap="flat" cmpd="sng" algn="ctr">
                <a:solidFill>
                  <a:schemeClr val="accent6"/>
                </a:solidFill>
                <a:prstDash val="dash"/>
                <a:miter lim="800000"/>
              </a:ln>
            </p:spPr>
            <p:style>
              <a:lnRef idx="0">
                <a:schemeClr val="accent1"/>
              </a:lnRef>
              <a:fillRef idx="0">
                <a:srgbClr val="FFFFFF"/>
              </a:fillRef>
              <a:effectRef idx="0">
                <a:srgbClr val="FFFFFF"/>
              </a:effectRef>
              <a:fontRef idx="minor">
                <a:schemeClr val="tx1"/>
              </a:fontRef>
            </p:style>
          </p:cxnSp>
          <p:cxnSp>
            <p:nvCxnSpPr>
              <p:cNvPr id="28" name="直接箭头连接符 27"/>
              <p:cNvCxnSpPr>
                <a:stCxn id="26" idx="0"/>
              </p:cNvCxnSpPr>
              <p:nvPr>
                <p:custDataLst>
                  <p:tags r:id="rId19"/>
                </p:custDataLst>
              </p:nvPr>
            </p:nvCxnSpPr>
            <p:spPr>
              <a:xfrm flipV="1">
                <a:off x="15611" y="4139"/>
                <a:ext cx="918" cy="1105"/>
              </a:xfrm>
              <a:prstGeom prst="straightConnector1">
                <a:avLst/>
              </a:prstGeom>
              <a:ln w="12700" cap="flat" cmpd="sng" algn="ctr">
                <a:solidFill>
                  <a:schemeClr val="accent6"/>
                </a:solidFill>
                <a:prstDash val="dash"/>
                <a:miter lim="800000"/>
                <a:tailEnd type="arrow" w="med" len="med"/>
              </a:ln>
            </p:spPr>
            <p:style>
              <a:lnRef idx="0">
                <a:schemeClr val="accent1"/>
              </a:lnRef>
              <a:fillRef idx="0">
                <a:srgbClr val="FFFFFF"/>
              </a:fillRef>
              <a:effectRef idx="0">
                <a:srgbClr val="FFFFFF"/>
              </a:effectRef>
              <a:fontRef idx="minor">
                <a:schemeClr val="tx1"/>
              </a:fontRef>
            </p:style>
          </p:cxnSp>
          <p:cxnSp>
            <p:nvCxnSpPr>
              <p:cNvPr id="29" name="直接箭头连接符 28"/>
              <p:cNvCxnSpPr/>
              <p:nvPr>
                <p:custDataLst>
                  <p:tags r:id="rId20"/>
                </p:custDataLst>
              </p:nvPr>
            </p:nvCxnSpPr>
            <p:spPr>
              <a:xfrm>
                <a:off x="11815" y="3486"/>
                <a:ext cx="4694" cy="0"/>
              </a:xfrm>
              <a:prstGeom prst="straightConnector1">
                <a:avLst/>
              </a:prstGeom>
              <a:ln>
                <a:solidFill>
                  <a:schemeClr val="bg2"/>
                </a:solidFill>
                <a:tailEnd type="arrow" w="med" len="med"/>
              </a:ln>
            </p:spPr>
            <p:style>
              <a:lnRef idx="2">
                <a:schemeClr val="accent1"/>
              </a:lnRef>
              <a:fillRef idx="0">
                <a:srgbClr val="FFFFFF"/>
              </a:fillRef>
              <a:effectRef idx="0">
                <a:srgbClr val="FFFFFF"/>
              </a:effectRef>
              <a:fontRef idx="minor">
                <a:schemeClr val="tx1"/>
              </a:fontRef>
            </p:style>
          </p:cxnSp>
          <p:sp>
            <p:nvSpPr>
              <p:cNvPr id="30" name="副标题 21"/>
              <p:cNvSpPr>
                <a:spLocks noGrp="1"/>
              </p:cNvSpPr>
              <p:nvPr>
                <p:custDataLst>
                  <p:tags r:id="rId21"/>
                </p:custDataLst>
              </p:nvPr>
            </p:nvSpPr>
            <p:spPr>
              <a:xfrm>
                <a:off x="10505" y="4091"/>
                <a:ext cx="1152" cy="529"/>
              </a:xfrm>
              <a:prstGeom prst="rect">
                <a:avLst/>
              </a:prstGeom>
            </p:spPr>
            <p:txBody>
              <a:bodyPr vert="horz" lIns="90000" tIns="46800" rIns="90000" bIns="46800" rtlCol="0">
                <a:normAutofit fontScale="25000"/>
              </a:bodyPr>
              <a:lstStyle>
                <a:lvl1pPr marL="0" indent="0" algn="ctr" defTabSz="914400" rtl="0" eaLnBrk="1" fontAlgn="auto" latinLnBrk="0" hangingPunct="1">
                  <a:lnSpc>
                    <a:spcPct val="110000"/>
                  </a:lnSpc>
                  <a:spcBef>
                    <a:spcPts val="0"/>
                  </a:spcBef>
                  <a:spcAft>
                    <a:spcPts val="1000"/>
                  </a:spcAft>
                  <a:buFont typeface="Arial" panose="020B0604020202020204" pitchFamily="34" charset="0"/>
                  <a:buNone/>
                  <a:defRPr sz="2400" u="none" strike="noStrike" kern="1200" cap="none" spc="200" normalizeH="0" baseline="0">
                    <a:solidFill>
                      <a:schemeClr val="tx1">
                        <a:lumMod val="65000"/>
                        <a:lumOff val="35000"/>
                      </a:schemeClr>
                    </a:solidFill>
                    <a:uFillTx/>
                    <a:latin typeface="+mn-lt"/>
                    <a:ea typeface="+mn-ea"/>
                    <a:cs typeface="+mn-cs"/>
                  </a:defRPr>
                </a:lvl1pPr>
                <a:lvl2pPr marL="457200" indent="0" algn="ctr" defTabSz="914400" rtl="0" eaLnBrk="1" fontAlgn="auto" latinLnBrk="0" hangingPunct="1">
                  <a:lnSpc>
                    <a:spcPct val="120000"/>
                  </a:lnSpc>
                  <a:spcBef>
                    <a:spcPts val="0"/>
                  </a:spcBef>
                  <a:spcAft>
                    <a:spcPts val="600"/>
                  </a:spcAft>
                  <a:buFont typeface="Arial" panose="020B0604020202020204" pitchFamily="34" charset="0"/>
                  <a:buNone/>
                  <a:tabLst>
                    <a:tab pos="1609725" algn="l"/>
                    <a:tab pos="1609725" algn="l"/>
                    <a:tab pos="1609725" algn="l"/>
                    <a:tab pos="1609725" algn="l"/>
                  </a:tabLst>
                  <a:defRPr sz="2000" u="none" strike="noStrike" kern="1200" cap="none" spc="150" normalizeH="0" baseline="0">
                    <a:solidFill>
                      <a:schemeClr val="tx1">
                        <a:lumMod val="65000"/>
                        <a:lumOff val="35000"/>
                      </a:schemeClr>
                    </a:solidFill>
                    <a:uFillTx/>
                    <a:latin typeface="+mn-lt"/>
                    <a:ea typeface="+mn-ea"/>
                    <a:cs typeface="+mn-cs"/>
                  </a:defRPr>
                </a:lvl2pPr>
                <a:lvl3pPr marL="914400" indent="0" algn="ctr" defTabSz="914400" rtl="0" eaLnBrk="1" fontAlgn="auto" latinLnBrk="0" hangingPunct="1">
                  <a:lnSpc>
                    <a:spcPct val="120000"/>
                  </a:lnSpc>
                  <a:spcBef>
                    <a:spcPts val="0"/>
                  </a:spcBef>
                  <a:spcAft>
                    <a:spcPts val="600"/>
                  </a:spcAft>
                  <a:buFont typeface="Arial" panose="020B0604020202020204" pitchFamily="34" charset="0"/>
                  <a:buNone/>
                  <a:defRPr sz="1800" u="none" strike="noStrike" kern="1200" cap="none" spc="150" normalizeH="0" baseline="0">
                    <a:solidFill>
                      <a:schemeClr val="tx1">
                        <a:lumMod val="65000"/>
                        <a:lumOff val="35000"/>
                      </a:schemeClr>
                    </a:solidFill>
                    <a:uFillTx/>
                    <a:latin typeface="+mn-lt"/>
                    <a:ea typeface="+mn-ea"/>
                    <a:cs typeface="+mn-cs"/>
                  </a:defRPr>
                </a:lvl3pPr>
                <a:lvl4pPr marL="1371600" indent="0" algn="ctr" defTabSz="914400" rtl="0" eaLnBrk="1" fontAlgn="auto" latinLnBrk="0" hangingPunct="1">
                  <a:lnSpc>
                    <a:spcPct val="120000"/>
                  </a:lnSpc>
                  <a:spcBef>
                    <a:spcPts val="0"/>
                  </a:spcBef>
                  <a:spcAft>
                    <a:spcPts val="300"/>
                  </a:spcAft>
                  <a:buFont typeface="Wingdings" panose="05000000000000000000" charset="0"/>
                  <a:buNone/>
                  <a:defRPr sz="1600" u="none" strike="noStrike" kern="1200" cap="none" spc="150" normalizeH="0" baseline="0">
                    <a:solidFill>
                      <a:schemeClr val="tx1">
                        <a:lumMod val="65000"/>
                        <a:lumOff val="35000"/>
                      </a:schemeClr>
                    </a:solidFill>
                    <a:uFillTx/>
                    <a:latin typeface="+mn-lt"/>
                    <a:ea typeface="+mn-ea"/>
                    <a:cs typeface="+mn-cs"/>
                  </a:defRPr>
                </a:lvl4pPr>
                <a:lvl5pPr marL="1828800" indent="0" algn="ctr" defTabSz="914400" rtl="0" eaLnBrk="1" fontAlgn="auto" latinLnBrk="0" hangingPunct="1">
                  <a:lnSpc>
                    <a:spcPct val="120000"/>
                  </a:lnSpc>
                  <a:spcBef>
                    <a:spcPts val="0"/>
                  </a:spcBef>
                  <a:spcAft>
                    <a:spcPts val="300"/>
                  </a:spcAft>
                  <a:buFont typeface="Arial" panose="020B0604020202020204" pitchFamily="34" charset="0"/>
                  <a:buNone/>
                  <a:defRPr sz="1600" u="none" strike="noStrike" kern="1200" cap="none" spc="150" normalizeH="0" baseline="0">
                    <a:solidFill>
                      <a:schemeClr val="tx1">
                        <a:lumMod val="65000"/>
                        <a:lumOff val="35000"/>
                      </a:schemeClr>
                    </a:solidFill>
                    <a:uFillTx/>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ltLang="zh-CN">
                    <a:solidFill>
                      <a:schemeClr val="bg1"/>
                    </a:solidFill>
                    <a:latin typeface="+mj-ea"/>
                    <a:ea typeface="+mj-ea"/>
                  </a:rPr>
                  <a:t>TX</a:t>
                </a:r>
                <a:endParaRPr lang="en-US" altLang="zh-CN">
                  <a:solidFill>
                    <a:schemeClr val="bg1"/>
                  </a:solidFill>
                  <a:latin typeface="+mj-ea"/>
                  <a:ea typeface="+mj-ea"/>
                </a:endParaRPr>
              </a:p>
            </p:txBody>
          </p:sp>
          <p:sp>
            <p:nvSpPr>
              <p:cNvPr id="31" name="副标题 21"/>
              <p:cNvSpPr>
                <a:spLocks noGrp="1"/>
              </p:cNvSpPr>
              <p:nvPr>
                <p:custDataLst>
                  <p:tags r:id="rId22"/>
                </p:custDataLst>
              </p:nvPr>
            </p:nvSpPr>
            <p:spPr>
              <a:xfrm>
                <a:off x="16661" y="4291"/>
                <a:ext cx="1152" cy="529"/>
              </a:xfrm>
              <a:prstGeom prst="rect">
                <a:avLst/>
              </a:prstGeom>
            </p:spPr>
            <p:txBody>
              <a:bodyPr vert="horz" lIns="90000" tIns="46800" rIns="90000" bIns="46800" rtlCol="0">
                <a:normAutofit fontScale="25000"/>
              </a:bodyPr>
              <a:lstStyle>
                <a:lvl1pPr marL="0" indent="0" algn="ctr" defTabSz="914400" rtl="0" eaLnBrk="1" fontAlgn="auto" latinLnBrk="0" hangingPunct="1">
                  <a:lnSpc>
                    <a:spcPct val="110000"/>
                  </a:lnSpc>
                  <a:spcBef>
                    <a:spcPts val="0"/>
                  </a:spcBef>
                  <a:spcAft>
                    <a:spcPts val="1000"/>
                  </a:spcAft>
                  <a:buFont typeface="Arial" panose="020B0604020202020204" pitchFamily="34" charset="0"/>
                  <a:buNone/>
                  <a:defRPr sz="2400" u="none" strike="noStrike" kern="1200" cap="none" spc="200" normalizeH="0" baseline="0">
                    <a:solidFill>
                      <a:schemeClr val="tx1">
                        <a:lumMod val="65000"/>
                        <a:lumOff val="35000"/>
                      </a:schemeClr>
                    </a:solidFill>
                    <a:uFillTx/>
                    <a:latin typeface="+mn-lt"/>
                    <a:ea typeface="+mn-ea"/>
                    <a:cs typeface="+mn-cs"/>
                  </a:defRPr>
                </a:lvl1pPr>
                <a:lvl2pPr marL="457200" indent="0" algn="ctr" defTabSz="914400" rtl="0" eaLnBrk="1" fontAlgn="auto" latinLnBrk="0" hangingPunct="1">
                  <a:lnSpc>
                    <a:spcPct val="120000"/>
                  </a:lnSpc>
                  <a:spcBef>
                    <a:spcPts val="0"/>
                  </a:spcBef>
                  <a:spcAft>
                    <a:spcPts val="600"/>
                  </a:spcAft>
                  <a:buFont typeface="Arial" panose="020B0604020202020204" pitchFamily="34" charset="0"/>
                  <a:buNone/>
                  <a:tabLst>
                    <a:tab pos="1609725" algn="l"/>
                    <a:tab pos="1609725" algn="l"/>
                    <a:tab pos="1609725" algn="l"/>
                    <a:tab pos="1609725" algn="l"/>
                  </a:tabLst>
                  <a:defRPr sz="2000" u="none" strike="noStrike" kern="1200" cap="none" spc="150" normalizeH="0" baseline="0">
                    <a:solidFill>
                      <a:schemeClr val="tx1">
                        <a:lumMod val="65000"/>
                        <a:lumOff val="35000"/>
                      </a:schemeClr>
                    </a:solidFill>
                    <a:uFillTx/>
                    <a:latin typeface="+mn-lt"/>
                    <a:ea typeface="+mn-ea"/>
                    <a:cs typeface="+mn-cs"/>
                  </a:defRPr>
                </a:lvl2pPr>
                <a:lvl3pPr marL="914400" indent="0" algn="ctr" defTabSz="914400" rtl="0" eaLnBrk="1" fontAlgn="auto" latinLnBrk="0" hangingPunct="1">
                  <a:lnSpc>
                    <a:spcPct val="120000"/>
                  </a:lnSpc>
                  <a:spcBef>
                    <a:spcPts val="0"/>
                  </a:spcBef>
                  <a:spcAft>
                    <a:spcPts val="600"/>
                  </a:spcAft>
                  <a:buFont typeface="Arial" panose="020B0604020202020204" pitchFamily="34" charset="0"/>
                  <a:buNone/>
                  <a:defRPr sz="1800" u="none" strike="noStrike" kern="1200" cap="none" spc="150" normalizeH="0" baseline="0">
                    <a:solidFill>
                      <a:schemeClr val="tx1">
                        <a:lumMod val="65000"/>
                        <a:lumOff val="35000"/>
                      </a:schemeClr>
                    </a:solidFill>
                    <a:uFillTx/>
                    <a:latin typeface="+mn-lt"/>
                    <a:ea typeface="+mn-ea"/>
                    <a:cs typeface="+mn-cs"/>
                  </a:defRPr>
                </a:lvl3pPr>
                <a:lvl4pPr marL="1371600" indent="0" algn="ctr" defTabSz="914400" rtl="0" eaLnBrk="1" fontAlgn="auto" latinLnBrk="0" hangingPunct="1">
                  <a:lnSpc>
                    <a:spcPct val="120000"/>
                  </a:lnSpc>
                  <a:spcBef>
                    <a:spcPts val="0"/>
                  </a:spcBef>
                  <a:spcAft>
                    <a:spcPts val="300"/>
                  </a:spcAft>
                  <a:buFont typeface="Wingdings" panose="05000000000000000000" charset="0"/>
                  <a:buNone/>
                  <a:defRPr sz="1600" u="none" strike="noStrike" kern="1200" cap="none" spc="150" normalizeH="0" baseline="0">
                    <a:solidFill>
                      <a:schemeClr val="tx1">
                        <a:lumMod val="65000"/>
                        <a:lumOff val="35000"/>
                      </a:schemeClr>
                    </a:solidFill>
                    <a:uFillTx/>
                    <a:latin typeface="+mn-lt"/>
                    <a:ea typeface="+mn-ea"/>
                    <a:cs typeface="+mn-cs"/>
                  </a:defRPr>
                </a:lvl4pPr>
                <a:lvl5pPr marL="1828800" indent="0" algn="ctr" defTabSz="914400" rtl="0" eaLnBrk="1" fontAlgn="auto" latinLnBrk="0" hangingPunct="1">
                  <a:lnSpc>
                    <a:spcPct val="120000"/>
                  </a:lnSpc>
                  <a:spcBef>
                    <a:spcPts val="0"/>
                  </a:spcBef>
                  <a:spcAft>
                    <a:spcPts val="300"/>
                  </a:spcAft>
                  <a:buFont typeface="Arial" panose="020B0604020202020204" pitchFamily="34" charset="0"/>
                  <a:buNone/>
                  <a:defRPr sz="1600" u="none" strike="noStrike" kern="1200" cap="none" spc="150" normalizeH="0" baseline="0">
                    <a:solidFill>
                      <a:schemeClr val="tx1">
                        <a:lumMod val="65000"/>
                        <a:lumOff val="35000"/>
                      </a:schemeClr>
                    </a:solidFill>
                    <a:uFillTx/>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ltLang="zh-CN">
                    <a:solidFill>
                      <a:schemeClr val="bg1"/>
                    </a:solidFill>
                    <a:latin typeface="+mj-ea"/>
                    <a:ea typeface="+mj-ea"/>
                  </a:rPr>
                  <a:t>RX</a:t>
                </a:r>
                <a:endParaRPr lang="en-US" altLang="zh-CN">
                  <a:solidFill>
                    <a:schemeClr val="bg1"/>
                  </a:solidFill>
                  <a:latin typeface="+mj-ea"/>
                  <a:ea typeface="+mj-ea"/>
                </a:endParaRPr>
              </a:p>
            </p:txBody>
          </p:sp>
          <p:cxnSp>
            <p:nvCxnSpPr>
              <p:cNvPr id="32" name="直接箭头连接符 31"/>
              <p:cNvCxnSpPr/>
              <p:nvPr>
                <p:custDataLst>
                  <p:tags r:id="rId23"/>
                </p:custDataLst>
              </p:nvPr>
            </p:nvCxnSpPr>
            <p:spPr>
              <a:xfrm>
                <a:off x="12343" y="6913"/>
                <a:ext cx="3523" cy="0"/>
              </a:xfrm>
              <a:prstGeom prst="straightConnector1">
                <a:avLst/>
              </a:prstGeom>
              <a:ln>
                <a:tailEnd type="arrow"/>
              </a:ln>
            </p:spPr>
            <p:style>
              <a:lnRef idx="2">
                <a:schemeClr val="accent1"/>
              </a:lnRef>
              <a:fillRef idx="0">
                <a:srgbClr val="FFFFFF"/>
              </a:fillRef>
              <a:effectRef idx="0">
                <a:srgbClr val="FFFFFF"/>
              </a:effectRef>
              <a:fontRef idx="minor">
                <a:schemeClr val="tx1"/>
              </a:fontRef>
            </p:style>
          </p:cxnSp>
          <p:pic>
            <p:nvPicPr>
              <p:cNvPr id="33" name="图片 32" descr="wifi_2859724"/>
              <p:cNvPicPr>
                <a:picLocks noChangeAspect="1"/>
              </p:cNvPicPr>
              <p:nvPr>
                <p:custDataLst>
                  <p:tags r:id="rId24"/>
                </p:custDataLst>
              </p:nvPr>
            </p:nvPicPr>
            <p:blipFill>
              <a:blip r:embed="rId25"/>
              <a:stretch>
                <a:fillRect/>
              </a:stretch>
            </p:blipFill>
            <p:spPr>
              <a:xfrm>
                <a:off x="13793" y="2810"/>
                <a:ext cx="611" cy="611"/>
              </a:xfrm>
              <a:prstGeom prst="rect">
                <a:avLst/>
              </a:prstGeom>
            </p:spPr>
          </p:pic>
        </p:grpSp>
        <p:sp>
          <p:nvSpPr>
            <p:cNvPr id="34" name="Rectangle 14"/>
            <p:cNvSpPr/>
            <p:nvPr>
              <p:custDataLst>
                <p:tags r:id="rId26"/>
              </p:custDataLst>
            </p:nvPr>
          </p:nvSpPr>
          <p:spPr>
            <a:xfrm>
              <a:off x="8972" y="8790"/>
              <a:ext cx="930" cy="810"/>
            </a:xfrm>
            <a:prstGeom prst="rect">
              <a:avLst/>
            </a:prstGeom>
          </p:spPr>
          <p:txBody>
            <a:bodyPr wrap="square">
              <a:spAutoFit/>
            </a:bodyPr>
            <a:p>
              <a:pPr>
                <a:lnSpc>
                  <a:spcPct val="110000"/>
                </a:lnSpc>
                <a:spcAft>
                  <a:spcPts val="450"/>
                </a:spcAft>
              </a:pPr>
              <a:r>
                <a:rPr lang="zh-CN" altLang="en-US" dirty="0" smtClean="0">
                  <a:solidFill>
                    <a:schemeClr val="bg1"/>
                  </a:solidFill>
                  <a:latin typeface="VW Text" panose="020B0504040200000003" pitchFamily="34" charset="0"/>
                </a:rPr>
                <a:t>图</a:t>
              </a:r>
              <a:r>
                <a:rPr lang="en-US" altLang="zh-CN" dirty="0" smtClean="0">
                  <a:solidFill>
                    <a:schemeClr val="bg1"/>
                  </a:solidFill>
                  <a:latin typeface="VW Text" panose="020B0504040200000003" pitchFamily="34" charset="0"/>
                </a:rPr>
                <a:t>1</a:t>
              </a:r>
              <a:endParaRPr lang="en-US" altLang="zh-CN" dirty="0" smtClean="0">
                <a:solidFill>
                  <a:schemeClr val="bg1"/>
                </a:solidFill>
                <a:latin typeface="VW Text" panose="020B0504040200000003" pitchFamily="34" charset="0"/>
              </a:endParaRPr>
            </a:p>
          </p:txBody>
        </p:sp>
      </p:grpSp>
      <p:pic>
        <p:nvPicPr>
          <p:cNvPr id="4" name="图片 3"/>
          <p:cNvPicPr>
            <a:picLocks noChangeAspect="1"/>
          </p:cNvPicPr>
          <p:nvPr>
            <p:custDataLst>
              <p:tags r:id="rId27"/>
            </p:custDataLst>
          </p:nvPr>
        </p:nvPicPr>
        <p:blipFill>
          <a:blip r:embed="rId28"/>
          <a:stretch>
            <a:fillRect/>
          </a:stretch>
        </p:blipFill>
        <p:spPr>
          <a:xfrm>
            <a:off x="6484620" y="3265170"/>
            <a:ext cx="3889375" cy="3059430"/>
          </a:xfrm>
          <a:prstGeom prst="rect">
            <a:avLst/>
          </a:prstGeom>
        </p:spPr>
      </p:pic>
      <p:grpSp>
        <p:nvGrpSpPr>
          <p:cNvPr id="2" name="组合 1"/>
          <p:cNvGrpSpPr/>
          <p:nvPr/>
        </p:nvGrpSpPr>
        <p:grpSpPr>
          <a:xfrm>
            <a:off x="0" y="104775"/>
            <a:ext cx="12192000" cy="864870"/>
            <a:chOff x="0" y="165"/>
            <a:chExt cx="19200" cy="1362"/>
          </a:xfrm>
        </p:grpSpPr>
        <p:sp>
          <p:nvSpPr>
            <p:cNvPr id="7" name="矩形: 圆角 1"/>
            <p:cNvSpPr/>
            <p:nvPr>
              <p:custDataLst>
                <p:tags r:id="rId29"/>
              </p:custDataLst>
            </p:nvPr>
          </p:nvSpPr>
          <p:spPr>
            <a:xfrm>
              <a:off x="65" y="165"/>
              <a:ext cx="1491" cy="1059"/>
            </a:xfrm>
            <a:prstGeom prst="roundRect">
              <a:avLst>
                <a:gd name="adj" fmla="val 22122"/>
              </a:avLst>
            </a:prstGeom>
            <a:solidFill>
              <a:srgbClr val="99D1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r"/>
              <a:r>
                <a:rPr lang="en-US" altLang="zh-CN" sz="3200" b="1" dirty="0">
                  <a:latin typeface="Arial" panose="020B0604020202020204" pitchFamily="34" charset="0"/>
                  <a:cs typeface="Arial" panose="020B0604020202020204" pitchFamily="34" charset="0"/>
                </a:rPr>
                <a:t>02</a:t>
              </a:r>
              <a:endParaRPr lang="zh-CN" altLang="en-US" sz="3200" b="1" dirty="0">
                <a:latin typeface="Arial" panose="020B0604020202020204" pitchFamily="34" charset="0"/>
                <a:cs typeface="Arial" panose="020B0604020202020204" pitchFamily="34" charset="0"/>
              </a:endParaRPr>
            </a:p>
          </p:txBody>
        </p:sp>
        <p:sp>
          <p:nvSpPr>
            <p:cNvPr id="9" name="文本框 8"/>
            <p:cNvSpPr txBox="1"/>
            <p:nvPr>
              <p:custDataLst>
                <p:tags r:id="rId30"/>
              </p:custDataLst>
            </p:nvPr>
          </p:nvSpPr>
          <p:spPr>
            <a:xfrm>
              <a:off x="1749" y="234"/>
              <a:ext cx="7140" cy="822"/>
            </a:xfrm>
            <a:prstGeom prst="rect">
              <a:avLst/>
            </a:prstGeom>
            <a:noFill/>
          </p:spPr>
          <p:txBody>
            <a:bodyPr wrap="square" rtlCol="0">
              <a:spAutoFit/>
            </a:bodyPr>
            <a:p>
              <a:pPr lvl="0" algn="l">
                <a:buClrTx/>
                <a:buSzTx/>
                <a:buFontTx/>
              </a:pPr>
              <a:r>
                <a:rPr lang="zh-CN" altLang="en-US" sz="2800" b="1" dirty="0">
                  <a:solidFill>
                    <a:srgbClr val="8CBEE6"/>
                  </a:solidFill>
                  <a:latin typeface="Arial" panose="020B0604020202020204" pitchFamily="34" charset="0"/>
                  <a:cs typeface="Arial" panose="020B0604020202020204" pitchFamily="34" charset="0"/>
                  <a:sym typeface="+mn-ea"/>
                </a:rPr>
                <a:t>基本</a:t>
              </a:r>
              <a:r>
                <a:rPr lang="zh-CN" altLang="en-US" sz="2800" b="1" dirty="0">
                  <a:solidFill>
                    <a:srgbClr val="8CBEE6"/>
                  </a:solidFill>
                  <a:latin typeface="Arial" panose="020B0604020202020204" pitchFamily="34" charset="0"/>
                  <a:cs typeface="Arial" panose="020B0604020202020204" pitchFamily="34" charset="0"/>
                  <a:sym typeface="+mn-ea"/>
                </a:rPr>
                <a:t>原理</a:t>
              </a:r>
              <a:endParaRPr lang="zh-CN" altLang="en-US" sz="2800" b="1" dirty="0">
                <a:solidFill>
                  <a:srgbClr val="8CBEE6"/>
                </a:solidFill>
                <a:latin typeface="Arial" panose="020B0604020202020204" pitchFamily="34" charset="0"/>
                <a:cs typeface="Arial" panose="020B0604020202020204" pitchFamily="34" charset="0"/>
                <a:sym typeface="+mn-ea"/>
              </a:endParaRPr>
            </a:p>
          </p:txBody>
        </p:sp>
        <p:sp>
          <p:nvSpPr>
            <p:cNvPr id="8" name="矩形 7"/>
            <p:cNvSpPr/>
            <p:nvPr>
              <p:custDataLst>
                <p:tags r:id="rId31"/>
              </p:custDataLst>
            </p:nvPr>
          </p:nvSpPr>
          <p:spPr>
            <a:xfrm flipV="1">
              <a:off x="0" y="1403"/>
              <a:ext cx="19200" cy="12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p>
          </p:txBody>
        </p:sp>
      </p:grpSp>
      <p:sp>
        <p:nvSpPr>
          <p:cNvPr id="12" name="文本占位符 11"/>
          <p:cNvSpPr/>
          <p:nvPr>
            <p:ph type="body" sz="quarter" idx="13"/>
          </p:nvPr>
        </p:nvSpPr>
        <p:spPr/>
        <p:txBody>
          <a:bodyPr/>
          <a:p>
            <a:endParaRPr lang="zh-CN" alt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Aw.fDhZbV2fQnQ2iLt_CPw"/>
</p:tagLst>
</file>

<file path=ppt/tags/tag100.xml><?xml version="1.0" encoding="utf-8"?>
<p:tagLst xmlns:p="http://schemas.openxmlformats.org/presentationml/2006/main">
  <p:tag name="KSO_WM_BEAUTIFY_FLAG" val=""/>
</p:tagLst>
</file>

<file path=ppt/tags/tag101.xml><?xml version="1.0" encoding="utf-8"?>
<p:tagLst xmlns:p="http://schemas.openxmlformats.org/presentationml/2006/main">
  <p:tag name="KSO_WM_BEAUTIFY_FLAG" val=""/>
</p:tagLst>
</file>

<file path=ppt/tags/tag102.xml><?xml version="1.0" encoding="utf-8"?>
<p:tagLst xmlns:p="http://schemas.openxmlformats.org/presentationml/2006/main">
  <p:tag name="KSO_WM_BEAUTIFY_FLAG" val=""/>
</p:tagLst>
</file>

<file path=ppt/tags/tag103.xml><?xml version="1.0" encoding="utf-8"?>
<p:tagLst xmlns:p="http://schemas.openxmlformats.org/presentationml/2006/main">
  <p:tag name="KSO_WM_BEAUTIFY_FLAG" val=""/>
</p:tagLst>
</file>

<file path=ppt/tags/tag104.xml><?xml version="1.0" encoding="utf-8"?>
<p:tagLst xmlns:p="http://schemas.openxmlformats.org/presentationml/2006/main">
  <p:tag name="KSO_WM_BEAUTIFY_FLAG" val=""/>
</p:tagLst>
</file>

<file path=ppt/tags/tag105.xml><?xml version="1.0" encoding="utf-8"?>
<p:tagLst xmlns:p="http://schemas.openxmlformats.org/presentationml/2006/main">
  <p:tag name="KSO_WM_BEAUTIFY_FLAG" val=""/>
</p:tagLst>
</file>

<file path=ppt/tags/tag106.xml><?xml version="1.0" encoding="utf-8"?>
<p:tagLst xmlns:p="http://schemas.openxmlformats.org/presentationml/2006/main">
  <p:tag name="KSO_WM_BEAUTIFY_FLAG" val=""/>
</p:tagLst>
</file>

<file path=ppt/tags/tag107.xml><?xml version="1.0" encoding="utf-8"?>
<p:tagLst xmlns:p="http://schemas.openxmlformats.org/presentationml/2006/main">
  <p:tag name="KSO_WM_BEAUTIFY_FLAG" val=""/>
</p:tagLst>
</file>

<file path=ppt/tags/tag108.xml><?xml version="1.0" encoding="utf-8"?>
<p:tagLst xmlns:p="http://schemas.openxmlformats.org/presentationml/2006/main">
  <p:tag name="KSO_WM_BEAUTIFY_FLAG" val=""/>
</p:tagLst>
</file>

<file path=ppt/tags/tag109.xml><?xml version="1.0" encoding="utf-8"?>
<p:tagLst xmlns:p="http://schemas.openxmlformats.org/presentationml/2006/main">
  <p:tag name="KSO_WM_BEAUTIFY_FLAG" val=""/>
</p:tagLst>
</file>

<file path=ppt/tags/tag11.xml><?xml version="1.0" encoding="utf-8"?>
<p:tagLst xmlns:p="http://schemas.openxmlformats.org/presentationml/2006/main">
  <p:tag name="THINKCELLSHAPEDONOTDELETE" val="tZvq4sJO8xf1ZV8DgT5AMow"/>
</p:tagLst>
</file>

<file path=ppt/tags/tag110.xml><?xml version="1.0" encoding="utf-8"?>
<p:tagLst xmlns:p="http://schemas.openxmlformats.org/presentationml/2006/main">
  <p:tag name="KSO_WM_BEAUTIFY_FLAG" val=""/>
</p:tagLst>
</file>

<file path=ppt/tags/tag111.xml><?xml version="1.0" encoding="utf-8"?>
<p:tagLst xmlns:p="http://schemas.openxmlformats.org/presentationml/2006/main">
  <p:tag name="KSO_WM_BEAUTIFY_FLAG" val=""/>
</p:tagLst>
</file>

<file path=ppt/tags/tag112.xml><?xml version="1.0" encoding="utf-8"?>
<p:tagLst xmlns:p="http://schemas.openxmlformats.org/presentationml/2006/main">
  <p:tag name="KSO_WM_BEAUTIFY_FLAG" val=""/>
</p:tagLst>
</file>

<file path=ppt/tags/tag113.xml><?xml version="1.0" encoding="utf-8"?>
<p:tagLst xmlns:p="http://schemas.openxmlformats.org/presentationml/2006/main">
  <p:tag name="KSO_WM_BEAUTIFY_FLAG" val=""/>
</p:tagLst>
</file>

<file path=ppt/tags/tag114.xml><?xml version="1.0" encoding="utf-8"?>
<p:tagLst xmlns:p="http://schemas.openxmlformats.org/presentationml/2006/main">
  <p:tag name="KSO_WM_BEAUTIFY_FLAG" val=""/>
</p:tagLst>
</file>

<file path=ppt/tags/tag115.xml><?xml version="1.0" encoding="utf-8"?>
<p:tagLst xmlns:p="http://schemas.openxmlformats.org/presentationml/2006/main">
  <p:tag name="KSO_WM_BEAUTIFY_FLAG" val=""/>
</p:tagLst>
</file>

<file path=ppt/tags/tag116.xml><?xml version="1.0" encoding="utf-8"?>
<p:tagLst xmlns:p="http://schemas.openxmlformats.org/presentationml/2006/main">
  <p:tag name="KSO_WM_BEAUTIFY_FLAG" val=""/>
</p:tagLst>
</file>

<file path=ppt/tags/tag117.xml><?xml version="1.0" encoding="utf-8"?>
<p:tagLst xmlns:p="http://schemas.openxmlformats.org/presentationml/2006/main">
  <p:tag name="THINKCELLSHAPEDONOTDELETE" val="thinkcellActiveDocDoNotDelete"/>
</p:tagLst>
</file>

<file path=ppt/tags/tag118.xml><?xml version="1.0" encoding="utf-8"?>
<p:tagLst xmlns:p="http://schemas.openxmlformats.org/presentationml/2006/main">
  <p:tag name="KSO_WM_BEAUTIFY_FLAG" val=""/>
</p:tagLst>
</file>

<file path=ppt/tags/tag119.xml><?xml version="1.0" encoding="utf-8"?>
<p:tagLst xmlns:p="http://schemas.openxmlformats.org/presentationml/2006/main">
  <p:tag name="KSO_WM_BEAUTIFY_FLAG" val=""/>
</p:tagLst>
</file>

<file path=ppt/tags/tag12.xml><?xml version="1.0" encoding="utf-8"?>
<p:tagLst xmlns:p="http://schemas.openxmlformats.org/presentationml/2006/main">
  <p:tag name="THINKCELLSHAPEDONOTDELETE" val="t.H6iyrAOXK8FTQr5D9E7tQ"/>
</p:tagLst>
</file>

<file path=ppt/tags/tag120.xml><?xml version="1.0" encoding="utf-8"?>
<p:tagLst xmlns:p="http://schemas.openxmlformats.org/presentationml/2006/main">
  <p:tag name="KSO_WM_BEAUTIFY_FLAG" val=""/>
</p:tagLst>
</file>

<file path=ppt/tags/tag121.xml><?xml version="1.0" encoding="utf-8"?>
<p:tagLst xmlns:p="http://schemas.openxmlformats.org/presentationml/2006/main">
  <p:tag name="KSO_WM_BEAUTIFY_FLAG" val=""/>
</p:tagLst>
</file>

<file path=ppt/tags/tag122.xml><?xml version="1.0" encoding="utf-8"?>
<p:tagLst xmlns:p="http://schemas.openxmlformats.org/presentationml/2006/main">
  <p:tag name="KSO_WM_BEAUTIFY_FLAG" val=""/>
</p:tagLst>
</file>

<file path=ppt/tags/tag123.xml><?xml version="1.0" encoding="utf-8"?>
<p:tagLst xmlns:p="http://schemas.openxmlformats.org/presentationml/2006/main">
  <p:tag name="KSO_WM_BEAUTIFY_FLAG" val=""/>
</p:tagLst>
</file>

<file path=ppt/tags/tag124.xml><?xml version="1.0" encoding="utf-8"?>
<p:tagLst xmlns:p="http://schemas.openxmlformats.org/presentationml/2006/main">
  <p:tag name="KSO_WM_BEAUTIFY_FLAG" val=""/>
</p:tagLst>
</file>

<file path=ppt/tags/tag125.xml><?xml version="1.0" encoding="utf-8"?>
<p:tagLst xmlns:p="http://schemas.openxmlformats.org/presentationml/2006/main">
  <p:tag name="KSO_WM_BEAUTIFY_FLAG" val=""/>
</p:tagLst>
</file>

<file path=ppt/tags/tag126.xml><?xml version="1.0" encoding="utf-8"?>
<p:tagLst xmlns:p="http://schemas.openxmlformats.org/presentationml/2006/main">
  <p:tag name="KSO_WM_BEAUTIFY_FLAG" val=""/>
</p:tagLst>
</file>

<file path=ppt/tags/tag127.xml><?xml version="1.0" encoding="utf-8"?>
<p:tagLst xmlns:p="http://schemas.openxmlformats.org/presentationml/2006/main">
  <p:tag name="KSO_WM_BEAUTIFY_FLAG" val=""/>
</p:tagLst>
</file>

<file path=ppt/tags/tag128.xml><?xml version="1.0" encoding="utf-8"?>
<p:tagLst xmlns:p="http://schemas.openxmlformats.org/presentationml/2006/main">
  <p:tag name="KSO_WM_BEAUTIFY_FLAG" val=""/>
</p:tagLst>
</file>

<file path=ppt/tags/tag129.xml><?xml version="1.0" encoding="utf-8"?>
<p:tagLst xmlns:p="http://schemas.openxmlformats.org/presentationml/2006/main">
  <p:tag name="KSO_WM_BEAUTIFY_FLAG" val=""/>
</p:tagLst>
</file>

<file path=ppt/tags/tag13.xml><?xml version="1.0" encoding="utf-8"?>
<p:tagLst xmlns:p="http://schemas.openxmlformats.org/presentationml/2006/main">
  <p:tag name="THINKCELLSHAPEDONOTDELETE" val="tTp0bW.7VWRTwPYN9O2e7IA"/>
</p:tagLst>
</file>

<file path=ppt/tags/tag130.xml><?xml version="1.0" encoding="utf-8"?>
<p:tagLst xmlns:p="http://schemas.openxmlformats.org/presentationml/2006/main">
  <p:tag name="KSO_WM_BEAUTIFY_FLAG" val=""/>
</p:tagLst>
</file>

<file path=ppt/tags/tag131.xml><?xml version="1.0" encoding="utf-8"?>
<p:tagLst xmlns:p="http://schemas.openxmlformats.org/presentationml/2006/main">
  <p:tag name="KSO_WM_BEAUTIFY_FLAG" val=""/>
</p:tagLst>
</file>

<file path=ppt/tags/tag132.xml><?xml version="1.0" encoding="utf-8"?>
<p:tagLst xmlns:p="http://schemas.openxmlformats.org/presentationml/2006/main">
  <p:tag name="KSO_WM_UNIT_ISCONTENTSTITLE" val="0"/>
  <p:tag name="KSO_WM_UNIT_ISNUMDGMTITLE" val="0"/>
  <p:tag name="KSO_WM_UNIT_NOCLEAR" val="0"/>
  <p:tag name="KSO_WM_UNIT_SHOW_EDIT_AREA_INDICATION" val="1"/>
  <p:tag name="KSO_WM_UNIT_VALUE" val="111"/>
  <p:tag name="KSO_WM_UNIT_HIGHLIGHT" val="0"/>
  <p:tag name="KSO_WM_UNIT_COMPATIBLE" val="0"/>
  <p:tag name="KSO_WM_UNIT_DIAGRAM_ISNUMVISUAL" val="0"/>
  <p:tag name="KSO_WM_UNIT_DIAGRAM_ISREFERUNIT" val="0"/>
  <p:tag name="KSO_WM_UNIT_TYPE" val="b"/>
  <p:tag name="KSO_WM_UNIT_INDEX" val="1"/>
  <p:tag name="KSO_WM_UNIT_ID" val="custom20205081_1*b*1"/>
  <p:tag name="KSO_WM_TEMPLATE_CATEGORY" val="custom"/>
  <p:tag name="KSO_WM_TEMPLATE_INDEX" val="20205081"/>
  <p:tag name="KSO_WM_UNIT_LAYERLEVEL" val="1"/>
  <p:tag name="KSO_WM_TAG_VERSION" val="1.0"/>
  <p:tag name="KSO_WM_BEAUTIFY_FLAG" val=""/>
</p:tagLst>
</file>

<file path=ppt/tags/tag133.xml><?xml version="1.0" encoding="utf-8"?>
<p:tagLst xmlns:p="http://schemas.openxmlformats.org/presentationml/2006/main">
  <p:tag name="KSO_WM_UNIT_ISCONTENTSTITLE" val="0"/>
  <p:tag name="KSO_WM_UNIT_ISNUMDGMTITLE" val="0"/>
  <p:tag name="KSO_WM_UNIT_NOCLEAR" val="0"/>
  <p:tag name="KSO_WM_UNIT_SHOW_EDIT_AREA_INDICATION" val="1"/>
  <p:tag name="KSO_WM_UNIT_VALUE" val="111"/>
  <p:tag name="KSO_WM_UNIT_HIGHLIGHT" val="0"/>
  <p:tag name="KSO_WM_UNIT_COMPATIBLE" val="0"/>
  <p:tag name="KSO_WM_UNIT_DIAGRAM_ISNUMVISUAL" val="0"/>
  <p:tag name="KSO_WM_UNIT_DIAGRAM_ISREFERUNIT" val="0"/>
  <p:tag name="KSO_WM_UNIT_TYPE" val="b"/>
  <p:tag name="KSO_WM_UNIT_INDEX" val="1"/>
  <p:tag name="KSO_WM_UNIT_ID" val="custom20205081_1*b*1"/>
  <p:tag name="KSO_WM_TEMPLATE_CATEGORY" val="custom"/>
  <p:tag name="KSO_WM_TEMPLATE_INDEX" val="20205081"/>
  <p:tag name="KSO_WM_UNIT_LAYERLEVEL" val="1"/>
  <p:tag name="KSO_WM_TAG_VERSION" val="1.0"/>
  <p:tag name="KSO_WM_BEAUTIFY_FLAG" val=""/>
</p:tagLst>
</file>

<file path=ppt/tags/tag134.xml><?xml version="1.0" encoding="utf-8"?>
<p:tagLst xmlns:p="http://schemas.openxmlformats.org/presentationml/2006/main">
  <p:tag name="KSO_WM_BEAUTIFY_FLAG" val=""/>
</p:tagLst>
</file>

<file path=ppt/tags/tag135.xml><?xml version="1.0" encoding="utf-8"?>
<p:tagLst xmlns:p="http://schemas.openxmlformats.org/presentationml/2006/main">
  <p:tag name="KSO_WM_BEAUTIFY_FLAG" val=""/>
</p:tagLst>
</file>

<file path=ppt/tags/tag136.xml><?xml version="1.0" encoding="utf-8"?>
<p:tagLst xmlns:p="http://schemas.openxmlformats.org/presentationml/2006/main">
  <p:tag name="KSO_WM_BEAUTIFY_FLAG" val=""/>
</p:tagLst>
</file>

<file path=ppt/tags/tag137.xml><?xml version="1.0" encoding="utf-8"?>
<p:tagLst xmlns:p="http://schemas.openxmlformats.org/presentationml/2006/main">
  <p:tag name="KSO_WM_BEAUTIFY_FLAG" val=""/>
</p:tagLst>
</file>

<file path=ppt/tags/tag138.xml><?xml version="1.0" encoding="utf-8"?>
<p:tagLst xmlns:p="http://schemas.openxmlformats.org/presentationml/2006/main">
  <p:tag name="KSO_WM_BEAUTIFY_FLAG" val=""/>
</p:tagLst>
</file>

<file path=ppt/tags/tag139.xml><?xml version="1.0" encoding="utf-8"?>
<p:tagLst xmlns:p="http://schemas.openxmlformats.org/presentationml/2006/main">
  <p:tag name="KSO_WM_BEAUTIFY_FLAG" val=""/>
</p:tagLst>
</file>

<file path=ppt/tags/tag14.xml><?xml version="1.0" encoding="utf-8"?>
<p:tagLst xmlns:p="http://schemas.openxmlformats.org/presentationml/2006/main">
  <p:tag name="THINKCELLSHAPEDONOTDELETE" val="ts0OFcbCsXQUyS.DyiyR1og"/>
</p:tagLst>
</file>

<file path=ppt/tags/tag140.xml><?xml version="1.0" encoding="utf-8"?>
<p:tagLst xmlns:p="http://schemas.openxmlformats.org/presentationml/2006/main">
  <p:tag name="KSO_WM_BEAUTIFY_FLAG" val=""/>
</p:tagLst>
</file>

<file path=ppt/tags/tag141.xml><?xml version="1.0" encoding="utf-8"?>
<p:tagLst xmlns:p="http://schemas.openxmlformats.org/presentationml/2006/main">
  <p:tag name="THINKCELLSHAPEDONOTDELETE" val="thinkcellActiveDocDoNotDelete"/>
</p:tagLst>
</file>

<file path=ppt/tags/tag142.xml><?xml version="1.0" encoding="utf-8"?>
<p:tagLst xmlns:p="http://schemas.openxmlformats.org/presentationml/2006/main">
  <p:tag name="KSO_WM_BEAUTIFY_FLAG" val=""/>
</p:tagLst>
</file>

<file path=ppt/tags/tag143.xml><?xml version="1.0" encoding="utf-8"?>
<p:tagLst xmlns:p="http://schemas.openxmlformats.org/presentationml/2006/main">
  <p:tag name="KSO_WM_BEAUTIFY_FLAG" val=""/>
</p:tagLst>
</file>

<file path=ppt/tags/tag144.xml><?xml version="1.0" encoding="utf-8"?>
<p:tagLst xmlns:p="http://schemas.openxmlformats.org/presentationml/2006/main">
  <p:tag name="KSO_WM_BEAUTIFY_FLAG" val=""/>
</p:tagLst>
</file>

<file path=ppt/tags/tag145.xml><?xml version="1.0" encoding="utf-8"?>
<p:tagLst xmlns:p="http://schemas.openxmlformats.org/presentationml/2006/main">
  <p:tag name="KSO_WM_BEAUTIFY_FLAG" val=""/>
</p:tagLst>
</file>

<file path=ppt/tags/tag146.xml><?xml version="1.0" encoding="utf-8"?>
<p:tagLst xmlns:p="http://schemas.openxmlformats.org/presentationml/2006/main">
  <p:tag name="KSO_WM_BEAUTIFY_FLAG" val=""/>
</p:tagLst>
</file>

<file path=ppt/tags/tag147.xml><?xml version="1.0" encoding="utf-8"?>
<p:tagLst xmlns:p="http://schemas.openxmlformats.org/presentationml/2006/main">
  <p:tag name="KSO_WM_BEAUTIFY_FLAG" val=""/>
</p:tagLst>
</file>

<file path=ppt/tags/tag148.xml><?xml version="1.0" encoding="utf-8"?>
<p:tagLst xmlns:p="http://schemas.openxmlformats.org/presentationml/2006/main">
  <p:tag name="KSO_WM_BEAUTIFY_FLAG" val=""/>
</p:tagLst>
</file>

<file path=ppt/tags/tag149.xml><?xml version="1.0" encoding="utf-8"?>
<p:tagLst xmlns:p="http://schemas.openxmlformats.org/presentationml/2006/main">
  <p:tag name="KSO_WM_BEAUTIFY_FLAG" val=""/>
</p:tagLst>
</file>

<file path=ppt/tags/tag15.xml><?xml version="1.0" encoding="utf-8"?>
<p:tagLst xmlns:p="http://schemas.openxmlformats.org/presentationml/2006/main">
  <p:tag name="THINKCELLSHAPEDONOTDELETE" val="ttSdMdoCU_OMEf3d.XduSmQ"/>
</p:tagLst>
</file>

<file path=ppt/tags/tag150.xml><?xml version="1.0" encoding="utf-8"?>
<p:tagLst xmlns:p="http://schemas.openxmlformats.org/presentationml/2006/main">
  <p:tag name="KSO_WM_BEAUTIFY_FLAG" val=""/>
</p:tagLst>
</file>

<file path=ppt/tags/tag151.xml><?xml version="1.0" encoding="utf-8"?>
<p:tagLst xmlns:p="http://schemas.openxmlformats.org/presentationml/2006/main">
  <p:tag name="KSO_WM_BEAUTIFY_FLAG" val=""/>
</p:tagLst>
</file>

<file path=ppt/tags/tag152.xml><?xml version="1.0" encoding="utf-8"?>
<p:tagLst xmlns:p="http://schemas.openxmlformats.org/presentationml/2006/main">
  <p:tag name="KSO_WM_BEAUTIFY_FLAG" val=""/>
</p:tagLst>
</file>

<file path=ppt/tags/tag153.xml><?xml version="1.0" encoding="utf-8"?>
<p:tagLst xmlns:p="http://schemas.openxmlformats.org/presentationml/2006/main">
  <p:tag name="KSO_WM_BEAUTIFY_FLAG" val=""/>
</p:tagLst>
</file>

<file path=ppt/tags/tag154.xml><?xml version="1.0" encoding="utf-8"?>
<p:tagLst xmlns:p="http://schemas.openxmlformats.org/presentationml/2006/main">
  <p:tag name="KSO_WM_BEAUTIFY_FLAG" val=""/>
</p:tagLst>
</file>

<file path=ppt/tags/tag155.xml><?xml version="1.0" encoding="utf-8"?>
<p:tagLst xmlns:p="http://schemas.openxmlformats.org/presentationml/2006/main">
  <p:tag name="KSO_WM_BEAUTIFY_FLAG" val=""/>
</p:tagLst>
</file>

<file path=ppt/tags/tag156.xml><?xml version="1.0" encoding="utf-8"?>
<p:tagLst xmlns:p="http://schemas.openxmlformats.org/presentationml/2006/main">
  <p:tag name="KSO_WM_BEAUTIFY_FLAG" val=""/>
</p:tagLst>
</file>

<file path=ppt/tags/tag157.xml><?xml version="1.0" encoding="utf-8"?>
<p:tagLst xmlns:p="http://schemas.openxmlformats.org/presentationml/2006/main">
  <p:tag name="KSO_WM_BEAUTIFY_FLAG" val=""/>
</p:tagLst>
</file>

<file path=ppt/tags/tag158.xml><?xml version="1.0" encoding="utf-8"?>
<p:tagLst xmlns:p="http://schemas.openxmlformats.org/presentationml/2006/main">
  <p:tag name="KSO_WM_BEAUTIFY_FLAG" val=""/>
</p:tagLst>
</file>

<file path=ppt/tags/tag159.xml><?xml version="1.0" encoding="utf-8"?>
<p:tagLst xmlns:p="http://schemas.openxmlformats.org/presentationml/2006/main">
  <p:tag name="KSO_WM_BEAUTIFY_FLAG" val=""/>
</p:tagLst>
</file>

<file path=ppt/tags/tag16.xml><?xml version="1.0" encoding="utf-8"?>
<p:tagLst xmlns:p="http://schemas.openxmlformats.org/presentationml/2006/main">
  <p:tag name="THINKCELLSHAPEDONOTDELETE" val="tw2RUFVfF8HyHLYerqg1hLg"/>
</p:tagLst>
</file>

<file path=ppt/tags/tag160.xml><?xml version="1.0" encoding="utf-8"?>
<p:tagLst xmlns:p="http://schemas.openxmlformats.org/presentationml/2006/main">
  <p:tag name="KSO_WM_BEAUTIFY_FLAG" val=""/>
</p:tagLst>
</file>

<file path=ppt/tags/tag161.xml><?xml version="1.0" encoding="utf-8"?>
<p:tagLst xmlns:p="http://schemas.openxmlformats.org/presentationml/2006/main">
  <p:tag name="KSO_WM_BEAUTIFY_FLAG" val=""/>
</p:tagLst>
</file>

<file path=ppt/tags/tag162.xml><?xml version="1.0" encoding="utf-8"?>
<p:tagLst xmlns:p="http://schemas.openxmlformats.org/presentationml/2006/main">
  <p:tag name="KSO_WM_BEAUTIFY_FLAG" val=""/>
</p:tagLst>
</file>

<file path=ppt/tags/tag163.xml><?xml version="1.0" encoding="utf-8"?>
<p:tagLst xmlns:p="http://schemas.openxmlformats.org/presentationml/2006/main">
  <p:tag name="KSO_WM_BEAUTIFY_FLAG" val=""/>
</p:tagLst>
</file>

<file path=ppt/tags/tag164.xml><?xml version="1.0" encoding="utf-8"?>
<p:tagLst xmlns:p="http://schemas.openxmlformats.org/presentationml/2006/main">
  <p:tag name="KSO_WM_BEAUTIFY_FLAG" val=""/>
</p:tagLst>
</file>

<file path=ppt/tags/tag165.xml><?xml version="1.0" encoding="utf-8"?>
<p:tagLst xmlns:p="http://schemas.openxmlformats.org/presentationml/2006/main">
  <p:tag name="THINKCELLSHAPEDONOTDELETE" val="thinkcellActiveDocDoNotDelete"/>
</p:tagLst>
</file>

<file path=ppt/tags/tag166.xml><?xml version="1.0" encoding="utf-8"?>
<p:tagLst xmlns:p="http://schemas.openxmlformats.org/presentationml/2006/main">
  <p:tag name="KSO_WM_BEAUTIFY_FLAG" val=""/>
</p:tagLst>
</file>

<file path=ppt/tags/tag167.xml><?xml version="1.0" encoding="utf-8"?>
<p:tagLst xmlns:p="http://schemas.openxmlformats.org/presentationml/2006/main">
  <p:tag name="KSO_WM_BEAUTIFY_FLAG" val=""/>
</p:tagLst>
</file>

<file path=ppt/tags/tag168.xml><?xml version="1.0" encoding="utf-8"?>
<p:tagLst xmlns:p="http://schemas.openxmlformats.org/presentationml/2006/main">
  <p:tag name="KSO_WM_BEAUTIFY_FLAG" val=""/>
</p:tagLst>
</file>

<file path=ppt/tags/tag169.xml><?xml version="1.0" encoding="utf-8"?>
<p:tagLst xmlns:p="http://schemas.openxmlformats.org/presentationml/2006/main">
  <p:tag name="KSO_WM_BEAUTIFY_FLAG" val=""/>
</p:tagLst>
</file>

<file path=ppt/tags/tag17.xml><?xml version="1.0" encoding="utf-8"?>
<p:tagLst xmlns:p="http://schemas.openxmlformats.org/presentationml/2006/main">
  <p:tag name="THINKCELLSHAPEDONOTDELETE" val="tQU6kPrHly2nMC2ArtxtB.g"/>
</p:tagLst>
</file>

<file path=ppt/tags/tag170.xml><?xml version="1.0" encoding="utf-8"?>
<p:tagLst xmlns:p="http://schemas.openxmlformats.org/presentationml/2006/main">
  <p:tag name="KSO_WM_BEAUTIFY_FLAG" val=""/>
</p:tagLst>
</file>

<file path=ppt/tags/tag171.xml><?xml version="1.0" encoding="utf-8"?>
<p:tagLst xmlns:p="http://schemas.openxmlformats.org/presentationml/2006/main">
  <p:tag name="KSO_WM_BEAUTIFY_FLAG" val=""/>
</p:tagLst>
</file>

<file path=ppt/tags/tag172.xml><?xml version="1.0" encoding="utf-8"?>
<p:tagLst xmlns:p="http://schemas.openxmlformats.org/presentationml/2006/main">
  <p:tag name="KSO_WM_BEAUTIFY_FLAG" val=""/>
</p:tagLst>
</file>

<file path=ppt/tags/tag173.xml><?xml version="1.0" encoding="utf-8"?>
<p:tagLst xmlns:p="http://schemas.openxmlformats.org/presentationml/2006/main">
  <p:tag name="KSO_WM_BEAUTIFY_FLAG" val=""/>
</p:tagLst>
</file>

<file path=ppt/tags/tag174.xml><?xml version="1.0" encoding="utf-8"?>
<p:tagLst xmlns:p="http://schemas.openxmlformats.org/presentationml/2006/main">
  <p:tag name="THINKCELLSHAPEDONOTDELETE" val="thinkcellActiveDocDoNotDelete"/>
</p:tagLst>
</file>

<file path=ppt/tags/tag175.xml><?xml version="1.0" encoding="utf-8"?>
<p:tagLst xmlns:p="http://schemas.openxmlformats.org/presentationml/2006/main">
  <p:tag name="KSO_WM_BEAUTIFY_FLAG" val=""/>
</p:tagLst>
</file>

<file path=ppt/tags/tag176.xml><?xml version="1.0" encoding="utf-8"?>
<p:tagLst xmlns:p="http://schemas.openxmlformats.org/presentationml/2006/main">
  <p:tag name="KSO_WM_BEAUTIFY_FLAG" val=""/>
</p:tagLst>
</file>

<file path=ppt/tags/tag177.xml><?xml version="1.0" encoding="utf-8"?>
<p:tagLst xmlns:p="http://schemas.openxmlformats.org/presentationml/2006/main">
  <p:tag name="KSO_WM_BEAUTIFY_FLAG" val=""/>
</p:tagLst>
</file>

<file path=ppt/tags/tag178.xml><?xml version="1.0" encoding="utf-8"?>
<p:tagLst xmlns:p="http://schemas.openxmlformats.org/presentationml/2006/main">
  <p:tag name="KSO_WM_BEAUTIFY_FLAG" val=""/>
</p:tagLst>
</file>

<file path=ppt/tags/tag179.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Y_4JFjsLJnrzzZQz2MKMMA"/>
</p:tagLst>
</file>

<file path=ppt/tags/tag180.xml><?xml version="1.0" encoding="utf-8"?>
<p:tagLst xmlns:p="http://schemas.openxmlformats.org/presentationml/2006/main">
  <p:tag name="KSO_WM_BEAUTIFY_FLAG" val=""/>
</p:tagLst>
</file>

<file path=ppt/tags/tag181.xml><?xml version="1.0" encoding="utf-8"?>
<p:tagLst xmlns:p="http://schemas.openxmlformats.org/presentationml/2006/main">
  <p:tag name="KSO_WM_BEAUTIFY_FLAG" val=""/>
</p:tagLst>
</file>

<file path=ppt/tags/tag182.xml><?xml version="1.0" encoding="utf-8"?>
<p:tagLst xmlns:p="http://schemas.openxmlformats.org/presentationml/2006/main">
  <p:tag name="KSO_WM_BEAUTIFY_FLAG" val=""/>
</p:tagLst>
</file>

<file path=ppt/tags/tag183.xml><?xml version="1.0" encoding="utf-8"?>
<p:tagLst xmlns:p="http://schemas.openxmlformats.org/presentationml/2006/main">
  <p:tag name="KSO_WM_BEAUTIFY_FLAG" val=""/>
</p:tagLst>
</file>

<file path=ppt/tags/tag184.xml><?xml version="1.0" encoding="utf-8"?>
<p:tagLst xmlns:p="http://schemas.openxmlformats.org/presentationml/2006/main">
  <p:tag name="KSO_WM_BEAUTIFY_FLAG" val=""/>
</p:tagLst>
</file>

<file path=ppt/tags/tag185.xml><?xml version="1.0" encoding="utf-8"?>
<p:tagLst xmlns:p="http://schemas.openxmlformats.org/presentationml/2006/main">
  <p:tag name="KSO_WM_BEAUTIFY_FLAG" val=""/>
</p:tagLst>
</file>

<file path=ppt/tags/tag186.xml><?xml version="1.0" encoding="utf-8"?>
<p:tagLst xmlns:p="http://schemas.openxmlformats.org/presentationml/2006/main">
  <p:tag name="KSO_WM_BEAUTIFY_FLAG" val=""/>
</p:tagLst>
</file>

<file path=ppt/tags/tag187.xml><?xml version="1.0" encoding="utf-8"?>
<p:tagLst xmlns:p="http://schemas.openxmlformats.org/presentationml/2006/main">
  <p:tag name="KSO_WM_BEAUTIFY_FLAG" val=""/>
</p:tagLst>
</file>

<file path=ppt/tags/tag188.xml><?xml version="1.0" encoding="utf-8"?>
<p:tagLst xmlns:p="http://schemas.openxmlformats.org/presentationml/2006/main">
  <p:tag name="KSO_WM_BEAUTIFY_FLAG" val=""/>
</p:tagLst>
</file>

<file path=ppt/tags/tag189.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tGkvpZyfCTY1MgRt6oYI76A"/>
</p:tagLst>
</file>

<file path=ppt/tags/tag190.xml><?xml version="1.0" encoding="utf-8"?>
<p:tagLst xmlns:p="http://schemas.openxmlformats.org/presentationml/2006/main">
  <p:tag name="KSO_WM_BEAUTIFY_FLAG" val=""/>
</p:tagLst>
</file>

<file path=ppt/tags/tag191.xml><?xml version="1.0" encoding="utf-8"?>
<p:tagLst xmlns:p="http://schemas.openxmlformats.org/presentationml/2006/main">
  <p:tag name="KSO_WM_BEAUTIFY_FLAG" val=""/>
</p:tagLst>
</file>

<file path=ppt/tags/tag192.xml><?xml version="1.0" encoding="utf-8"?>
<p:tagLst xmlns:p="http://schemas.openxmlformats.org/presentationml/2006/main">
  <p:tag name="KSO_WM_BEAUTIFY_FLAG" val=""/>
</p:tagLst>
</file>

<file path=ppt/tags/tag193.xml><?xml version="1.0" encoding="utf-8"?>
<p:tagLst xmlns:p="http://schemas.openxmlformats.org/presentationml/2006/main">
  <p:tag name="KSO_WM_BEAUTIFY_FLAG" val=""/>
</p:tagLst>
</file>

<file path=ppt/tags/tag194.xml><?xml version="1.0" encoding="utf-8"?>
<p:tagLst xmlns:p="http://schemas.openxmlformats.org/presentationml/2006/main">
  <p:tag name="KSO_WM_BEAUTIFY_FLAG" val=""/>
</p:tagLst>
</file>

<file path=ppt/tags/tag195.xml><?xml version="1.0" encoding="utf-8"?>
<p:tagLst xmlns:p="http://schemas.openxmlformats.org/presentationml/2006/main">
  <p:tag name="KSO_WM_BEAUTIFY_FLAG" val=""/>
</p:tagLst>
</file>

<file path=ppt/tags/tag198.xml><?xml version="1.0" encoding="utf-8"?>
<p:tagLst xmlns:p="http://schemas.openxmlformats.org/presentationml/2006/main">
  <p:tag name="THINKCELLUNDODONOTDELETE" val="0"/>
  <p:tag name="commondata" val="eyJoZGlkIjoiOTMxNmI4NTA1ZjljZjlkYTU0MGUzMDQ4N2QyYzc4ZTcifQ=="/>
</p:tagLst>
</file>

<file path=ppt/tags/tag2.xml><?xml version="1.0" encoding="utf-8"?>
<p:tagLst xmlns:p="http://schemas.openxmlformats.org/presentationml/2006/main">
  <p:tag name="THINKCELLSHAPEDONOTDELETE" val="tG.InZAatnnIWFh0J.x3RMw"/>
</p:tagLst>
</file>

<file path=ppt/tags/tag20.xml><?xml version="1.0" encoding="utf-8"?>
<p:tagLst xmlns:p="http://schemas.openxmlformats.org/presentationml/2006/main">
  <p:tag name="THINKCELLSHAPEDONOTDELETE" val="t_rhmeImeMPlzT6n6jBgq3g"/>
</p:tagLst>
</file>

<file path=ppt/tags/tag21.xml><?xml version="1.0" encoding="utf-8"?>
<p:tagLst xmlns:p="http://schemas.openxmlformats.org/presentationml/2006/main">
  <p:tag name="THINKCELLSHAPEDONOTDELETE" val="tlzu4zaHp_HkJkHBa3oX3VA"/>
</p:tagLst>
</file>

<file path=ppt/tags/tag22.xml><?xml version="1.0" encoding="utf-8"?>
<p:tagLst xmlns:p="http://schemas.openxmlformats.org/presentationml/2006/main">
  <p:tag name="THINKCELLSHAPEDONOTDELETE" val="tKqhYbvbv4CT3GIulG_cAKQ"/>
</p:tagLst>
</file>

<file path=ppt/tags/tag23.xml><?xml version="1.0" encoding="utf-8"?>
<p:tagLst xmlns:p="http://schemas.openxmlformats.org/presentationml/2006/main">
  <p:tag name="THINKCELLSHAPEDONOTDELETE" val="t8EWmfZbUDqMU8nyDztxgQw"/>
</p:tagLst>
</file>

<file path=ppt/tags/tag24.xml><?xml version="1.0" encoding="utf-8"?>
<p:tagLst xmlns:p="http://schemas.openxmlformats.org/presentationml/2006/main">
  <p:tag name="THINKCELLSHAPEDONOTDELETE" val="tmRP62Su3hlEeEi3Het6aZA"/>
</p:tagLst>
</file>

<file path=ppt/tags/tag25.xml><?xml version="1.0" encoding="utf-8"?>
<p:tagLst xmlns:p="http://schemas.openxmlformats.org/presentationml/2006/main">
  <p:tag name="THINKCELLSHAPEDONOTDELETE" val="txJJv9hJ8cEH6jZ2ttSbnHg"/>
</p:tagLst>
</file>

<file path=ppt/tags/tag26.xml><?xml version="1.0" encoding="utf-8"?>
<p:tagLst xmlns:p="http://schemas.openxmlformats.org/presentationml/2006/main">
  <p:tag name="THINKCELLSHAPEDONOTDELETE" val="tIbQD5lCZJe.3l.LsQlL9bA"/>
</p:tagLst>
</file>

<file path=ppt/tags/tag27.xml><?xml version="1.0" encoding="utf-8"?>
<p:tagLst xmlns:p="http://schemas.openxmlformats.org/presentationml/2006/main">
  <p:tag name="THINKCELLSHAPEDONOTDELETE" val="tJafn7lP7XiLhZTNI8kipmw"/>
</p:tagLst>
</file>

<file path=ppt/tags/tag28.xml><?xml version="1.0" encoding="utf-8"?>
<p:tagLst xmlns:p="http://schemas.openxmlformats.org/presentationml/2006/main">
  <p:tag name="THINKCELLSHAPEDONOTDELETE" val="tw8y.4s2I6q1Gw0j7uzn1_w"/>
</p:tagLst>
</file>

<file path=ppt/tags/tag29.xml><?xml version="1.0" encoding="utf-8"?>
<p:tagLst xmlns:p="http://schemas.openxmlformats.org/presentationml/2006/main">
  <p:tag name="THINKCELLSHAPEDONOTDELETE" val="tsCDaTKQPePuNyZrbHhdunw"/>
</p:tagLst>
</file>

<file path=ppt/tags/tag3.xml><?xml version="1.0" encoding="utf-8"?>
<p:tagLst xmlns:p="http://schemas.openxmlformats.org/presentationml/2006/main">
  <p:tag name="THINKCELLSHAPEDONOTDELETE" val="tSGa485dNxtDrQTQkA8EtWA"/>
</p:tagLst>
</file>

<file path=ppt/tags/tag30.xml><?xml version="1.0" encoding="utf-8"?>
<p:tagLst xmlns:p="http://schemas.openxmlformats.org/presentationml/2006/main">
  <p:tag name="THINKCELLSHAPEDONOTDELETE" val="t9OwXCV7loiyYg.La0kANcw"/>
</p:tagLst>
</file>

<file path=ppt/tags/tag31.xml><?xml version="1.0" encoding="utf-8"?>
<p:tagLst xmlns:p="http://schemas.openxmlformats.org/presentationml/2006/main">
  <p:tag name="THINKCELLSHAPEDONOTDELETE" val="tf09St65QyHY5riRrGqHayQ"/>
</p:tagLst>
</file>

<file path=ppt/tags/tag32.xml><?xml version="1.0" encoding="utf-8"?>
<p:tagLst xmlns:p="http://schemas.openxmlformats.org/presentationml/2006/main">
  <p:tag name="THINKCELLSHAPEDONOTDELETE" val="tZA9TC0p2OVS_38qLUWVheQ"/>
</p:tagLst>
</file>

<file path=ppt/tags/tag33.xml><?xml version="1.0" encoding="utf-8"?>
<p:tagLst xmlns:p="http://schemas.openxmlformats.org/presentationml/2006/main">
  <p:tag name="THINKCELLSHAPEDONOTDELETE" val="tjaICu4Gz43SwyqDJ9bGbMg"/>
</p:tagLst>
</file>

<file path=ppt/tags/tag34.xml><?xml version="1.0" encoding="utf-8"?>
<p:tagLst xmlns:p="http://schemas.openxmlformats.org/presentationml/2006/main">
  <p:tag name="THINKCELLSHAPEDONOTDELETE" val="tdDe16C_J1Cv2ndDrMhKJTQ"/>
</p:tagLst>
</file>

<file path=ppt/tags/tag35.xml><?xml version="1.0" encoding="utf-8"?>
<p:tagLst xmlns:p="http://schemas.openxmlformats.org/presentationml/2006/main">
  <p:tag name="THINKCELLSHAPEDONOTDELETE" val="tKs.vL55VeNldw4SsdzYkYQ"/>
</p:tagLst>
</file>

<file path=ppt/tags/tag36.xml><?xml version="1.0" encoding="utf-8"?>
<p:tagLst xmlns:p="http://schemas.openxmlformats.org/presentationml/2006/main">
  <p:tag name="THINKCELLSHAPEDONOTDELETE" val="tEKEi3NEeB0lcwb2d0gPs5g"/>
</p:tagLst>
</file>

<file path=ppt/tags/tag37.xml><?xml version="1.0" encoding="utf-8"?>
<p:tagLst xmlns:p="http://schemas.openxmlformats.org/presentationml/2006/main">
  <p:tag name="THINKCELLSHAPEDONOTDELETE" val="t8EQ9EzZPrB1sjcBw4F9ZFA"/>
</p:tagLst>
</file>

<file path=ppt/tags/tag38.xml><?xml version="1.0" encoding="utf-8"?>
<p:tagLst xmlns:p="http://schemas.openxmlformats.org/presentationml/2006/main">
  <p:tag name="THINKCELLSHAPEDONOTDELETE" val="tjWVep52.YjStuluAfAQk_A"/>
</p:tagLst>
</file>

<file path=ppt/tags/tag39.xml><?xml version="1.0" encoding="utf-8"?>
<p:tagLst xmlns:p="http://schemas.openxmlformats.org/presentationml/2006/main">
  <p:tag name="THINKCELLSHAPEDONOTDELETE" val="tkiqqo9QBjXVIR4TvFoLhEA"/>
</p:tagLst>
</file>

<file path=ppt/tags/tag4.xml><?xml version="1.0" encoding="utf-8"?>
<p:tagLst xmlns:p="http://schemas.openxmlformats.org/presentationml/2006/main">
  <p:tag name="THINKCELLSHAPEDONOTDELETE" val="t4iG3zoeeXJUpDgTAsABcYQ"/>
</p:tagLst>
</file>

<file path=ppt/tags/tag40.xml><?xml version="1.0" encoding="utf-8"?>
<p:tagLst xmlns:p="http://schemas.openxmlformats.org/presentationml/2006/main">
  <p:tag name="THINKCELLSHAPEDONOTDELETE" val="tH51nb28JHyHrFxNHHZ4hYQ"/>
</p:tagLst>
</file>

<file path=ppt/tags/tag41.xml><?xml version="1.0" encoding="utf-8"?>
<p:tagLst xmlns:p="http://schemas.openxmlformats.org/presentationml/2006/main">
  <p:tag name="THINKCELLSHAPEDONOTDELETE" val="thinkcellActiveDocDoNotDelete"/>
</p:tagLst>
</file>

<file path=ppt/tags/tag42.xml><?xml version="1.0" encoding="utf-8"?>
<p:tagLst xmlns:p="http://schemas.openxmlformats.org/presentationml/2006/main">
  <p:tag name="KSO_WM_BEAUTIFY_FLAG" val=""/>
</p:tagLst>
</file>

<file path=ppt/tags/tag43.xml><?xml version="1.0" encoding="utf-8"?>
<p:tagLst xmlns:p="http://schemas.openxmlformats.org/presentationml/2006/main">
  <p:tag name="KSO_WM_BEAUTIFY_FLAG" val=""/>
</p:tagLst>
</file>

<file path=ppt/tags/tag44.xml><?xml version="1.0" encoding="utf-8"?>
<p:tagLst xmlns:p="http://schemas.openxmlformats.org/presentationml/2006/main">
  <p:tag name="KSO_WM_BEAUTIFY_FLAG" val=""/>
</p:tagLst>
</file>

<file path=ppt/tags/tag45.xml><?xml version="1.0" encoding="utf-8"?>
<p:tagLst xmlns:p="http://schemas.openxmlformats.org/presentationml/2006/main">
  <p:tag name="THINKCELLSHAPEDONOTDELETE" val="thinkcellActiveDocDoNotDelete"/>
</p:tagLst>
</file>

<file path=ppt/tags/tag46.xml><?xml version="1.0" encoding="utf-8"?>
<p:tagLst xmlns:p="http://schemas.openxmlformats.org/presentationml/2006/main">
  <p:tag name="KSO_WM_BEAUTIFY_FLAG" val=""/>
</p:tagLst>
</file>

<file path=ppt/tags/tag47.xml><?xml version="1.0" encoding="utf-8"?>
<p:tagLst xmlns:p="http://schemas.openxmlformats.org/presentationml/2006/main">
  <p:tag name="KSO_WM_BEAUTIFY_FLAG" val=""/>
</p:tagLst>
</file>

<file path=ppt/tags/tag48.xml><?xml version="1.0" encoding="utf-8"?>
<p:tagLst xmlns:p="http://schemas.openxmlformats.org/presentationml/2006/main">
  <p:tag name="KSO_WM_BEAUTIFY_FLAG" val=""/>
</p:tagLst>
</file>

<file path=ppt/tags/tag49.xml><?xml version="1.0" encoding="utf-8"?>
<p:tagLst xmlns:p="http://schemas.openxmlformats.org/presentationml/2006/main">
  <p:tag name="KSO_WM_BEAUTIFY_FLAG" val=""/>
</p:tagLst>
</file>

<file path=ppt/tags/tag5.xml><?xml version="1.0" encoding="utf-8"?>
<p:tagLst xmlns:p="http://schemas.openxmlformats.org/presentationml/2006/main">
  <p:tag name="THINKCELLSHAPEDONOTDELETE" val="tuGWh8yaWqUbHcjJFxcQAnA"/>
</p:tagLst>
</file>

<file path=ppt/tags/tag50.xml><?xml version="1.0" encoding="utf-8"?>
<p:tagLst xmlns:p="http://schemas.openxmlformats.org/presentationml/2006/main">
  <p:tag name="KSO_WM_BEAUTIFY_FLAG" val=""/>
</p:tagLst>
</file>

<file path=ppt/tags/tag51.xml><?xml version="1.0" encoding="utf-8"?>
<p:tagLst xmlns:p="http://schemas.openxmlformats.org/presentationml/2006/main">
  <p:tag name="KSO_WM_BEAUTIFY_FLAG" val=""/>
</p:tagLst>
</file>

<file path=ppt/tags/tag52.xml><?xml version="1.0" encoding="utf-8"?>
<p:tagLst xmlns:p="http://schemas.openxmlformats.org/presentationml/2006/main">
  <p:tag name="KSO_WM_BEAUTIFY_FLAG" val=""/>
</p:tagLst>
</file>

<file path=ppt/tags/tag53.xml><?xml version="1.0" encoding="utf-8"?>
<p:tagLst xmlns:p="http://schemas.openxmlformats.org/presentationml/2006/main">
  <p:tag name="KSO_WM_BEAUTIFY_FLAG" val=""/>
</p:tagLst>
</file>

<file path=ppt/tags/tag54.xml><?xml version="1.0" encoding="utf-8"?>
<p:tagLst xmlns:p="http://schemas.openxmlformats.org/presentationml/2006/main">
  <p:tag name="KSO_WM_BEAUTIFY_FLAG" val=""/>
</p:tagLst>
</file>

<file path=ppt/tags/tag55.xml><?xml version="1.0" encoding="utf-8"?>
<p:tagLst xmlns:p="http://schemas.openxmlformats.org/presentationml/2006/main">
  <p:tag name="KSO_WM_BEAUTIFY_FLAG" val=""/>
</p:tagLst>
</file>

<file path=ppt/tags/tag56.xml><?xml version="1.0" encoding="utf-8"?>
<p:tagLst xmlns:p="http://schemas.openxmlformats.org/presentationml/2006/main">
  <p:tag name="KSO_WM_BEAUTIFY_FLAG" val=""/>
</p:tagLst>
</file>

<file path=ppt/tags/tag57.xml><?xml version="1.0" encoding="utf-8"?>
<p:tagLst xmlns:p="http://schemas.openxmlformats.org/presentationml/2006/main">
  <p:tag name="KSO_WM_BEAUTIFY_FLAG" val=""/>
</p:tagLst>
</file>

<file path=ppt/tags/tag58.xml><?xml version="1.0" encoding="utf-8"?>
<p:tagLst xmlns:p="http://schemas.openxmlformats.org/presentationml/2006/main">
  <p:tag name="KSO_WM_BEAUTIFY_FLAG" val=""/>
</p:tagLst>
</file>

<file path=ppt/tags/tag59.xml><?xml version="1.0" encoding="utf-8"?>
<p:tagLst xmlns:p="http://schemas.openxmlformats.org/presentationml/2006/main">
  <p:tag name="KSO_WM_BEAUTIFY_FLAG" val=""/>
</p:tagLst>
</file>

<file path=ppt/tags/tag6.xml><?xml version="1.0" encoding="utf-8"?>
<p:tagLst xmlns:p="http://schemas.openxmlformats.org/presentationml/2006/main">
  <p:tag name="THINKCELLSHAPEDONOTDELETE" val="trgM2jouOxHg7G54cinm9UA"/>
</p:tagLst>
</file>

<file path=ppt/tags/tag60.xml><?xml version="1.0" encoding="utf-8"?>
<p:tagLst xmlns:p="http://schemas.openxmlformats.org/presentationml/2006/main">
  <p:tag name="KSO_WM_BEAUTIFY_FLAG" val=""/>
</p:tagLst>
</file>

<file path=ppt/tags/tag61.xml><?xml version="1.0" encoding="utf-8"?>
<p:tagLst xmlns:p="http://schemas.openxmlformats.org/presentationml/2006/main">
  <p:tag name="KSO_WM_BEAUTIFY_FLAG" val=""/>
</p:tagLst>
</file>

<file path=ppt/tags/tag62.xml><?xml version="1.0" encoding="utf-8"?>
<p:tagLst xmlns:p="http://schemas.openxmlformats.org/presentationml/2006/main">
  <p:tag name="KSO_WM_BEAUTIFY_FLAG" val=""/>
</p:tagLst>
</file>

<file path=ppt/tags/tag63.xml><?xml version="1.0" encoding="utf-8"?>
<p:tagLst xmlns:p="http://schemas.openxmlformats.org/presentationml/2006/main">
  <p:tag name="KSO_WM_BEAUTIFY_FLAG" val=""/>
</p:tagLst>
</file>

<file path=ppt/tags/tag64.xml><?xml version="1.0" encoding="utf-8"?>
<p:tagLst xmlns:p="http://schemas.openxmlformats.org/presentationml/2006/main">
  <p:tag name="KSO_WM_BEAUTIFY_FLAG" val=""/>
</p:tagLst>
</file>

<file path=ppt/tags/tag65.xml><?xml version="1.0" encoding="utf-8"?>
<p:tagLst xmlns:p="http://schemas.openxmlformats.org/presentationml/2006/main">
  <p:tag name="KSO_WM_BEAUTIFY_FLAG" val=""/>
</p:tagLst>
</file>

<file path=ppt/tags/tag66.xml><?xml version="1.0" encoding="utf-8"?>
<p:tagLst xmlns:p="http://schemas.openxmlformats.org/presentationml/2006/main">
  <p:tag name="KSO_WM_BEAUTIFY_FLAG" val=""/>
</p:tagLst>
</file>

<file path=ppt/tags/tag67.xml><?xml version="1.0" encoding="utf-8"?>
<p:tagLst xmlns:p="http://schemas.openxmlformats.org/presentationml/2006/main">
  <p:tag name="KSO_WM_BEAUTIFY_FLAG" val=""/>
</p:tagLst>
</file>

<file path=ppt/tags/tag68.xml><?xml version="1.0" encoding="utf-8"?>
<p:tagLst xmlns:p="http://schemas.openxmlformats.org/presentationml/2006/main">
  <p:tag name="KSO_WM_BEAUTIFY_FLAG" val=""/>
</p:tagLst>
</file>

<file path=ppt/tags/tag69.xml><?xml version="1.0" encoding="utf-8"?>
<p:tagLst xmlns:p="http://schemas.openxmlformats.org/presentationml/2006/main">
  <p:tag name="KSO_WM_BEAUTIFY_FLAG" val=""/>
</p:tagLst>
</file>

<file path=ppt/tags/tag7.xml><?xml version="1.0" encoding="utf-8"?>
<p:tagLst xmlns:p="http://schemas.openxmlformats.org/presentationml/2006/main">
  <p:tag name="THINKCELLSHAPEDONOTDELETE" val="tSV8Mqp7OO_qYHjwD3oMyJw"/>
</p:tagLst>
</file>

<file path=ppt/tags/tag70.xml><?xml version="1.0" encoding="utf-8"?>
<p:tagLst xmlns:p="http://schemas.openxmlformats.org/presentationml/2006/main">
  <p:tag name="THINKCELLSHAPEDONOTDELETE" val="thinkcellActiveDocDoNotDelete"/>
</p:tagLst>
</file>

<file path=ppt/tags/tag71.xml><?xml version="1.0" encoding="utf-8"?>
<p:tagLst xmlns:p="http://schemas.openxmlformats.org/presentationml/2006/main">
  <p:tag name="KSO_WM_BEAUTIFY_FLAG" val=""/>
</p:tagLst>
</file>

<file path=ppt/tags/tag72.xml><?xml version="1.0" encoding="utf-8"?>
<p:tagLst xmlns:p="http://schemas.openxmlformats.org/presentationml/2006/main">
  <p:tag name="KSO_WM_BEAUTIFY_FLAG" val=""/>
</p:tagLst>
</file>

<file path=ppt/tags/tag73.xml><?xml version="1.0" encoding="utf-8"?>
<p:tagLst xmlns:p="http://schemas.openxmlformats.org/presentationml/2006/main">
  <p:tag name="KSO_WM_BEAUTIFY_FLAG" val=""/>
</p:tagLst>
</file>

<file path=ppt/tags/tag74.xml><?xml version="1.0" encoding="utf-8"?>
<p:tagLst xmlns:p="http://schemas.openxmlformats.org/presentationml/2006/main">
  <p:tag name="KSO_WM_BEAUTIFY_FLAG" val=""/>
</p:tagLst>
</file>

<file path=ppt/tags/tag75.xml><?xml version="1.0" encoding="utf-8"?>
<p:tagLst xmlns:p="http://schemas.openxmlformats.org/presentationml/2006/main">
  <p:tag name="KSO_WM_BEAUTIFY_FLAG" val=""/>
</p:tagLst>
</file>

<file path=ppt/tags/tag76.xml><?xml version="1.0" encoding="utf-8"?>
<p:tagLst xmlns:p="http://schemas.openxmlformats.org/presentationml/2006/main">
  <p:tag name="KSO_WM_BEAUTIFY_FLAG" val=""/>
</p:tagLst>
</file>

<file path=ppt/tags/tag77.xml><?xml version="1.0" encoding="utf-8"?>
<p:tagLst xmlns:p="http://schemas.openxmlformats.org/presentationml/2006/main">
  <p:tag name="KSO_WM_BEAUTIFY_FLAG" val=""/>
</p:tagLst>
</file>

<file path=ppt/tags/tag78.xml><?xml version="1.0" encoding="utf-8"?>
<p:tagLst xmlns:p="http://schemas.openxmlformats.org/presentationml/2006/main">
  <p:tag name="KSO_WM_BEAUTIFY_FLAG" val=""/>
</p:tagLst>
</file>

<file path=ppt/tags/tag79.xml><?xml version="1.0" encoding="utf-8"?>
<p:tagLst xmlns:p="http://schemas.openxmlformats.org/presentationml/2006/main">
  <p:tag name="KSO_WM_BEAUTIFY_FLAG" val=""/>
</p:tagLst>
</file>

<file path=ppt/tags/tag8.xml><?xml version="1.0" encoding="utf-8"?>
<p:tagLst xmlns:p="http://schemas.openxmlformats.org/presentationml/2006/main">
  <p:tag name="THINKCELLSHAPEDONOTDELETE" val="t7tRY2gVOOKDR7a0E7ej0kQ"/>
</p:tagLst>
</file>

<file path=ppt/tags/tag80.xml><?xml version="1.0" encoding="utf-8"?>
<p:tagLst xmlns:p="http://schemas.openxmlformats.org/presentationml/2006/main">
  <p:tag name="KSO_WM_BEAUTIFY_FLAG" val=""/>
</p:tagLst>
</file>

<file path=ppt/tags/tag81.xml><?xml version="1.0" encoding="utf-8"?>
<p:tagLst xmlns:p="http://schemas.openxmlformats.org/presentationml/2006/main">
  <p:tag name="KSO_WM_BEAUTIFY_FLAG" val=""/>
</p:tagLst>
</file>

<file path=ppt/tags/tag82.xml><?xml version="1.0" encoding="utf-8"?>
<p:tagLst xmlns:p="http://schemas.openxmlformats.org/presentationml/2006/main">
  <p:tag name="KSO_WM_BEAUTIFY_FLAG" val=""/>
</p:tagLst>
</file>

<file path=ppt/tags/tag83.xml><?xml version="1.0" encoding="utf-8"?>
<p:tagLst xmlns:p="http://schemas.openxmlformats.org/presentationml/2006/main">
  <p:tag name="KSO_WM_BEAUTIFY_FLAG" val=""/>
</p:tagLst>
</file>

<file path=ppt/tags/tag84.xml><?xml version="1.0" encoding="utf-8"?>
<p:tagLst xmlns:p="http://schemas.openxmlformats.org/presentationml/2006/main">
  <p:tag name="KSO_WM_BEAUTIFY_FLAG" val=""/>
</p:tagLst>
</file>

<file path=ppt/tags/tag85.xml><?xml version="1.0" encoding="utf-8"?>
<p:tagLst xmlns:p="http://schemas.openxmlformats.org/presentationml/2006/main">
  <p:tag name="KSO_WM_BEAUTIFY_FLAG" val=""/>
</p:tagLst>
</file>

<file path=ppt/tags/tag86.xml><?xml version="1.0" encoding="utf-8"?>
<p:tagLst xmlns:p="http://schemas.openxmlformats.org/presentationml/2006/main">
  <p:tag name="KSO_WM_BEAUTIFY_FLAG" val=""/>
</p:tagLst>
</file>

<file path=ppt/tags/tag87.xml><?xml version="1.0" encoding="utf-8"?>
<p:tagLst xmlns:p="http://schemas.openxmlformats.org/presentationml/2006/main">
  <p:tag name="KSO_WM_BEAUTIFY_FLAG" val=""/>
</p:tagLst>
</file>

<file path=ppt/tags/tag88.xml><?xml version="1.0" encoding="utf-8"?>
<p:tagLst xmlns:p="http://schemas.openxmlformats.org/presentationml/2006/main">
  <p:tag name="KSO_WM_BEAUTIFY_FLAG" val=""/>
</p:tagLst>
</file>

<file path=ppt/tags/tag89.xml><?xml version="1.0" encoding="utf-8"?>
<p:tagLst xmlns:p="http://schemas.openxmlformats.org/presentationml/2006/main">
  <p:tag name="KSO_WM_BEAUTIFY_FLAG" val=""/>
</p:tagLst>
</file>

<file path=ppt/tags/tag9.xml><?xml version="1.0" encoding="utf-8"?>
<p:tagLst xmlns:p="http://schemas.openxmlformats.org/presentationml/2006/main">
  <p:tag name="THINKCELLSHAPEDONOTDELETE" val="tc_vNbVZxjIKdeecniuChIg"/>
</p:tagLst>
</file>

<file path=ppt/tags/tag90.xml><?xml version="1.0" encoding="utf-8"?>
<p:tagLst xmlns:p="http://schemas.openxmlformats.org/presentationml/2006/main">
  <p:tag name="KSO_WM_BEAUTIFY_FLAG" val=""/>
</p:tagLst>
</file>

<file path=ppt/tags/tag91.xml><?xml version="1.0" encoding="utf-8"?>
<p:tagLst xmlns:p="http://schemas.openxmlformats.org/presentationml/2006/main">
  <p:tag name="KSO_WM_BEAUTIFY_FLAG" val=""/>
</p:tagLst>
</file>

<file path=ppt/tags/tag92.xml><?xml version="1.0" encoding="utf-8"?>
<p:tagLst xmlns:p="http://schemas.openxmlformats.org/presentationml/2006/main">
  <p:tag name="KSO_WM_BEAUTIFY_FLAG" val=""/>
</p:tagLst>
</file>

<file path=ppt/tags/tag93.xml><?xml version="1.0" encoding="utf-8"?>
<p:tagLst xmlns:p="http://schemas.openxmlformats.org/presentationml/2006/main">
  <p:tag name="THINKCELLSHAPEDONOTDELETE" val="thinkcellActiveDocDoNotDelete"/>
</p:tagLst>
</file>

<file path=ppt/tags/tag94.xml><?xml version="1.0" encoding="utf-8"?>
<p:tagLst xmlns:p="http://schemas.openxmlformats.org/presentationml/2006/main">
  <p:tag name="KSO_WM_BEAUTIFY_FLAG" val=""/>
</p:tagLst>
</file>

<file path=ppt/tags/tag95.xml><?xml version="1.0" encoding="utf-8"?>
<p:tagLst xmlns:p="http://schemas.openxmlformats.org/presentationml/2006/main">
  <p:tag name="KSO_WM_BEAUTIFY_FLAG" val=""/>
</p:tagLst>
</file>

<file path=ppt/tags/tag96.xml><?xml version="1.0" encoding="utf-8"?>
<p:tagLst xmlns:p="http://schemas.openxmlformats.org/presentationml/2006/main">
  <p:tag name="KSO_WM_BEAUTIFY_FLAG" val=""/>
</p:tagLst>
</file>

<file path=ppt/tags/tag97.xml><?xml version="1.0" encoding="utf-8"?>
<p:tagLst xmlns:p="http://schemas.openxmlformats.org/presentationml/2006/main">
  <p:tag name="KSO_WM_BEAUTIFY_FLAG" val=""/>
</p:tagLst>
</file>

<file path=ppt/tags/tag98.xml><?xml version="1.0" encoding="utf-8"?>
<p:tagLst xmlns:p="http://schemas.openxmlformats.org/presentationml/2006/main">
  <p:tag name="KSO_WM_BEAUTIFY_FLAG" val=""/>
</p:tagLst>
</file>

<file path=ppt/tags/tag99.xml><?xml version="1.0" encoding="utf-8"?>
<p:tagLst xmlns:p="http://schemas.openxmlformats.org/presentationml/2006/main">
  <p:tag name="KSO_WM_BEAUTIFY_FLAG" val=""/>
</p:tagLst>
</file>

<file path=ppt/theme/theme1.xml><?xml version="1.0" encoding="utf-8"?>
<a:theme xmlns:a="http://schemas.openxmlformats.org/drawingml/2006/main" name="Volkswagen Group Template">
  <a:themeElements>
    <a:clrScheme name="Volkswagen Group 2023">
      <a:dk1>
        <a:srgbClr val="000000"/>
      </a:dk1>
      <a:lt1>
        <a:srgbClr val="FFFFFF"/>
      </a:lt1>
      <a:dk2>
        <a:srgbClr val="002733"/>
      </a:dk2>
      <a:lt2>
        <a:srgbClr val="FFFFFF"/>
      </a:lt2>
      <a:accent1>
        <a:srgbClr val="002733"/>
      </a:accent1>
      <a:accent2>
        <a:srgbClr val="008C82"/>
      </a:accent2>
      <a:accent3>
        <a:srgbClr val="99D1CD"/>
      </a:accent3>
      <a:accent4>
        <a:srgbClr val="99A9AD"/>
      </a:accent4>
      <a:accent5>
        <a:srgbClr val="CCD3D6"/>
      </a:accent5>
      <a:accent6>
        <a:srgbClr val="667D85"/>
      </a:accent6>
      <a:hlink>
        <a:srgbClr val="008C82"/>
      </a:hlink>
      <a:folHlink>
        <a:srgbClr val="008C82"/>
      </a:folHlink>
    </a:clrScheme>
    <a:fontScheme name="Volkswagen Group Fonts">
      <a:majorFont>
        <a:latin typeface="The Group HEAD Light"/>
        <a:ea typeface=""/>
        <a:cs typeface=""/>
      </a:majorFont>
      <a:minorFont>
        <a:latin typeface="The Group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80000" tIns="180000" rIns="180000" bIns="180000" rtlCol="0" anchor="ctr"/>
      <a:lstStyle>
        <a:defPPr algn="ctr">
          <a:defRPr sz="1400"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noFill/>
        <a:ln w="9525">
          <a:solidFill>
            <a:schemeClr val="accent2"/>
          </a:solidFill>
          <a:headEnd type="none" w="med" len="sm"/>
          <a:tailEnd type="none" w="med" len="sm"/>
        </a:ln>
      </a:spPr>
      <a:bodyPr/>
      <a:lstStyle/>
      <a:style>
        <a:lnRef idx="2">
          <a:schemeClr val="accent1">
            <a:shade val="15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algn="l">
          <a:defRPr sz="1400" dirty="0" err="1" smtClean="0">
            <a:solidFill>
              <a:schemeClr val="tx2"/>
            </a:solidFill>
          </a:defRPr>
        </a:defPPr>
      </a:lstStyle>
    </a:txDef>
  </a:objectDefaults>
  <a:custClrLst>
    <a:custClr name="Deep Space Blue">
      <a:srgbClr val="002733"/>
    </a:custClr>
    <a:custClr name="Deep Space Blue 90%">
      <a:srgbClr val="193D47"/>
    </a:custClr>
    <a:custClr name="Deep Space Blue 60%">
      <a:srgbClr val="667D85"/>
    </a:custClr>
    <a:custClr name="Deep Space Blue 40%">
      <a:srgbClr val="99A9AD"/>
    </a:custClr>
    <a:custClr name="Deep Space Blue 20%">
      <a:srgbClr val="CCD4D6"/>
    </a:custClr>
    <a:custClr name="Deep Space Blue 10%">
      <a:srgbClr val="E5E9EB"/>
    </a:custClr>
    <a:custClr name="Blank">
      <a:srgbClr val="FFFFFF"/>
    </a:custClr>
    <a:custClr name="Blank">
      <a:srgbClr val="FFFFFF"/>
    </a:custClr>
    <a:custClr name="Blank">
      <a:srgbClr val="FFFFFF"/>
    </a:custClr>
    <a:custClr name="Blank">
      <a:srgbClr val="FFFFFF"/>
    </a:custClr>
    <a:custClr name="Vivid Green">
      <a:srgbClr val="008C82"/>
    </a:custClr>
    <a:custClr name="Vivid Green 80%">
      <a:srgbClr val="33A39B"/>
    </a:custClr>
    <a:custClr name="Vivid Green 60%">
      <a:srgbClr val="66BAB4"/>
    </a:custClr>
    <a:custClr name="Vivid Green 40%">
      <a:srgbClr val="99D1CD"/>
    </a:custClr>
    <a:custClr name="Vivid Green 20%">
      <a:srgbClr val="CCE8E6"/>
    </a:custClr>
    <a:custClr name="Vivid Green 10%">
      <a:srgbClr val="E5F3F2"/>
    </a:custClr>
    <a:custClr name="Blank">
      <a:srgbClr val="FFFFFF"/>
    </a:custClr>
    <a:custClr name="Blank">
      <a:srgbClr val="FFFFFF"/>
    </a:custClr>
    <a:custClr name="Blank">
      <a:srgbClr val="FFFFFF"/>
    </a:custClr>
    <a:custClr name="Blank">
      <a:srgbClr val="FFFFFF"/>
    </a:custClr>
    <a:custClr name="Electric Neon">
      <a:srgbClr val="C2FE06"/>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oral">
      <a:srgbClr val="E67364"/>
    </a:custClr>
    <a:custClr name="Orange">
      <a:srgbClr val="FAAA3C"/>
    </a:custClr>
    <a:custClr name="Beige">
      <a:srgbClr val="FAD2AA"/>
    </a:custClr>
    <a:custClr name="Blue">
      <a:srgbClr val="8CBEE6"/>
    </a:custClr>
    <a:custClr name="Violet">
      <a:srgbClr val="C882BE"/>
    </a:custClr>
    <a:custClr name="Lavender">
      <a:srgbClr val="DCCDF0"/>
    </a:custClr>
    <a:custClr name="Blank">
      <a:srgbClr val="FFFFFF"/>
    </a:custClr>
    <a:custClr name="Traffic Light Red">
      <a:srgbClr val="DA0C1F"/>
    </a:custClr>
    <a:custClr name="Traffic Light Yellow">
      <a:srgbClr val="FCCD22"/>
    </a:custClr>
    <a:custClr name="Traffic Light Green">
      <a:srgbClr val="64A844"/>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96.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197.xml"/></Relationships>
</file>

<file path=customXml/item1.xml>��< ? m s o - c o n t e n t T y p e ? > < F o r m T e m p l a t e s   x m l n s = " h t t p : / / s c h e m a s . m i c r o s o f t . c o m / s h a r e p o i n t / v 3 / c o n t e n t t y p e / f o r m s " > < D i s p l a y > D o c u m e n t L i b r a r y F o r m < / D i s p l a y > < E d i t > D o c u m e n t L i b r a r y F o r m < / E d i t > < N e w > D o c u m e n t L i b r a r y F o r m < / N e w > < / F o r m T e m p l a t e s > 
</file>

<file path=customXml/item2.xml>��< ? x m l   v e r s i o n = " 1 . 0 " ? > < c t : c o n t e n t T y p e S c h e m a   c t : _ = " "   m a : _ = " "   m a : c o n t e n t T y p e N a m e = " D o c u m e n t "   m a : c o n t e n t T y p e I D = " 0 x 0 1 0 1 0 0 E 9 5 0 B 3 9 1 E 1 E C 0 D 4 C 9 9 E F 5 B 2 A 1 0 4 D E 3 8 3 "   m a : c o n t e n t T y p e V e r s i o n = " 1 7 "   m a : c o n t e n t T y p e D e s c r i p t i o n = " C r e a t e   a   n e w   d o c u m e n t . "   m a : c o n t e n t T y p e S c o p e = " "   m a : v e r s i o n I D = " 8 3 9 3 e 4 d d 6 5 d 3 7 4 c f e 6 1 8 9 0 b 9 e 6 7 7 b d a 1 "   x m l n s : c t = " h t t p : / / s c h e m a s . m i c r o s o f t . c o m / o f f i c e / 2 0 0 6 / m e t a d a t a / c o n t e n t T y p e "   x m l n s : m a = " h t t p : / / s c h e m a s . m i c r o s o f t . c o m / o f f i c e / 2 0 0 6 / m e t a d a t a / p r o p e r t i e s / m e t a A t t r i b u t e s " >  
 < x s d : s c h e m a   t a r g e t N a m e s p a c e = " h t t p : / / s c h e m a s . m i c r o s o f t . c o m / o f f i c e / 2 0 0 6 / m e t a d a t a / p r o p e r t i e s "   m a : r o o t = " t r u e "   m a : f i e l d s I D = " 0 4 4 1 8 f 4 2 b 6 f 4 3 0 f 2 6 5 d d d 3 b a 7 3 b a 1 7 f 5 "   n s 2 : _ = " "   n s 3 : _ = " "   x m l n s : x s d = " h t t p : / / w w w . w 3 . o r g / 2 0 0 1 / X M L S c h e m a "   x m l n s : x s = " h t t p : / / w w w . w 3 . o r g / 2 0 0 1 / X M L S c h e m a "   x m l n s : p = " h t t p : / / s c h e m a s . m i c r o s o f t . c o m / o f f i c e / 2 0 0 6 / m e t a d a t a / p r o p e r t i e s "   x m l n s : n s 2 = " b 9 3 0 c 0 d 3 - a d 7 c - 4 1 1 8 - 8 0 f a - f 2 6 9 7 5 b c 6 a 9 0 "   x m l n s : n s 3 = " e e e 8 1 c 8 7 - d b a 0 - 4 4 5 d - 8 d 2 7 - e 7 c 1 c 1 f f 0 0 1 5 " >  
 < x s d : i m p o r t   n a m e s p a c e = " b 9 3 0 c 0 d 3 - a d 7 c - 4 1 1 8 - 8 0 f a - f 2 6 9 7 5 b c 6 a 9 0 " / >  
 < x s d : i m p o r t   n a m e s p a c e = " e e e 8 1 c 8 7 - d b a 0 - 4 4 5 d - 8 d 2 7 - e 7 c 1 c 1 f f 0 0 1 5 " / >  
 < x s d : e l e m e n t   n a m e = " p r o p e r t i e s " >  
 < x s d : c o m p l e x T y p e >  
 < x s d : s e q u e n c e >  
 < x s d : e l e m e n t   n a m e = " d o c u m e n t M a n a g e m e n t " >  
 < x s d : c o m p l e x T y p e >  
 < x s d : a l l >  
 < x s d : e l e m e n t   r e f = " n s 2 : M e d i a S e r v i c e M e t a d a t a "   m i n O c c u r s = " 0 " / >  
 < x s d : e l e m e n t   r e f = " n s 2 : M e d i a S e r v i c e F a s t M e t a d a t a "   m i n O c c u r s = " 0 " / >  
 < x s d : e l e m e n t   r e f = " n s 2 : M e d i a S e r v i c e A u t o T a g s "   m i n O c c u r s = " 0 " / >  
 < x s d : e l e m e n t   r e f = " n s 2 : M e d i a S e r v i c e G e n e r a t i o n T i m e "   m i n O c c u r s = " 0 " / >  
 < x s d : e l e m e n t   r e f = " n s 2 : M e d i a S e r v i c e E v e n t H a s h C o d e "   m i n O c c u r s = " 0 " / >  
 < x s d : e l e m e n t   r e f = " n s 3 : S h a r e d W i t h U s e r s "   m i n O c c u r s = " 0 " / >  
 < x s d : e l e m e n t   r e f = " n s 3 : S h a r e d W i t h D e t a i l s "   m i n O c c u r s = " 0 " / >  
 < x s d : e l e m e n t   r e f = " n s 2 : M e d i a S e r v i c e D a t e T a k e n "   m i n O c c u r s = " 0 " / >  
 < x s d : e l e m e n t   r e f = " n s 2 : M e d i a L e n g t h I n S e c o n d s "   m i n O c c u r s = " 0 " / >  
 < x s d : e l e m e n t   r e f = " n s 2 : M e d i a S e r v i c e O C R "   m i n O c c u r s = " 0 " / >  
 < x s d : e l e m e n t   r e f = " n s 2 : l c f 7 6 f 1 5 5 c e d 4 d d c b 4 0 9 7 1 3 4 f f 3 c 3 3 2 f "   m i n O c c u r s = " 0 " / >  
 < x s d : e l e m e n t   r e f = " n s 3 : T a x C a t c h A l l "   m i n O c c u r s = " 0 " / >  
 < x s d : e l e m e n t   r e f = " n s 2 : M e d i a S e r v i c e A u t o K e y P o i n t s "   m i n O c c u r s = " 0 " / >  
 < x s d : e l e m e n t   r e f = " n s 2 : M e d i a S e r v i c e K e y P o i n t s "   m i n O c c u r s = " 0 " / >  
 < x s d : e l e m e n t   r e f = " n s 2 : M e d i a S e r v i c e L o c a t i o n "   m i n O c c u r s = " 0 " / >  
 < x s d : e l e m e n t   r e f = " n s 2 : M e d i a S e r v i c e O b j e c t D e t e c t o r V e r s i o n s "   m i n O c c u r s = " 0 " / >  
 < / x s d : a l l >  
 < / x s d : c o m p l e x T y p e >  
 < / x s d : e l e m e n t >  
 < / x s d : s e q u e n c e >  
 < / x s d : c o m p l e x T y p e >  
 < / x s d : e l e m e n t >  
 < / x s d : s c h e m a >  
 < x s d : s c h e m a   t a r g e t N a m e s p a c e = " b 9 3 0 c 0 d 3 - a d 7 c - 4 1 1 8 - 8 0 f a - f 2 6 9 7 5 b c 6 a 9 0 "   e l e m e n t F o r m D e f a u l t = " q u a l i f i e d "   x m l n s : x s d = " h t t p : / / w w w . w 3 . o r g / 2 0 0 1 / X M L S c h e m a "   x m l n s : x s = " h t t p : / / w w w . w 3 . o r g / 2 0 0 1 / X M L S c h e m a "   x m l n s : d m s = " h t t p : / / s c h e m a s . m i c r o s o f t . c o m / o f f i c e / 2 0 0 6 / d o c u m e n t M a n a g e m e n t / t y p e s "   x m l n s : p c = " h t t p : / / s c h e m a s . m i c r o s o f t . c o m / o f f i c e / i n f o p a t h / 2 0 0 7 / P a r t n e r C o n t r o l s " >  
 < x s d : i m p o r t   n a m e s p a c e = " h t t p : / / s c h e m a s . m i c r o s o f t . c o m / o f f i c e / 2 0 0 6 / d o c u m e n t M a n a g e m e n t / t y p e s " / >  
 < x s d : i m p o r t   n a m e s p a c e = " h t t p : / / s c h e m a s . m i c r o s o f t . c o m / o f f i c e / i n f o p a t h / 2 0 0 7 / P a r t n e r C o n t r o l s " / >  
 < x s d : e l e m e n t   n a m e = " M e d i a S e r v i c e M e t a d a t a "   m a : i n d e x = " 8 "   n i l l a b l e = " t r u e "   m a : d i s p l a y N a m e = " M e d i a S e r v i c e M e t a d a t a "   m a : h i d d e n = " t r u e "   m a : i n t e r n a l N a m e = " M e d i a S e r v i c e M e t a d a t a "   m a : r e a d O n l y = " t r u e " >  
 < x s d : s i m p l e T y p e >  
 < x s d : r e s t r i c t i o n   b a s e = " d m s : N o t e " / >  
 < / x s d : s i m p l e T y p e >  
 < / x s d : e l e m e n t >  
 < x s d : e l e m e n t   n a m e = " M e d i a S e r v i c e F a s t M e t a d a t a "   m a : i n d e x = " 9 "   n i l l a b l e = " t r u e "   m a : d i s p l a y N a m e = " M e d i a S e r v i c e F a s t M e t a d a t a "   m a : h i d d e n = " t r u e "   m a : i n t e r n a l N a m e = " M e d i a S e r v i c e F a s t M e t a d a t a "   m a : r e a d O n l y = " t r u e " >  
 < x s d : s i m p l e T y p e >  
 < x s d : r e s t r i c t i o n   b a s e = " d m s : N o t e " / >  
 < / x s d : s i m p l e T y p e >  
 < / x s d : e l e m e n t >  
 < x s d : e l e m e n t   n a m e = " M e d i a S e r v i c e A u t o T a g s "   m a : i n d e x = " 1 0 "   n i l l a b l e = " t r u e "   m a : d i s p l a y N a m e = " T a g s "   m a : i n t e r n a l N a m e = " M e d i a S e r v i c e A u t o T a g s "   m a : r e a d O n l y = " t r u e " >  
 < x s d : s i m p l e T y p e >  
 < x s d : r e s t r i c t i o n   b a s e = " d m s : T e x t " / >  
 < / x s d : s i m p l e T y p e >  
 < / x s d : e l e m e n t >  
 < x s d : e l e m e n t   n a m e = " M e d i a S e r v i c e G e n e r a t i o n T i m e "   m a : i n d e x = " 1 1 "   n i l l a b l e = " t r u e "   m a : d i s p l a y N a m e = " M e d i a S e r v i c e G e n e r a t i o n T i m e "   m a : h i d d e n = " t r u e "   m a : i n t e r n a l N a m e = " M e d i a S e r v i c e G e n e r a t i o n T i m e "   m a : r e a d O n l y = " t r u e " >  
 < x s d : s i m p l e T y p e >  
 < x s d : r e s t r i c t i o n   b a s e = " d m s : T e x t " / >  
 < / x s d : s i m p l e T y p e >  
 < / x s d : e l e m e n t >  
 < x s d : e l e m e n t   n a m e = " M e d i a S e r v i c e E v e n t H a s h C o d e "   m a : i n d e x = " 1 2 "   n i l l a b l e = " t r u e "   m a : d i s p l a y N a m e = " M e d i a S e r v i c e E v e n t H a s h C o d e "   m a : h i d d e n = " t r u e "   m a : i n t e r n a l N a m e = " M e d i a S e r v i c e E v e n t H a s h C o d e "   m a : r e a d O n l y = " t r u e " >  
 < x s d : s i m p l e T y p e >  
 < x s d : r e s t r i c t i o n   b a s e = " d m s : T e x t " / >  
 < / x s d : s i m p l e T y p e >  
 < / x s d : e l e m e n t >  
 < x s d : e l e m e n t   n a m e = " M e d i a S e r v i c e D a t e T a k e n "   m a : i n d e x = " 1 5 "   n i l l a b l e = " t r u e "   m a : d i s p l a y N a m e = " M e d i a S e r v i c e D a t e T a k e n "   m a : h i d d e n = " t r u e "   m a : i n t e r n a l N a m e = " M e d i a S e r v i c e D a t e T a k e n "   m a : r e a d O n l y = " t r u e " >  
 < x s d : s i m p l e T y p e >  
 < x s d : r e s t r i c t i o n   b a s e = " d m s : T e x t " / >  
 < / x s d : s i m p l e T y p e >  
 < / x s d : e l e m e n t >  
 < x s d : e l e m e n t   n a m e = " M e d i a L e n g t h I n S e c o n d s "   m a : i n d e x = " 1 6 "   n i l l a b l e = " t r u e "   m a : d i s p l a y N a m e = " M e d i a L e n g t h I n S e c o n d s "   m a : h i d d e n = " t r u e "   m a : i n t e r n a l N a m e = " M e d i a L e n g t h I n S e c o n d s "   m a : r e a d O n l y = " t r u e " >  
 < x s d : s i m p l e T y p e >  
 < x s d : r e s t r i c t i o n   b a s e = " d m s : U n k n o w n " / >  
 < / x s d : s i m p l e T y p e >  
 < / x s d : e l e m e n t >  
 < x s d : e l e m e n t   n a m e = " M e d i a S e r v i c e O C R "   m a : i n d e x = " 1 7 "   n i l l a b l e = " t r u e "   m a : d i s p l a y N a m e = " E x t r a c t e d   T e x t "   m a : i n t e r n a l N a m e = " M e d i a S e r v i c e O C R "   m a : r e a d O n l y = " t r u e " >  
 < x s d : s i m p l e T y p e >  
 < x s d : r e s t r i c t i o n   b a s e = " d m s : N o t e " >  
 < x s d : m a x L e n g t h   v a l u e = " 2 5 5 " / >  
 < / x s d : r e s t r i c t i o n >  
 < / x s d : s i m p l e T y p e >  
 < / x s d : e l e m e n t >  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6 0 2 9 9 b 0 d - 7 c 8 d - 4 8 3 c - 8 8 1 b - d 8 4 e 0 2 5 0 e 4 e c "   m a : t e r m S e t I d = " 0 9 8 1 4 c d 3 - 5 6 8 e - f e 9 0 - 9 8 1 4 - 8 d 6 2 1 f f 8 f b 8 4 "   m a : a n c h o r I d = " f b a 5 4 f b 3 - c 3 e 1 - f e 8 1 - a 7 7 6 - c a 4 b 6 9 1 4 8 c 4 d "   m a : o p e n = " t r u e "   m a : i s K e y w o r d = " f a l s e " >  
 < x s d : c o m p l e x T y p e >  
 < x s d : s e q u e n c e >  
 < x s d : e l e m e n t   r e f = " p c : T e r m s "   m i n O c c u r s = " 0 "   m a x O c c u r s = " 1 " > < / x s d : e l e m e n t >  
 < / x s d : s e q u e n c e >  
 < / x s d : c o m p l e x T y p e >  
 < / x s d : e l e m e n t >  
 < x s d : e l e m e n t   n a m e = " M e d i a S e r v i c e A u t o K e y P o i n t s "   m a : i n d e x = " 2 1 "   n i l l a b l e = " t r u e "   m a : d i s p l a y N a m e = " M e d i a S e r v i c e A u t o K e y P o i n t s "   m a : h i d d e n = " t r u e "   m a : i n t e r n a l N a m e = " M e d i a S e r v i c e A u t o K e y P o i n t s "   m a : r e a d O n l y = " t r u e " >  
 < x s d : s i m p l e T y p e >  
 < x s d : r e s t r i c t i o n   b a s e = " d m s : N o t e " / >  
 < / x s d : s i m p l e T y p e >  
 < / x s d : e l e m e n t >  
 < x s d : e l e m e n t   n a m e = " M e d i a S e r v i c e K e y P o i n t s "   m a : i n d e x = " 2 2 "   n i l l a b l e = " t r u e "   m a : d i s p l a y N a m e = " K e y P o i n t s "   m a : i n t e r n a l N a m e = " M e d i a S e r v i c e K e y P o i n t s "   m a : r e a d O n l y = " t r u e " >  
 < x s d : s i m p l e T y p e >  
 < x s d : r e s t r i c t i o n   b a s e = " d m s : N o t e " >  
 < x s d : m a x L e n g t h   v a l u e = " 2 5 5 " / >  
 < / x s d : r e s t r i c t i o n >  
 < / x s d : s i m p l e T y p e >  
 < / x s d : e l e m e n t >  
 < x s d : e l e m e n t   n a m e = " M e d i a S e r v i c e L o c a t i o n "   m a : i n d e x = " 2 3 "   n i l l a b l e = " t r u e "   m a : d i s p l a y N a m e = " L o c a t i o n "   m a : i n t e r n a l N a m e = " M e d i a S e r v i c e L o c a t i o n "   m a : r e a d O n l y = " t r u e " >  
 < x s d : s i m p l e T y p e >  
 < x s d : r e s t r i c t i o n   b a s e = " d m s : T e x t " / >  
 < / x s d : s i m p l e T y p e >  
 < / x s d : e l e m e n t >  
 < x s d : e l e m e n t   n a m e = " M e d i a S e r v i c e O b j e c t D e t e c t o r V e r s i o n s "   m a : i n d e x = " 2 4 "   n i l l a b l e = " t r u e "   m a : d i s p l a y N a m e = " M e d i a S e r v i c e O b j e c t D e t e c t o r V e r s i o n s "   m a : d e s c r i p t i o n = " "   m a : h i d d e n = " t r u e "   m a : i n d e x e d = " t r u e "   m a : i n t e r n a l N a m e = " M e d i a S e r v i c e O b j e c t D e t e c t o r V e r s i o n s "   m a : r e a d O n l y = " t r u e " >  
 < x s d : s i m p l e T y p e >  
 < x s d : r e s t r i c t i o n   b a s e = " d m s : T e x t " / >  
 < / x s d : s i m p l e T y p e >  
 < / x s d : e l e m e n t >  
 < / x s d : s c h e m a >  
 < x s d : s c h e m a   t a r g e t N a m e s p a c e = " e e e 8 1 c 8 7 - d b a 0 - 4 4 5 d - 8 d 2 7 - e 7 c 1 c 1 f f 0 0 1 5 "   e l e m e n t F o r m D e f a u l t = " q u a l i f i e d "   x m l n s : x s d = " h t t p : / / w w w . w 3 . o r g / 2 0 0 1 / X M L S c h e m a "   x m l n s : x s = " h t t p : / / w w w . w 3 . o r g / 2 0 0 1 / X M L S c h e m a "   x m l n s : d m s = " h t t p : / / s c h e m a s . m i c r o s o f t . c o m / o f f i c e / 2 0 0 6 / d o c u m e n t M a n a g e m e n t / t y p e s "   x m l n s : p c = " h t t p : / / s c h e m a s . m i c r o s o f t . c o m / o f f i c e / i n f o p a t h / 2 0 0 7 / P a r t n e r C o n t r o l s " >  
 < x s d : i m p o r t   n a m e s p a c e = " h t t p : / / s c h e m a s . m i c r o s o f t . c o m / o f f i c e / 2 0 0 6 / d o c u m e n t M a n a g e m e n t / t y p e s " / >  
 < x s d : i m p o r t   n a m e s p a c e = " h t t p : / / s c h e m a s . m i c r o s o f t . c o m / o f f i c e / i n f o p a t h / 2 0 0 7 / P a r t n e r C o n t r o l s " / >  
 < x s d : e l e m e n t   n a m e = " S h a r e d W i t h U s e r s "   m a : i n d e x = " 1 3 "   n i l l a b l e = " t r u e "   m a : d i s p l a y N a m e = " S h a r e d   W i t h "   m a : i n t e r n a l N a m e = " S h a r e d W i t h U s e r s "   m a : r e a d O n l y = " t r u e " >  
 < x s d : c o m p l e x T y p e >  
 < x s d : c o m p l e x C o n t e n t >  
 < x s d : e x t e n s i o n   b a s e = " d m s : U s e r M u l t i " >  
 < x s d : s e q u e n c e >  
 < x s d : e l e m e n t   n a m e = " U s e r I n f o "   m i n O c c u r s = " 0 "   m a x O c c u r s = " u n b o u n d e d " >  
 < x s d : c o m p l e x T y p e >  
 < x s d : s e q u e n c e >  
 < x s d : e l e m e n t   n a m e = " D i s p l a y N a m e "   t y p e = " x s d : s t r i n g "   m i n O c c u r s = " 0 " / >  
 < x s d : e l e m e n t   n a m e = " A c c o u n t I d "   t y p e = " d m s : U s e r I d "   m i n O c c u r s = " 0 "   n i l l a b l e = " t r u e " / >  
 < x s d : e l e m e n t   n a m e = " A c c o u n t T y p e "   t y p e = " x s d : s t r i n g "   m i n O c c u r s = " 0 " / >  
 < / x s d : s e q u e n c e >  
 < / x s d : c o m p l e x T y p e >  
 < / x s d : e l e m e n t >  
 < / x s d : s e q u e n c e >  
 < / x s d : e x t e n s i o n >  
 < / x s d : c o m p l e x C o n t e n t >  
 < / x s d : c o m p l e x T y p e >  
 < / x s d : e l e m e n t >  
 < x s d : e l e m e n t   n a m e = " S h a r e d W i t h D e t a i l s "   m a : i n d e x = " 1 4 "   n i l l a b l e = " t r u e "   m a : d i s p l a y N a m e = " S h a r e d   W i t h   D e t a i l s "   m a : i n t e r n a l N a m e = " S h a r e d W i t h D e t a i l s "   m a : r e a d O n l y = " t r u e " >  
 < x s d : s i m p l e T y p e >  
 < x s d : r e s t r i c t i o n   b a s e = " d m s : N o t e " >  
 < x s d : m a x L e n g t h   v a l u e = " 2 5 5 " / >  
 < / x s d : r e s t r i c t i o n >  
 < / x s d : s i m p l e T y p e >  
 < / x s d : e l e m e n t >  
 < x s d : e l e m e n t   n a m e = " T a x C a t c h A l l "   m a : i n d e x = " 2 0 "   n i l l a b l e = " t r u e "   m a : d i s p l a y N a m e = " T a x o n o m y   C a t c h   A l l   C o l u m n "   m a : h i d d e n = " t r u e "   m a : l i s t = " { b f 9 6 5 6 f b - 0 8 f 2 - 4 9 8 5 - 8 1 8 8 - e e 0 e 5 b 8 5 0 8 c 6 } "   m a : i n t e r n a l N a m e = " T a x C a t c h A l l "   m a : s h o w F i e l d = " C a t c h A l l D a t a "   m a : w e b = " e e e 8 1 c 8 7 - d b a 0 - 4 4 5 d - 8 d 2 7 - e 7 c 1 c 1 f f 0 0 1 5 " >  
 < x s d : c o m p l e x T y p e >  
 < x s d : c o m p l e x C o n t e n t >  
 < x s d : e x t e n s i o n   b a s e = " d m s : M u l t i C h o i c e L o o k u p " >  
 < x s d : s e q u e n c e >  
 < x s d : e l e m e n t   n a m e = " V a l u e "   t y p e = " d m s : L o o k u p "   m a x O c c u r s = " u n b o u n d e d "   m i n O c c u r s = " 0 "   n i l l a b l e = " t r u e " / >  
 < / x s d : s e q u e n c e >  
 < / x s d : e x t e n s i o n >  
 < / x s d : c o m p l e x C o n t e n t >  
 < / x s d : c o m p l e x T y p e >  
 < / x s d : e l e m e n t >  
 < / x s d : s c h e m a >  
 < x s d : s c h e m a   t a r g e t N a m e s p a c e = " h t t p : / / s c h e m a s . o p e n x m l f o r m a t s . o r g / p a c k a g e / 2 0 0 6 / m e t a d a t a / c o r e - p r o p e r t i e s "   e l e m e n t F o r m D e f a u l t = " q u a l i f i e d "   a t t r i b u t e F o r m D e f a u l t = " u n q u a l i f i e d "   b l o c k D e f a u l t = " # a l l "   x m l n s = " h t t p : / / s c h e m a s . o p e n x m l f o r m a t s . o r g / p a c k a g e / 2 0 0 6 / m e t a d a t a / c o r e - p r o p e r t i e s "   x m l n s : x s d = " h t t p : / / w w w . w 3 . o r g / 2 0 0 1 / X M L S c h e m a "   x m l n s : x s i = " h t t p : / / w w w . w 3 . o r g / 2 0 0 1 / X M L S c h e m a - i n s t a n c e "   x m l n s : d c = " h t t p : / / p u r l . o r g / d c / e l e m e n t s / 1 . 1 / "   x m l n s : d c t e r m s = " h t t p : / / p u r l . o r g / d c / t e r m s / "   x m l n s : o d o c = " h t t p : / / s c h e m a s . m i c r o s o f t . c o m / i n t e r n a l / o b d " >  
 < x s d : i m p o r t   n a m e s p a c e = " h t t p : / / p u r l . o r g / d c / e l e m e n t s / 1 . 1 / "   s c h e m a L o c a t i o n = " h t t p : / / d u b l i n c o r e . o r g / s c h e m a s / x m l s / q d c / 2 0 0 3 / 0 4 / 0 2 / d c . x s d " / >  
 < x s d : i m p o r t   n a m e s p a c e = " h t t p : / / p u r l . o r g / d c / t e r m s / "   s c h e m a L o c a t i o n = " h t t p : / / d u b l i n c o r e . o r g / s c h e m a s / x m l s / q d c / 2 0 0 3 / 0 4 / 0 2 / d c t e r m s . x s d " / >  
 < x s d : e l e m e n t   n a m e = " c o r e P r o p e r t i e s "   t y p e = " C T _ c o r e P r o p e r t i e s " / >  
 < x s d : c o m p l e x T y p e   n a m e = " C T _ c o r e P r o p e r t i e s " >  
 < x s d : a l l >  
 < x s d : e l e m e n t   r e f = " d c : c r e a t o r "   m i n O c c u r s = " 0 "   m a x O c c u r s = " 1 " / >  
 < x s d : e l e m e n t   r e f = " d c t e r m s : c r e a t e d "   m i n O c c u r s = " 0 "   m a x O c c u r s = " 1 " / >  
 < x s d : e l e m e n t   r e f = " d c : i d e n t i f i e r "   m i n O c c u r s = " 0 "   m a x O c c u r s = " 1 " / >  
 < x s d : e l e m e n t   n a m e = " c o n t e n t T y p e "   m i n O c c u r s = " 0 "   m a x O c c u r s = " 1 "   t y p e = " x s d : s t r i n g "   m a : i n d e x = " 0 "   m a : d i s p l a y N a m e = " C o n t e n t   T y p e " / >  
 < x s d : e l e m e n t   r e f = " d c : t i t l e "   m i n O c c u r s = " 0 "   m a x O c c u r s = " 1 "   m a : i n d e x = " 4 "   m a : d i s p l a y N a m e = " T i t l e " / >  
 < x s d : e l e m e n t   r e f = " d c : s u b j e c t "   m i n O c c u r s = " 0 "   m a x O c c u r s = " 1 " / >  
 < x s d : e l e m e n t   r e f = " d c : d e s c r i p t i o n "   m i n O c c u r s = " 0 "   m a x O c c u r s = " 1 " / >  
 < x s d : e l e m e n t   n a m e = " k e y w o r d s "   m i n O c c u r s = " 0 "   m a x O c c u r s = " 1 "   t y p e = " x s d : s t r i n g " / >  
 < x s d : e l e m e n t   r e f = " d c : l a n g u a g e "   m i n O c c u r s = " 0 "   m a x O c c u r s = " 1 " / >  
 < x s d : e l e m e n t   n a m e = " c a t e g o r y "   m i n O c c u r s = " 0 "   m a x O c c u r s = " 1 "   t y p e = " x s d : s t r i n g " / >  
 < x s d : e l e m e n t   n a m e = " v e r s i o n "   m i n O c c u r s = " 0 "   m a x O c c u r s = " 1 "   t y p e = " x s d : s t r i n g " / >  
 < x s d : e l e m e n t   n a m e = " r e v i s i o n "   m i n O c c u r s = " 0 "   m a x O c c u r s = " 1 "   t y p e = " x s d : s t r i n g " >  
 < x s d : a n n o t a t i o n >  
 < x s d : d o c u m e n t a t i o n >  
                                                 T h i s   v a l u e   i n d i c a t e s   t h e   n u m b e r   o f   s a v e s   o r   r e v i s i o n s .   T h e   a p p l i c a t i o n   i s   r e s p o n s i b l e   f o r   u p d a t i n g   t h i s   v a l u e   a f t e r   e a c h   r e v i s i o n .  
                                         < / x s d : d o c u m e n t a t i o n >  
 < / x s d : a n n o t a t i o n >  
 < / x s d : e l e m e n t >  
 < x s d : e l e m e n t   n a m e = " l a s t M o d i f i e d B y "   m i n O c c u r s = " 0 "   m a x O c c u r s = " 1 "   t y p e = " x s d : s t r i n g " / >  
 < x s d : e l e m e n t   r e f = " d c t e r m s : m o d i f i e d "   m i n O c c u r s = " 0 "   m a x O c c u r s = " 1 " / >  
 < x s d : e l e m e n t   n a m e = " c o n t e n t S t a t u s "   m i n O c c u r s = " 0 "   m a x O c c u r s = " 1 "   t y p e = " x s d : s t r i n g " / >  
 < / x s d : a l l >  
 < / x s d : c o m p l e x T y p e >  
 < / x s d : s c h e m a >  
 < x s : s c h e m a   t a r g e t N a m e s p a c e = " h t t p : / / s c h e m a s . m i c r o s o f t . c o m / o f f i c e / i n f o p a t h / 2 0 0 7 / P a r t n e r C o n t r o l s "   e l e m e n t F o r m D e f a u l t = " q u a l i f i e d "   a t t r i b u t e F o r m D e f a u l t = " u n q u a l i f i e d "   x m l n s : p c = " h t t p : / / s c h e m a s . m i c r o s o f t . c o m / o f f i c e / i n f o p a t h / 2 0 0 7 / P a r t n e r C o n t r o l s "   x m l n s : x s = " h t t p : / / w w w . w 3 . o r g / 2 0 0 1 / X M L S c h e m a " >  
 < x s : e l e m e n t   n a m e = " P e r s o n " >  
 < x s : c o m p l e x T y p e >  
 < x s : s e q u e n c e >  
 < x s : e l e m e n t   r e f = " p c : D i s p l a y N a m e "   m i n O c c u r s = " 0 " > < / x s : e l e m e n t >  
 < x s : e l e m e n t   r e f = " p c : A c c o u n t I d "   m i n O c c u r s = " 0 " > < / x s : e l e m e n t >  
 < x s : e l e m e n t   r e f = " p c : A c c o u n t T y p e "   m i n O c c u r s = " 0 " > < / x s : e l e m e n t >  
 < / x s : s e q u e n c e >  
 < / x s : c o m p l e x T y p e >  
 < / x s : e l e m e n t >  
 < x s : e l e m e n t   n a m e = " D i s p l a y N a m e "   t y p e = " x s : s t r i n g " > < / x s : e l e m e n t >  
 < x s : e l e m e n t   n a m e = " A c c o u n t I d "   t y p e = " x s : s t r i n g " > < / x s : e l e m e n t >  
 < x s : e l e m e n t   n a m e = " A c c o u n t T y p e "   t y p e = " x s : s t r i n g " > < / x s : e l e m e n t >  
 < x s : e l e m e n t   n a m e = " B D C A s s o c i a t e d E n t i t y " >  
 < x s : c o m p l e x T y p e >  
 < x s : s e q u e n c e >  
 < x s : e l e m e n t   r e f = " p c : B D C E n t i t y "   m i n O c c u r s = " 0 "   m a x O c c u r s = " u n b o u n d e d " > < / x s : e l e m e n t >  
 < / x s : s e q u e n c e >  
 < x s : a t t r i b u t e   r e f = " p c : E n t i t y N a m e s p a c e " > < / x s : a t t r i b u t e >  
 < x s : a t t r i b u t e   r e f = " p c : E n t i t y N a m e " > < / x s : a t t r i b u t e >  
 < x s : a t t r i b u t e   r e f = " p c : S y s t e m I n s t a n c e N a m e " > < / x s : a t t r i b u t e >  
 < x s : a t t r i b u t e   r e f = " p c : A s s o c i a t i o n N a m e " > < / x s : a t t r i b u t e >  
 < / x s : c o m p l e x T y p e >  
 < / x s : e l e m e n t >  
 < x s : a t t r i b u t e   n a m e = " E n t i t y N a m e s p a c e "   t y p e = " x s : s t r i n g " > < / x s : a t t r i b u t e >  
 < x s : a t t r i b u t e   n a m e = " E n t i t y N a m e "   t y p e = " x s : s t r i n g " > < / x s : a t t r i b u t e >  
 < x s : a t t r i b u t e   n a m e = " S y s t e m I n s t a n c e N a m e "   t y p e = " x s : s t r i n g " > < / x s : a t t r i b u t e >  
 < x s : a t t r i b u t e   n a m e = " A s s o c i a t i o n N a m e "   t y p e = " x s : s t r i n g " > < / x s : a t t r i b u t e >  
 < x s : e l e m e n t   n a m e = " B D C E n t i t y " >  
 < x s : c o m p l e x T y p e >  
 < x s : s e q u e n c e >  
 < x s : e l e m e n t   r e f = " p c : E n t i t y D i s p l a y N a m e "   m i n O c c u r s = " 0 " > < / x s : e l e m e n t >  
 < x s : e l e m e n t   r e f = " p c : E n t i t y I n s t a n c e R e f e r e n c e "   m i n O c c u r s = " 0 " > < / x s : e l e m e n t >  
 < x s : e l e m e n t   r e f = " p c : E n t i t y I d 1 "   m i n O c c u r s = " 0 " > < / x s : e l e m e n t >  
 < x s : e l e m e n t   r e f = " p c : E n t i t y I d 2 "   m i n O c c u r s = " 0 " > < / x s : e l e m e n t >  
 < x s : e l e m e n t   r e f = " p c : E n t i t y I d 3 "   m i n O c c u r s = " 0 " > < / x s : e l e m e n t >  
 < x s : e l e m e n t   r e f = " p c : E n t i t y I d 4 "   m i n O c c u r s = " 0 " > < / x s : e l e m e n t >  
 < x s : e l e m e n t   r e f = " p c : E n t i t y I d 5 "   m i n O c c u r s = " 0 " > < / x s : e l e m e n t >  
 < / x s : s e q u e n c e >  
 < / x s : c o m p l e x T y p e >  
 < / x s : e l e m e n t >  
 < x s : e l e m e n t   n a m e = " E n t i t y D i s p l a y N a m e "   t y p e = " x s : s t r i n g " > < / x s : e l e m e n t >  
 < x s : e l e m e n t   n a m e = " E n t i t y I n s t a n c e R e f e r e n c e "   t y p e = " x s : s t r i n g " > < / x s : e l e m e n t >  
 < x s : e l e m e n t   n a m e = " E n t i t y I d 1 "   t y p e = " x s : s t r i n g " > < / x s : e l e m e n t >  
 < x s : e l e m e n t   n a m e = " E n t i t y I d 2 "   t y p e = " x s : s t r i n g " > < / x s : e l e m e n t >  
 < x s : e l e m e n t   n a m e = " E n t i t y I d 3 "   t y p e = " x s : s t r i n g " > < / x s : e l e m e n t >  
 < x s : e l e m e n t   n a m e = " E n t i t y I d 4 "   t y p e = " x s : s t r i n g " > < / x s : e l e m e n t >  
 < x s : e l e m e n t   n a m e = " E n t i t y I d 5 "   t y p e = " x s : s t r i n g " > < / x s : e l e m e n t >  
 < x s : e l e m e n t   n a m e = " T e r m s " >  
 < x s : c o m p l e x T y p e >  
 < x s : s e q u e n c e >  
 < x s : e l e m e n t   r e f = " p c : T e r m I n f o "   m i n O c c u r s = " 0 "   m a x O c c u r s = " u n b o u n d e d " > < / x s : e l e m e n t >  
 < / x s : s e q u e n c e >  
 < / x s : c o m p l e x T y p e >  
 < / x s : e l e m e n t >  
 < x s : e l e m e n t   n a m e = " T e r m I n f o " >  
 < x s : c o m p l e x T y p e >  
 < x s : s e q u e n c e >  
 < x s : e l e m e n t   r e f = " p c : T e r m N a m e "   m i n O c c u r s = " 0 " > < / x s : e l e m e n t >  
 < x s : e l e m e n t   r e f = " p c : T e r m I d "   m i n O c c u r s = " 0 " > < / x s : e l e m e n t >  
 < / x s : s e q u e n c e >  
 < / x s : c o m p l e x T y p e >  
 < / x s : e l e m e n t >  
 < x s : e l e m e n t   n a m e = " T e r m N a m e "   t y p e = " x s : s t r i n g " > < / x s : e l e m e n t >  
 < x s : e l e m e n t   n a m e = " T e r m I d "   t y p e = " x s : s t r i n g " > < / x s : e l e m e n t >  
 < / x s : s c h e m a >  
 < / c t : c o n t e n t T y p e S c h e m a > 
</file>

<file path=customXml/itemProps196.xml><?xml version="1.0" encoding="utf-8"?>
<ds:datastoreItem xmlns:ds="http://schemas.openxmlformats.org/officeDocument/2006/customXml" ds:itemID="{91EBB6A2-5353-4A91-8852-DC13FF8D7A8E}">
  <ds:schemaRefs/>
</ds:datastoreItem>
</file>

<file path=customXml/itemProps197.xml><?xml version="1.0" encoding="utf-8"?>
<ds:datastoreItem xmlns:ds="http://schemas.openxmlformats.org/officeDocument/2006/customXml" ds:itemID="{56FFE2A9-27CD-48BA-ABB4-ADA946F08967}">
  <ds:schemaRefs/>
</ds:datastoreItem>
</file>

<file path=docProps/app.xml><?xml version="1.0" encoding="utf-8"?>
<Properties xmlns="http://schemas.openxmlformats.org/officeDocument/2006/extended-properties" xmlns:vt="http://schemas.openxmlformats.org/officeDocument/2006/docPropsVTypes">
  <Template>VWGroup_PPT_Template (1)</Template>
  <TotalTime>0</TotalTime>
  <Words>3227</Words>
  <Application>WPS 演示</Application>
  <PresentationFormat>Widescreen</PresentationFormat>
  <Paragraphs>326</Paragraphs>
  <Slides>17</Slides>
  <Notes>3</Notes>
  <HiddenSlides>0</HiddenSlides>
  <MMClips>0</MMClips>
  <ScaleCrop>false</ScaleCrop>
  <HeadingPairs>
    <vt:vector size="8" baseType="variant">
      <vt:variant>
        <vt:lpstr>已用的字体</vt:lpstr>
      </vt:variant>
      <vt:variant>
        <vt:i4>16</vt:i4>
      </vt:variant>
      <vt:variant>
        <vt:lpstr>主题</vt:lpstr>
      </vt:variant>
      <vt:variant>
        <vt:i4>1</vt:i4>
      </vt:variant>
      <vt:variant>
        <vt:lpstr>嵌入 OLE 服务器</vt:lpstr>
      </vt:variant>
      <vt:variant>
        <vt:i4>11</vt:i4>
      </vt:variant>
      <vt:variant>
        <vt:lpstr>幻灯片标题</vt:lpstr>
      </vt:variant>
      <vt:variant>
        <vt:i4>17</vt:i4>
      </vt:variant>
    </vt:vector>
  </HeadingPairs>
  <TitlesOfParts>
    <vt:vector size="45" baseType="lpstr">
      <vt:lpstr>Arial</vt:lpstr>
      <vt:lpstr>宋体</vt:lpstr>
      <vt:lpstr>Wingdings</vt:lpstr>
      <vt:lpstr>The Group TEXT</vt:lpstr>
      <vt:lpstr>Segoe Print</vt:lpstr>
      <vt:lpstr>Symbol</vt:lpstr>
      <vt:lpstr>The Group HEAD Light</vt:lpstr>
      <vt:lpstr>VWAG TheSans</vt:lpstr>
      <vt:lpstr>Yu Gothic UI</vt:lpstr>
      <vt:lpstr>The Group TEXT</vt:lpstr>
      <vt:lpstr>VW Text</vt:lpstr>
      <vt:lpstr>Wingdings</vt:lpstr>
      <vt:lpstr>微软雅黑</vt:lpstr>
      <vt:lpstr>Arial Unicode MS</vt:lpstr>
      <vt:lpstr>Calibri</vt:lpstr>
      <vt:lpstr>等线</vt:lpstr>
      <vt:lpstr>Volkswagen Group Template</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Volkswagen A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Xiao, Yuchen (EXTERN: VWAH)</dc:creator>
  <cp:lastModifiedBy>还有这种事？</cp:lastModifiedBy>
  <cp:revision>59</cp:revision>
  <dcterms:created xsi:type="dcterms:W3CDTF">2023-09-27T07:09:00Z</dcterms:created>
  <dcterms:modified xsi:type="dcterms:W3CDTF">2023-12-16T03:5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7B52B90CAFA34EB781F21F3CD9DDA4FC_12</vt:lpwstr>
  </property>
  <property fmtid="{D5CDD505-2E9C-101B-9397-08002B2CF9AE}" pid="3" name="KSOProductBuildVer">
    <vt:lpwstr>2052-12.1.0.15990</vt:lpwstr>
  </property>
</Properties>
</file>